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2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3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92" r:id="rId2"/>
    <p:sldMasterId id="2147483705" r:id="rId3"/>
    <p:sldMasterId id="2147483764" r:id="rId4"/>
  </p:sldMasterIdLst>
  <p:notesMasterIdLst>
    <p:notesMasterId r:id="rId15"/>
  </p:notesMasterIdLst>
  <p:sldIdLst>
    <p:sldId id="1288" r:id="rId5"/>
    <p:sldId id="1314" r:id="rId6"/>
    <p:sldId id="1304" r:id="rId7"/>
    <p:sldId id="1312" r:id="rId8"/>
    <p:sldId id="1303" r:id="rId9"/>
    <p:sldId id="1313" r:id="rId10"/>
    <p:sldId id="1311" r:id="rId11"/>
    <p:sldId id="1300" r:id="rId12"/>
    <p:sldId id="1309" r:id="rId13"/>
    <p:sldId id="1294" r:id="rId14"/>
  </p:sldIdLst>
  <p:sldSz cx="12192000" cy="6858000"/>
  <p:notesSz cx="6858000" cy="9144000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Calibri" panose="020F0502020204030204" pitchFamily="34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16FC5"/>
    <a:srgbClr val="3D619B"/>
    <a:srgbClr val="4197E6"/>
    <a:srgbClr val="87BEF5"/>
    <a:srgbClr val="3E6C72"/>
    <a:srgbClr val="000000"/>
    <a:srgbClr val="EF4B4C"/>
    <a:srgbClr val="2032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86991" autoAdjust="0"/>
  </p:normalViewPr>
  <p:slideViewPr>
    <p:cSldViewPr snapToGrid="0">
      <p:cViewPr varScale="1">
        <p:scale>
          <a:sx n="73" d="100"/>
          <a:sy n="73" d="100"/>
        </p:scale>
        <p:origin x="61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6.xml"/><Relationship Id="rId19" Type="http://schemas.openxmlformats.org/officeDocument/2006/relationships/tableStyles" Target="tableStyle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mora\Documents\Work%20Streams\ERPM\Market%20Update%20Presentation%20Q1%202022\2022%20Q1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mora\Documents\Work%20Streams\ERPM\Market%20Update%20Presentation%20Q1%202022\2022%20Q1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imora\Documents\Work%20Streams\ERPM\Market%20Update%20Presentation%20Q1%202022\2022%20Q1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ASSAN\Downloads\Europe_Brent_Spot_Price_FOB.csv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HASSAN\Downloads\StatisticsLiveData.xls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GDP!$C$2</c:f>
              <c:strCache>
                <c:ptCount val="1"/>
                <c:pt idx="0">
                  <c:v>GDP Growt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lt1"/>
              </a:solidFill>
              <a:ln w="12700" cap="flat" cmpd="sng" algn="ctr">
                <a:solidFill>
                  <a:schemeClr val="accent1"/>
                </a:solidFill>
                <a:prstDash val="solid"/>
                <a:miter lim="800000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GDP!$B$3:$B$9</c:f>
              <c:strCache>
                <c:ptCount val="7"/>
                <c:pt idx="0">
                  <c:v>Q2 2020</c:v>
                </c:pt>
                <c:pt idx="1">
                  <c:v>Q3 2020</c:v>
                </c:pt>
                <c:pt idx="2">
                  <c:v>Q4 2020</c:v>
                </c:pt>
                <c:pt idx="3">
                  <c:v>Q1 2021</c:v>
                </c:pt>
                <c:pt idx="4">
                  <c:v>Q2 2021</c:v>
                </c:pt>
                <c:pt idx="5">
                  <c:v>Q3 2021</c:v>
                </c:pt>
                <c:pt idx="6">
                  <c:v>Q4 2021</c:v>
                </c:pt>
              </c:strCache>
            </c:strRef>
          </c:cat>
          <c:val>
            <c:numRef>
              <c:f>GDP!$C$3:$C$9</c:f>
              <c:numCache>
                <c:formatCode>General</c:formatCode>
                <c:ptCount val="7"/>
                <c:pt idx="0">
                  <c:v>-6.1</c:v>
                </c:pt>
                <c:pt idx="1">
                  <c:v>-3.62</c:v>
                </c:pt>
                <c:pt idx="2">
                  <c:v>0.11</c:v>
                </c:pt>
                <c:pt idx="3">
                  <c:v>0.51</c:v>
                </c:pt>
                <c:pt idx="4">
                  <c:v>5.01</c:v>
                </c:pt>
                <c:pt idx="5">
                  <c:v>4.03</c:v>
                </c:pt>
                <c:pt idx="6">
                  <c:v>3.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2BA-41C6-9D3A-7F8737F7929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103392896"/>
        <c:axId val="103402464"/>
      </c:barChart>
      <c:catAx>
        <c:axId val="1033928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1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402464"/>
        <c:crosses val="autoZero"/>
        <c:auto val="1"/>
        <c:lblAlgn val="ctr"/>
        <c:lblOffset val="100"/>
        <c:noMultiLvlLbl val="0"/>
      </c:catAx>
      <c:valAx>
        <c:axId val="103402464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033928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15875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Inflation!$C$1</c:f>
              <c:strCache>
                <c:ptCount val="1"/>
                <c:pt idx="0">
                  <c:v>Inflation Rat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solidFill>
                <a:schemeClr val="lt1"/>
              </a:solidFill>
              <a:ln w="15875" cap="flat" cmpd="sng" algn="ctr">
                <a:solidFill>
                  <a:schemeClr val="accent1"/>
                </a:solidFill>
                <a:prstDash val="solid"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600" b="0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layout/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Inflation!$B$2:$B$15</c:f>
              <c:strCache>
                <c:ptCount val="14"/>
                <c:pt idx="0">
                  <c:v>Ja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Jan</c:v>
                </c:pt>
                <c:pt idx="13">
                  <c:v>Feb</c:v>
                </c:pt>
              </c:strCache>
            </c:strRef>
          </c:cat>
          <c:val>
            <c:numRef>
              <c:f>Inflation!$C$2:$C$15</c:f>
              <c:numCache>
                <c:formatCode>General</c:formatCode>
                <c:ptCount val="14"/>
                <c:pt idx="0">
                  <c:v>16.47</c:v>
                </c:pt>
                <c:pt idx="1">
                  <c:v>17.329999999999998</c:v>
                </c:pt>
                <c:pt idx="2">
                  <c:v>18.170000000000002</c:v>
                </c:pt>
                <c:pt idx="3">
                  <c:v>18.12</c:v>
                </c:pt>
                <c:pt idx="4">
                  <c:v>17.93</c:v>
                </c:pt>
                <c:pt idx="5">
                  <c:v>17.75</c:v>
                </c:pt>
                <c:pt idx="6">
                  <c:v>17.38</c:v>
                </c:pt>
                <c:pt idx="7">
                  <c:v>17.010000000000002</c:v>
                </c:pt>
                <c:pt idx="8">
                  <c:v>16.63</c:v>
                </c:pt>
                <c:pt idx="9">
                  <c:v>15.99</c:v>
                </c:pt>
                <c:pt idx="10">
                  <c:v>15.4</c:v>
                </c:pt>
                <c:pt idx="11">
                  <c:v>15.63</c:v>
                </c:pt>
                <c:pt idx="12">
                  <c:v>15.6</c:v>
                </c:pt>
                <c:pt idx="13">
                  <c:v>15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26-424C-B515-74F2BDD8556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219"/>
        <c:overlap val="-27"/>
        <c:axId val="2104115136"/>
        <c:axId val="2104116800"/>
      </c:barChart>
      <c:catAx>
        <c:axId val="21041151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4116800"/>
        <c:crosses val="autoZero"/>
        <c:auto val="1"/>
        <c:lblAlgn val="ctr"/>
        <c:lblOffset val="100"/>
        <c:noMultiLvlLbl val="0"/>
      </c:catAx>
      <c:valAx>
        <c:axId val="21041168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4115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lt1"/>
    </a:solidFill>
    <a:ln w="15875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1"/>
          <c:order val="0"/>
          <c:tx>
            <c:strRef>
              <c:f>MnyMktInd08122021!$J$17</c:f>
              <c:strCache>
                <c:ptCount val="1"/>
                <c:pt idx="0">
                  <c:v>MPR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dLbl>
              <c:idx val="15"/>
              <c:layout>
                <c:manualLayout>
                  <c:x val="-0.10811577752553916"/>
                  <c:y val="-6.7021684897332567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44A1-4EA2-A60D-74DEAF0ED1A1}"/>
                </c:ext>
              </c:extLst>
            </c:dLbl>
            <c:dLbl>
              <c:idx val="16"/>
              <c:layout>
                <c:manualLayout>
                  <c:x val="-4.0042880565014503E-2"/>
                  <c:y val="0.11576472845902898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44A1-4EA2-A60D-74DEAF0ED1A1}"/>
                </c:ext>
              </c:extLst>
            </c:dLbl>
            <c:dLbl>
              <c:idx val="20"/>
              <c:layout>
                <c:manualLayout>
                  <c:x val="4.0042880565015239E-3"/>
                  <c:y val="-0.10357896756860491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44A1-4EA2-A60D-74DEAF0ED1A1}"/>
                </c:ext>
              </c:extLst>
            </c:dLbl>
            <c:spPr>
              <a:solidFill>
                <a:schemeClr val="lt1"/>
              </a:solidFill>
              <a:ln w="15875" cap="flat" cmpd="sng" algn="ctr">
                <a:solidFill>
                  <a:schemeClr val="accent1"/>
                </a:solidFill>
                <a:prstDash val="solid"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chemeClr val="dk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MnyMktInd08122021!$G$18:$H$55</c:f>
              <c:multiLvlStrCache>
                <c:ptCount val="38"/>
                <c:lvl>
                  <c:pt idx="0">
                    <c:v>Jan</c:v>
                  </c:pt>
                  <c:pt idx="1">
                    <c:v>Feb</c:v>
                  </c:pt>
                  <c:pt idx="2">
                    <c:v>Mar</c:v>
                  </c:pt>
                  <c:pt idx="3">
                    <c:v>Apr</c:v>
                  </c:pt>
                  <c:pt idx="4">
                    <c:v>May</c:v>
                  </c:pt>
                  <c:pt idx="5">
                    <c:v>Jun</c:v>
                  </c:pt>
                  <c:pt idx="6">
                    <c:v>Jul</c:v>
                  </c:pt>
                  <c:pt idx="7">
                    <c:v>Aug</c:v>
                  </c:pt>
                  <c:pt idx="8">
                    <c:v>Sep</c:v>
                  </c:pt>
                  <c:pt idx="9">
                    <c:v>Oct</c:v>
                  </c:pt>
                  <c:pt idx="10">
                    <c:v>Nov</c:v>
                  </c:pt>
                  <c:pt idx="11">
                    <c:v>Dec</c:v>
                  </c:pt>
                  <c:pt idx="12">
                    <c:v>Jan</c:v>
                  </c:pt>
                  <c:pt idx="13">
                    <c:v>Feb</c:v>
                  </c:pt>
                  <c:pt idx="14">
                    <c:v>Mar</c:v>
                  </c:pt>
                  <c:pt idx="15">
                    <c:v>Apr</c:v>
                  </c:pt>
                  <c:pt idx="16">
                    <c:v>May</c:v>
                  </c:pt>
                  <c:pt idx="17">
                    <c:v>Jun</c:v>
                  </c:pt>
                  <c:pt idx="18">
                    <c:v>Jul</c:v>
                  </c:pt>
                  <c:pt idx="19">
                    <c:v>Aug</c:v>
                  </c:pt>
                  <c:pt idx="20">
                    <c:v>Sep</c:v>
                  </c:pt>
                  <c:pt idx="21">
                    <c:v>Oct</c:v>
                  </c:pt>
                  <c:pt idx="22">
                    <c:v>Nov</c:v>
                  </c:pt>
                  <c:pt idx="23">
                    <c:v>Dec</c:v>
                  </c:pt>
                  <c:pt idx="24">
                    <c:v>Jan</c:v>
                  </c:pt>
                  <c:pt idx="25">
                    <c:v>Feb</c:v>
                  </c:pt>
                  <c:pt idx="26">
                    <c:v>Mar</c:v>
                  </c:pt>
                  <c:pt idx="27">
                    <c:v>Apr</c:v>
                  </c:pt>
                  <c:pt idx="28">
                    <c:v>May</c:v>
                  </c:pt>
                  <c:pt idx="29">
                    <c:v>Jun</c:v>
                  </c:pt>
                  <c:pt idx="30">
                    <c:v>Jul</c:v>
                  </c:pt>
                  <c:pt idx="31">
                    <c:v>Aug</c:v>
                  </c:pt>
                  <c:pt idx="32">
                    <c:v>Sep</c:v>
                  </c:pt>
                  <c:pt idx="33">
                    <c:v>Oct</c:v>
                  </c:pt>
                  <c:pt idx="34">
                    <c:v>Nov</c:v>
                  </c:pt>
                  <c:pt idx="35">
                    <c:v>Dec</c:v>
                  </c:pt>
                  <c:pt idx="36">
                    <c:v>Jan</c:v>
                  </c:pt>
                  <c:pt idx="37">
                    <c:v>Feb</c:v>
                  </c:pt>
                </c:lvl>
                <c:lvl>
                  <c:pt idx="0">
                    <c:v>2019</c:v>
                  </c:pt>
                  <c:pt idx="12">
                    <c:v>2020</c:v>
                  </c:pt>
                  <c:pt idx="24">
                    <c:v>2021</c:v>
                  </c:pt>
                  <c:pt idx="36">
                    <c:v>2022</c:v>
                  </c:pt>
                </c:lvl>
              </c:multiLvlStrCache>
            </c:multiLvlStrRef>
          </c:cat>
          <c:val>
            <c:numRef>
              <c:f>MnyMktInd08122021!$J$18:$J$55</c:f>
              <c:numCache>
                <c:formatCode>General</c:formatCode>
                <c:ptCount val="38"/>
                <c:pt idx="0">
                  <c:v>14</c:v>
                </c:pt>
                <c:pt idx="1">
                  <c:v>14</c:v>
                </c:pt>
                <c:pt idx="2">
                  <c:v>13.5</c:v>
                </c:pt>
                <c:pt idx="3">
                  <c:v>13.5</c:v>
                </c:pt>
                <c:pt idx="4">
                  <c:v>13.5</c:v>
                </c:pt>
                <c:pt idx="5">
                  <c:v>13.5</c:v>
                </c:pt>
                <c:pt idx="6">
                  <c:v>13.5</c:v>
                </c:pt>
                <c:pt idx="7">
                  <c:v>13.5</c:v>
                </c:pt>
                <c:pt idx="8">
                  <c:v>13.5</c:v>
                </c:pt>
                <c:pt idx="9">
                  <c:v>13.5</c:v>
                </c:pt>
                <c:pt idx="10">
                  <c:v>13.5</c:v>
                </c:pt>
                <c:pt idx="11">
                  <c:v>13.5</c:v>
                </c:pt>
                <c:pt idx="12">
                  <c:v>13.5</c:v>
                </c:pt>
                <c:pt idx="13">
                  <c:v>13.5</c:v>
                </c:pt>
                <c:pt idx="14">
                  <c:v>13.5</c:v>
                </c:pt>
                <c:pt idx="15">
                  <c:v>13.5</c:v>
                </c:pt>
                <c:pt idx="16">
                  <c:v>12.5</c:v>
                </c:pt>
                <c:pt idx="17">
                  <c:v>12.5</c:v>
                </c:pt>
                <c:pt idx="18">
                  <c:v>12.5</c:v>
                </c:pt>
                <c:pt idx="19">
                  <c:v>12.5</c:v>
                </c:pt>
                <c:pt idx="20">
                  <c:v>11.5</c:v>
                </c:pt>
                <c:pt idx="21">
                  <c:v>11.5</c:v>
                </c:pt>
                <c:pt idx="22">
                  <c:v>11.5</c:v>
                </c:pt>
                <c:pt idx="23">
                  <c:v>11.5</c:v>
                </c:pt>
                <c:pt idx="24">
                  <c:v>11.5</c:v>
                </c:pt>
                <c:pt idx="25">
                  <c:v>11.5</c:v>
                </c:pt>
                <c:pt idx="26">
                  <c:v>11.5</c:v>
                </c:pt>
                <c:pt idx="27">
                  <c:v>11.5</c:v>
                </c:pt>
                <c:pt idx="28">
                  <c:v>11.5</c:v>
                </c:pt>
                <c:pt idx="29">
                  <c:v>11.5</c:v>
                </c:pt>
                <c:pt idx="30">
                  <c:v>11.5</c:v>
                </c:pt>
                <c:pt idx="31">
                  <c:v>11.5</c:v>
                </c:pt>
                <c:pt idx="32">
                  <c:v>11.5</c:v>
                </c:pt>
                <c:pt idx="33">
                  <c:v>11.5</c:v>
                </c:pt>
                <c:pt idx="34">
                  <c:v>11.5</c:v>
                </c:pt>
                <c:pt idx="35">
                  <c:v>11.5</c:v>
                </c:pt>
                <c:pt idx="36">
                  <c:v>11.5</c:v>
                </c:pt>
                <c:pt idx="37">
                  <c:v>11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44A1-4EA2-A60D-74DEAF0ED1A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04110560"/>
        <c:axId val="2104092256"/>
      </c:lineChart>
      <c:catAx>
        <c:axId val="210411056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4092256"/>
        <c:crosses val="autoZero"/>
        <c:auto val="1"/>
        <c:lblAlgn val="ctr"/>
        <c:lblOffset val="100"/>
        <c:noMultiLvlLbl val="0"/>
      </c:catAx>
      <c:valAx>
        <c:axId val="210409225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dk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0411056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dk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solidFill>
      <a:schemeClr val="lt1"/>
    </a:solidFill>
    <a:ln w="15875" cap="flat" cmpd="sng" algn="ctr">
      <a:solidFill>
        <a:schemeClr val="accent1"/>
      </a:solidFill>
      <a:prstDash val="solid"/>
    </a:ln>
    <a:effectLst/>
  </c:spPr>
  <c:txPr>
    <a:bodyPr/>
    <a:lstStyle/>
    <a:p>
      <a:pPr>
        <a:defRPr>
          <a:solidFill>
            <a:schemeClr val="dk1"/>
          </a:solidFill>
          <a:latin typeface="+mn-lt"/>
          <a:ea typeface="+mn-ea"/>
          <a:cs typeface="+mn-cs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/>
              <a:t>Brent Spot Price  Dollars per Barrel</a:t>
            </a:r>
          </a:p>
        </c:rich>
      </c:tx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Europe_Brent_Spot_Price_FOB!$B$5</c:f>
              <c:strCache>
                <c:ptCount val="1"/>
                <c:pt idx="0">
                  <c:v>Europe Brent Spot Price FOB  Dollars per Barre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Europe_Brent_Spot_Price_FOB!$A$6:$A$831</c:f>
              <c:numCache>
                <c:formatCode>m/d/yyyy</c:formatCode>
                <c:ptCount val="826"/>
                <c:pt idx="0">
                  <c:v>44648</c:v>
                </c:pt>
                <c:pt idx="1">
                  <c:v>44645</c:v>
                </c:pt>
                <c:pt idx="2">
                  <c:v>44644</c:v>
                </c:pt>
                <c:pt idx="3">
                  <c:v>44643</c:v>
                </c:pt>
                <c:pt idx="4">
                  <c:v>44642</c:v>
                </c:pt>
                <c:pt idx="5">
                  <c:v>44641</c:v>
                </c:pt>
                <c:pt idx="6">
                  <c:v>44638</c:v>
                </c:pt>
                <c:pt idx="7">
                  <c:v>44637</c:v>
                </c:pt>
                <c:pt idx="8">
                  <c:v>44636</c:v>
                </c:pt>
                <c:pt idx="9">
                  <c:v>44635</c:v>
                </c:pt>
                <c:pt idx="10">
                  <c:v>44634</c:v>
                </c:pt>
                <c:pt idx="11">
                  <c:v>44631</c:v>
                </c:pt>
                <c:pt idx="12">
                  <c:v>44630</c:v>
                </c:pt>
                <c:pt idx="13">
                  <c:v>44629</c:v>
                </c:pt>
                <c:pt idx="14">
                  <c:v>44628</c:v>
                </c:pt>
                <c:pt idx="15">
                  <c:v>44627</c:v>
                </c:pt>
                <c:pt idx="16">
                  <c:v>44624</c:v>
                </c:pt>
                <c:pt idx="17">
                  <c:v>44623</c:v>
                </c:pt>
                <c:pt idx="18">
                  <c:v>44622</c:v>
                </c:pt>
                <c:pt idx="19">
                  <c:v>44621</c:v>
                </c:pt>
                <c:pt idx="20">
                  <c:v>44620</c:v>
                </c:pt>
                <c:pt idx="21">
                  <c:v>44617</c:v>
                </c:pt>
                <c:pt idx="22">
                  <c:v>44616</c:v>
                </c:pt>
                <c:pt idx="23">
                  <c:v>44615</c:v>
                </c:pt>
                <c:pt idx="24">
                  <c:v>44614</c:v>
                </c:pt>
                <c:pt idx="25">
                  <c:v>44613</c:v>
                </c:pt>
                <c:pt idx="26">
                  <c:v>44610</c:v>
                </c:pt>
                <c:pt idx="27">
                  <c:v>44609</c:v>
                </c:pt>
                <c:pt idx="28">
                  <c:v>44608</c:v>
                </c:pt>
                <c:pt idx="29">
                  <c:v>44607</c:v>
                </c:pt>
                <c:pt idx="30">
                  <c:v>44606</c:v>
                </c:pt>
                <c:pt idx="31">
                  <c:v>44603</c:v>
                </c:pt>
                <c:pt idx="32">
                  <c:v>44602</c:v>
                </c:pt>
                <c:pt idx="33">
                  <c:v>44601</c:v>
                </c:pt>
                <c:pt idx="34">
                  <c:v>44600</c:v>
                </c:pt>
                <c:pt idx="35">
                  <c:v>44599</c:v>
                </c:pt>
                <c:pt idx="36">
                  <c:v>44596</c:v>
                </c:pt>
                <c:pt idx="37">
                  <c:v>44595</c:v>
                </c:pt>
                <c:pt idx="38">
                  <c:v>44594</c:v>
                </c:pt>
                <c:pt idx="39">
                  <c:v>44593</c:v>
                </c:pt>
                <c:pt idx="40">
                  <c:v>44592</c:v>
                </c:pt>
                <c:pt idx="41">
                  <c:v>44589</c:v>
                </c:pt>
                <c:pt idx="42">
                  <c:v>44588</c:v>
                </c:pt>
                <c:pt idx="43">
                  <c:v>44587</c:v>
                </c:pt>
                <c:pt idx="44">
                  <c:v>44586</c:v>
                </c:pt>
                <c:pt idx="45">
                  <c:v>44585</c:v>
                </c:pt>
                <c:pt idx="46">
                  <c:v>44582</c:v>
                </c:pt>
                <c:pt idx="47">
                  <c:v>44581</c:v>
                </c:pt>
                <c:pt idx="48">
                  <c:v>44580</c:v>
                </c:pt>
                <c:pt idx="49">
                  <c:v>44579</c:v>
                </c:pt>
                <c:pt idx="50">
                  <c:v>44578</c:v>
                </c:pt>
                <c:pt idx="51">
                  <c:v>44575</c:v>
                </c:pt>
                <c:pt idx="52">
                  <c:v>44574</c:v>
                </c:pt>
                <c:pt idx="53">
                  <c:v>44573</c:v>
                </c:pt>
                <c:pt idx="54">
                  <c:v>44572</c:v>
                </c:pt>
                <c:pt idx="55">
                  <c:v>44571</c:v>
                </c:pt>
                <c:pt idx="56">
                  <c:v>44568</c:v>
                </c:pt>
                <c:pt idx="57">
                  <c:v>44567</c:v>
                </c:pt>
                <c:pt idx="58">
                  <c:v>44566</c:v>
                </c:pt>
                <c:pt idx="59">
                  <c:v>44565</c:v>
                </c:pt>
                <c:pt idx="60">
                  <c:v>44564</c:v>
                </c:pt>
                <c:pt idx="61">
                  <c:v>44561</c:v>
                </c:pt>
                <c:pt idx="62">
                  <c:v>44560</c:v>
                </c:pt>
                <c:pt idx="63">
                  <c:v>44559</c:v>
                </c:pt>
                <c:pt idx="64">
                  <c:v>44554</c:v>
                </c:pt>
                <c:pt idx="65">
                  <c:v>44553</c:v>
                </c:pt>
                <c:pt idx="66">
                  <c:v>44552</c:v>
                </c:pt>
                <c:pt idx="67">
                  <c:v>44551</c:v>
                </c:pt>
                <c:pt idx="68">
                  <c:v>44550</c:v>
                </c:pt>
                <c:pt idx="69">
                  <c:v>44547</c:v>
                </c:pt>
                <c:pt idx="70">
                  <c:v>44546</c:v>
                </c:pt>
                <c:pt idx="71">
                  <c:v>44545</c:v>
                </c:pt>
                <c:pt idx="72">
                  <c:v>44544</c:v>
                </c:pt>
                <c:pt idx="73">
                  <c:v>44543</c:v>
                </c:pt>
                <c:pt idx="74">
                  <c:v>44540</c:v>
                </c:pt>
                <c:pt idx="75">
                  <c:v>44539</c:v>
                </c:pt>
                <c:pt idx="76">
                  <c:v>44538</c:v>
                </c:pt>
                <c:pt idx="77">
                  <c:v>44537</c:v>
                </c:pt>
                <c:pt idx="78">
                  <c:v>44536</c:v>
                </c:pt>
                <c:pt idx="79">
                  <c:v>44533</c:v>
                </c:pt>
                <c:pt idx="80">
                  <c:v>44532</c:v>
                </c:pt>
                <c:pt idx="81">
                  <c:v>44531</c:v>
                </c:pt>
                <c:pt idx="82">
                  <c:v>44530</c:v>
                </c:pt>
                <c:pt idx="83">
                  <c:v>44529</c:v>
                </c:pt>
                <c:pt idx="84">
                  <c:v>44526</c:v>
                </c:pt>
                <c:pt idx="85">
                  <c:v>44525</c:v>
                </c:pt>
                <c:pt idx="86">
                  <c:v>44524</c:v>
                </c:pt>
                <c:pt idx="87">
                  <c:v>44523</c:v>
                </c:pt>
                <c:pt idx="88">
                  <c:v>44522</c:v>
                </c:pt>
                <c:pt idx="89">
                  <c:v>44519</c:v>
                </c:pt>
                <c:pt idx="90">
                  <c:v>44518</c:v>
                </c:pt>
                <c:pt idx="91">
                  <c:v>44517</c:v>
                </c:pt>
                <c:pt idx="92">
                  <c:v>44516</c:v>
                </c:pt>
                <c:pt idx="93">
                  <c:v>44515</c:v>
                </c:pt>
                <c:pt idx="94">
                  <c:v>44512</c:v>
                </c:pt>
                <c:pt idx="95">
                  <c:v>44511</c:v>
                </c:pt>
                <c:pt idx="96">
                  <c:v>44510</c:v>
                </c:pt>
                <c:pt idx="97">
                  <c:v>44509</c:v>
                </c:pt>
                <c:pt idx="98">
                  <c:v>44508</c:v>
                </c:pt>
                <c:pt idx="99">
                  <c:v>44505</c:v>
                </c:pt>
                <c:pt idx="100">
                  <c:v>44504</c:v>
                </c:pt>
                <c:pt idx="101">
                  <c:v>44503</c:v>
                </c:pt>
                <c:pt idx="102">
                  <c:v>44502</c:v>
                </c:pt>
                <c:pt idx="103">
                  <c:v>44501</c:v>
                </c:pt>
                <c:pt idx="104">
                  <c:v>44498</c:v>
                </c:pt>
                <c:pt idx="105">
                  <c:v>44497</c:v>
                </c:pt>
                <c:pt idx="106">
                  <c:v>44496</c:v>
                </c:pt>
                <c:pt idx="107">
                  <c:v>44495</c:v>
                </c:pt>
                <c:pt idx="108">
                  <c:v>44494</c:v>
                </c:pt>
                <c:pt idx="109">
                  <c:v>44491</c:v>
                </c:pt>
                <c:pt idx="110">
                  <c:v>44490</c:v>
                </c:pt>
                <c:pt idx="111">
                  <c:v>44489</c:v>
                </c:pt>
                <c:pt idx="112">
                  <c:v>44488</c:v>
                </c:pt>
                <c:pt idx="113">
                  <c:v>44487</c:v>
                </c:pt>
                <c:pt idx="114">
                  <c:v>44484</c:v>
                </c:pt>
                <c:pt idx="115">
                  <c:v>44483</c:v>
                </c:pt>
                <c:pt idx="116">
                  <c:v>44482</c:v>
                </c:pt>
                <c:pt idx="117">
                  <c:v>44481</c:v>
                </c:pt>
                <c:pt idx="118">
                  <c:v>44480</c:v>
                </c:pt>
                <c:pt idx="119">
                  <c:v>44477</c:v>
                </c:pt>
                <c:pt idx="120">
                  <c:v>44476</c:v>
                </c:pt>
                <c:pt idx="121">
                  <c:v>44475</c:v>
                </c:pt>
                <c:pt idx="122">
                  <c:v>44474</c:v>
                </c:pt>
                <c:pt idx="123">
                  <c:v>44473</c:v>
                </c:pt>
                <c:pt idx="124">
                  <c:v>44470</c:v>
                </c:pt>
                <c:pt idx="125">
                  <c:v>44469</c:v>
                </c:pt>
                <c:pt idx="126">
                  <c:v>44468</c:v>
                </c:pt>
                <c:pt idx="127">
                  <c:v>44467</c:v>
                </c:pt>
                <c:pt idx="128">
                  <c:v>44466</c:v>
                </c:pt>
                <c:pt idx="129">
                  <c:v>44463</c:v>
                </c:pt>
                <c:pt idx="130">
                  <c:v>44462</c:v>
                </c:pt>
                <c:pt idx="131">
                  <c:v>44461</c:v>
                </c:pt>
                <c:pt idx="132">
                  <c:v>44460</c:v>
                </c:pt>
                <c:pt idx="133">
                  <c:v>44459</c:v>
                </c:pt>
                <c:pt idx="134">
                  <c:v>44456</c:v>
                </c:pt>
                <c:pt idx="135">
                  <c:v>44455</c:v>
                </c:pt>
                <c:pt idx="136">
                  <c:v>44454</c:v>
                </c:pt>
                <c:pt idx="137">
                  <c:v>44453</c:v>
                </c:pt>
                <c:pt idx="138">
                  <c:v>44452</c:v>
                </c:pt>
                <c:pt idx="139">
                  <c:v>44449</c:v>
                </c:pt>
                <c:pt idx="140">
                  <c:v>44448</c:v>
                </c:pt>
                <c:pt idx="141">
                  <c:v>44447</c:v>
                </c:pt>
                <c:pt idx="142">
                  <c:v>44446</c:v>
                </c:pt>
                <c:pt idx="143">
                  <c:v>44445</c:v>
                </c:pt>
                <c:pt idx="144">
                  <c:v>44442</c:v>
                </c:pt>
                <c:pt idx="145">
                  <c:v>44441</c:v>
                </c:pt>
                <c:pt idx="146">
                  <c:v>44440</c:v>
                </c:pt>
                <c:pt idx="147">
                  <c:v>44439</c:v>
                </c:pt>
                <c:pt idx="148">
                  <c:v>44435</c:v>
                </c:pt>
                <c:pt idx="149">
                  <c:v>44434</c:v>
                </c:pt>
                <c:pt idx="150">
                  <c:v>44433</c:v>
                </c:pt>
                <c:pt idx="151">
                  <c:v>44432</c:v>
                </c:pt>
                <c:pt idx="152">
                  <c:v>44431</c:v>
                </c:pt>
                <c:pt idx="153">
                  <c:v>44428</c:v>
                </c:pt>
                <c:pt idx="154">
                  <c:v>44427</c:v>
                </c:pt>
                <c:pt idx="155">
                  <c:v>44426</c:v>
                </c:pt>
                <c:pt idx="156">
                  <c:v>44425</c:v>
                </c:pt>
                <c:pt idx="157">
                  <c:v>44424</c:v>
                </c:pt>
                <c:pt idx="158">
                  <c:v>44421</c:v>
                </c:pt>
                <c:pt idx="159">
                  <c:v>44420</c:v>
                </c:pt>
                <c:pt idx="160">
                  <c:v>44419</c:v>
                </c:pt>
                <c:pt idx="161">
                  <c:v>44418</c:v>
                </c:pt>
                <c:pt idx="162">
                  <c:v>44417</c:v>
                </c:pt>
                <c:pt idx="163">
                  <c:v>44414</c:v>
                </c:pt>
                <c:pt idx="164">
                  <c:v>44413</c:v>
                </c:pt>
                <c:pt idx="165">
                  <c:v>44412</c:v>
                </c:pt>
                <c:pt idx="166">
                  <c:v>44411</c:v>
                </c:pt>
                <c:pt idx="167">
                  <c:v>44410</c:v>
                </c:pt>
                <c:pt idx="168">
                  <c:v>44407</c:v>
                </c:pt>
                <c:pt idx="169">
                  <c:v>44406</c:v>
                </c:pt>
                <c:pt idx="170">
                  <c:v>44405</c:v>
                </c:pt>
                <c:pt idx="171">
                  <c:v>44404</c:v>
                </c:pt>
                <c:pt idx="172">
                  <c:v>44403</c:v>
                </c:pt>
                <c:pt idx="173">
                  <c:v>44400</c:v>
                </c:pt>
                <c:pt idx="174">
                  <c:v>44399</c:v>
                </c:pt>
                <c:pt idx="175">
                  <c:v>44398</c:v>
                </c:pt>
                <c:pt idx="176">
                  <c:v>44397</c:v>
                </c:pt>
                <c:pt idx="177">
                  <c:v>44396</c:v>
                </c:pt>
                <c:pt idx="178">
                  <c:v>44393</c:v>
                </c:pt>
                <c:pt idx="179">
                  <c:v>44392</c:v>
                </c:pt>
                <c:pt idx="180">
                  <c:v>44391</c:v>
                </c:pt>
                <c:pt idx="181">
                  <c:v>44390</c:v>
                </c:pt>
                <c:pt idx="182">
                  <c:v>44389</c:v>
                </c:pt>
                <c:pt idx="183">
                  <c:v>44386</c:v>
                </c:pt>
                <c:pt idx="184">
                  <c:v>44385</c:v>
                </c:pt>
                <c:pt idx="185">
                  <c:v>44384</c:v>
                </c:pt>
                <c:pt idx="186">
                  <c:v>44383</c:v>
                </c:pt>
                <c:pt idx="187">
                  <c:v>44382</c:v>
                </c:pt>
                <c:pt idx="188">
                  <c:v>44379</c:v>
                </c:pt>
                <c:pt idx="189">
                  <c:v>44378</c:v>
                </c:pt>
                <c:pt idx="190">
                  <c:v>44377</c:v>
                </c:pt>
                <c:pt idx="191">
                  <c:v>44376</c:v>
                </c:pt>
                <c:pt idx="192">
                  <c:v>44375</c:v>
                </c:pt>
                <c:pt idx="193">
                  <c:v>44372</c:v>
                </c:pt>
                <c:pt idx="194">
                  <c:v>44371</c:v>
                </c:pt>
                <c:pt idx="195">
                  <c:v>44370</c:v>
                </c:pt>
                <c:pt idx="196">
                  <c:v>44369</c:v>
                </c:pt>
                <c:pt idx="197">
                  <c:v>44368</c:v>
                </c:pt>
                <c:pt idx="198">
                  <c:v>44365</c:v>
                </c:pt>
                <c:pt idx="199">
                  <c:v>44364</c:v>
                </c:pt>
                <c:pt idx="200">
                  <c:v>44363</c:v>
                </c:pt>
                <c:pt idx="201">
                  <c:v>44362</c:v>
                </c:pt>
                <c:pt idx="202">
                  <c:v>44361</c:v>
                </c:pt>
                <c:pt idx="203">
                  <c:v>44358</c:v>
                </c:pt>
                <c:pt idx="204">
                  <c:v>44357</c:v>
                </c:pt>
                <c:pt idx="205">
                  <c:v>44356</c:v>
                </c:pt>
                <c:pt idx="206">
                  <c:v>44355</c:v>
                </c:pt>
                <c:pt idx="207">
                  <c:v>44354</c:v>
                </c:pt>
                <c:pt idx="208">
                  <c:v>44351</c:v>
                </c:pt>
                <c:pt idx="209">
                  <c:v>44350</c:v>
                </c:pt>
                <c:pt idx="210">
                  <c:v>44349</c:v>
                </c:pt>
                <c:pt idx="211">
                  <c:v>44348</c:v>
                </c:pt>
                <c:pt idx="212">
                  <c:v>44344</c:v>
                </c:pt>
                <c:pt idx="213">
                  <c:v>44343</c:v>
                </c:pt>
                <c:pt idx="214">
                  <c:v>44342</c:v>
                </c:pt>
                <c:pt idx="215">
                  <c:v>44341</c:v>
                </c:pt>
                <c:pt idx="216">
                  <c:v>44340</c:v>
                </c:pt>
                <c:pt idx="217">
                  <c:v>44337</c:v>
                </c:pt>
                <c:pt idx="218">
                  <c:v>44336</c:v>
                </c:pt>
                <c:pt idx="219">
                  <c:v>44335</c:v>
                </c:pt>
                <c:pt idx="220">
                  <c:v>44334</c:v>
                </c:pt>
                <c:pt idx="221">
                  <c:v>44333</c:v>
                </c:pt>
                <c:pt idx="222">
                  <c:v>44330</c:v>
                </c:pt>
                <c:pt idx="223">
                  <c:v>44329</c:v>
                </c:pt>
                <c:pt idx="224">
                  <c:v>44328</c:v>
                </c:pt>
                <c:pt idx="225">
                  <c:v>44327</c:v>
                </c:pt>
                <c:pt idx="226">
                  <c:v>44326</c:v>
                </c:pt>
                <c:pt idx="227">
                  <c:v>44323</c:v>
                </c:pt>
                <c:pt idx="228">
                  <c:v>44322</c:v>
                </c:pt>
                <c:pt idx="229">
                  <c:v>44321</c:v>
                </c:pt>
                <c:pt idx="230">
                  <c:v>44320</c:v>
                </c:pt>
                <c:pt idx="231">
                  <c:v>44316</c:v>
                </c:pt>
                <c:pt idx="232">
                  <c:v>44315</c:v>
                </c:pt>
                <c:pt idx="233">
                  <c:v>44314</c:v>
                </c:pt>
                <c:pt idx="234">
                  <c:v>44313</c:v>
                </c:pt>
                <c:pt idx="235">
                  <c:v>44312</c:v>
                </c:pt>
                <c:pt idx="236">
                  <c:v>44309</c:v>
                </c:pt>
                <c:pt idx="237">
                  <c:v>44308</c:v>
                </c:pt>
                <c:pt idx="238">
                  <c:v>44307</c:v>
                </c:pt>
                <c:pt idx="239">
                  <c:v>44306</c:v>
                </c:pt>
                <c:pt idx="240">
                  <c:v>44305</c:v>
                </c:pt>
                <c:pt idx="241">
                  <c:v>44302</c:v>
                </c:pt>
                <c:pt idx="242">
                  <c:v>44301</c:v>
                </c:pt>
                <c:pt idx="243">
                  <c:v>44300</c:v>
                </c:pt>
                <c:pt idx="244">
                  <c:v>44299</c:v>
                </c:pt>
                <c:pt idx="245">
                  <c:v>44298</c:v>
                </c:pt>
                <c:pt idx="246">
                  <c:v>44295</c:v>
                </c:pt>
                <c:pt idx="247">
                  <c:v>44294</c:v>
                </c:pt>
                <c:pt idx="248">
                  <c:v>44293</c:v>
                </c:pt>
                <c:pt idx="249">
                  <c:v>44292</c:v>
                </c:pt>
                <c:pt idx="250">
                  <c:v>44287</c:v>
                </c:pt>
                <c:pt idx="251">
                  <c:v>44286</c:v>
                </c:pt>
                <c:pt idx="252">
                  <c:v>44285</c:v>
                </c:pt>
                <c:pt idx="253">
                  <c:v>44284</c:v>
                </c:pt>
                <c:pt idx="254">
                  <c:v>44281</c:v>
                </c:pt>
                <c:pt idx="255">
                  <c:v>44280</c:v>
                </c:pt>
                <c:pt idx="256">
                  <c:v>44279</c:v>
                </c:pt>
                <c:pt idx="257">
                  <c:v>44278</c:v>
                </c:pt>
                <c:pt idx="258">
                  <c:v>44277</c:v>
                </c:pt>
                <c:pt idx="259">
                  <c:v>44274</c:v>
                </c:pt>
                <c:pt idx="260">
                  <c:v>44273</c:v>
                </c:pt>
                <c:pt idx="261">
                  <c:v>44272</c:v>
                </c:pt>
                <c:pt idx="262">
                  <c:v>44271</c:v>
                </c:pt>
                <c:pt idx="263">
                  <c:v>44270</c:v>
                </c:pt>
                <c:pt idx="264">
                  <c:v>44267</c:v>
                </c:pt>
                <c:pt idx="265">
                  <c:v>44266</c:v>
                </c:pt>
                <c:pt idx="266">
                  <c:v>44265</c:v>
                </c:pt>
                <c:pt idx="267">
                  <c:v>44264</c:v>
                </c:pt>
                <c:pt idx="268">
                  <c:v>44263</c:v>
                </c:pt>
                <c:pt idx="269">
                  <c:v>44260</c:v>
                </c:pt>
                <c:pt idx="270">
                  <c:v>44259</c:v>
                </c:pt>
                <c:pt idx="271">
                  <c:v>44258</c:v>
                </c:pt>
                <c:pt idx="272">
                  <c:v>44257</c:v>
                </c:pt>
                <c:pt idx="273">
                  <c:v>44256</c:v>
                </c:pt>
                <c:pt idx="274">
                  <c:v>44253</c:v>
                </c:pt>
                <c:pt idx="275">
                  <c:v>44252</c:v>
                </c:pt>
                <c:pt idx="276">
                  <c:v>44251</c:v>
                </c:pt>
                <c:pt idx="277">
                  <c:v>44250</c:v>
                </c:pt>
                <c:pt idx="278">
                  <c:v>44249</c:v>
                </c:pt>
                <c:pt idx="279">
                  <c:v>44246</c:v>
                </c:pt>
                <c:pt idx="280">
                  <c:v>44245</c:v>
                </c:pt>
                <c:pt idx="281">
                  <c:v>44244</c:v>
                </c:pt>
                <c:pt idx="282">
                  <c:v>44243</c:v>
                </c:pt>
                <c:pt idx="283">
                  <c:v>44242</c:v>
                </c:pt>
                <c:pt idx="284">
                  <c:v>44239</c:v>
                </c:pt>
                <c:pt idx="285">
                  <c:v>44238</c:v>
                </c:pt>
                <c:pt idx="286">
                  <c:v>44237</c:v>
                </c:pt>
                <c:pt idx="287">
                  <c:v>44236</c:v>
                </c:pt>
                <c:pt idx="288">
                  <c:v>44235</c:v>
                </c:pt>
                <c:pt idx="289">
                  <c:v>44232</c:v>
                </c:pt>
                <c:pt idx="290">
                  <c:v>44231</c:v>
                </c:pt>
                <c:pt idx="291">
                  <c:v>44230</c:v>
                </c:pt>
                <c:pt idx="292">
                  <c:v>44229</c:v>
                </c:pt>
                <c:pt idx="293">
                  <c:v>44228</c:v>
                </c:pt>
                <c:pt idx="294">
                  <c:v>44225</c:v>
                </c:pt>
                <c:pt idx="295">
                  <c:v>44224</c:v>
                </c:pt>
                <c:pt idx="296">
                  <c:v>44223</c:v>
                </c:pt>
                <c:pt idx="297">
                  <c:v>44222</c:v>
                </c:pt>
                <c:pt idx="298">
                  <c:v>44221</c:v>
                </c:pt>
                <c:pt idx="299">
                  <c:v>44218</c:v>
                </c:pt>
                <c:pt idx="300">
                  <c:v>44217</c:v>
                </c:pt>
                <c:pt idx="301">
                  <c:v>44216</c:v>
                </c:pt>
                <c:pt idx="302">
                  <c:v>44215</c:v>
                </c:pt>
                <c:pt idx="303">
                  <c:v>44214</c:v>
                </c:pt>
                <c:pt idx="304">
                  <c:v>44211</c:v>
                </c:pt>
                <c:pt idx="305">
                  <c:v>44210</c:v>
                </c:pt>
                <c:pt idx="306">
                  <c:v>44209</c:v>
                </c:pt>
                <c:pt idx="307">
                  <c:v>44208</c:v>
                </c:pt>
                <c:pt idx="308">
                  <c:v>44207</c:v>
                </c:pt>
                <c:pt idx="309">
                  <c:v>44204</c:v>
                </c:pt>
                <c:pt idx="310">
                  <c:v>44203</c:v>
                </c:pt>
                <c:pt idx="311">
                  <c:v>44202</c:v>
                </c:pt>
                <c:pt idx="312">
                  <c:v>44201</c:v>
                </c:pt>
                <c:pt idx="313">
                  <c:v>44200</c:v>
                </c:pt>
                <c:pt idx="314">
                  <c:v>44196</c:v>
                </c:pt>
                <c:pt idx="315">
                  <c:v>44195</c:v>
                </c:pt>
                <c:pt idx="316">
                  <c:v>44194</c:v>
                </c:pt>
                <c:pt idx="317">
                  <c:v>44193</c:v>
                </c:pt>
                <c:pt idx="318">
                  <c:v>44189</c:v>
                </c:pt>
                <c:pt idx="319">
                  <c:v>44188</c:v>
                </c:pt>
                <c:pt idx="320">
                  <c:v>44187</c:v>
                </c:pt>
                <c:pt idx="321">
                  <c:v>44186</c:v>
                </c:pt>
                <c:pt idx="322">
                  <c:v>44183</c:v>
                </c:pt>
                <c:pt idx="323">
                  <c:v>44182</c:v>
                </c:pt>
                <c:pt idx="324">
                  <c:v>44181</c:v>
                </c:pt>
                <c:pt idx="325">
                  <c:v>44180</c:v>
                </c:pt>
                <c:pt idx="326">
                  <c:v>44179</c:v>
                </c:pt>
                <c:pt idx="327">
                  <c:v>44176</c:v>
                </c:pt>
                <c:pt idx="328">
                  <c:v>44175</c:v>
                </c:pt>
                <c:pt idx="329">
                  <c:v>44174</c:v>
                </c:pt>
                <c:pt idx="330">
                  <c:v>44173</c:v>
                </c:pt>
                <c:pt idx="331">
                  <c:v>44172</c:v>
                </c:pt>
                <c:pt idx="332">
                  <c:v>44169</c:v>
                </c:pt>
                <c:pt idx="333">
                  <c:v>44168</c:v>
                </c:pt>
                <c:pt idx="334">
                  <c:v>44167</c:v>
                </c:pt>
                <c:pt idx="335">
                  <c:v>44166</c:v>
                </c:pt>
                <c:pt idx="336">
                  <c:v>44165</c:v>
                </c:pt>
                <c:pt idx="337">
                  <c:v>44162</c:v>
                </c:pt>
                <c:pt idx="338">
                  <c:v>44161</c:v>
                </c:pt>
                <c:pt idx="339">
                  <c:v>44160</c:v>
                </c:pt>
                <c:pt idx="340">
                  <c:v>44159</c:v>
                </c:pt>
                <c:pt idx="341">
                  <c:v>44158</c:v>
                </c:pt>
                <c:pt idx="342">
                  <c:v>44155</c:v>
                </c:pt>
                <c:pt idx="343">
                  <c:v>44154</c:v>
                </c:pt>
                <c:pt idx="344">
                  <c:v>44153</c:v>
                </c:pt>
                <c:pt idx="345">
                  <c:v>44152</c:v>
                </c:pt>
                <c:pt idx="346">
                  <c:v>44151</c:v>
                </c:pt>
                <c:pt idx="347">
                  <c:v>44148</c:v>
                </c:pt>
                <c:pt idx="348">
                  <c:v>44147</c:v>
                </c:pt>
                <c:pt idx="349">
                  <c:v>44146</c:v>
                </c:pt>
                <c:pt idx="350">
                  <c:v>44145</c:v>
                </c:pt>
                <c:pt idx="351">
                  <c:v>44144</c:v>
                </c:pt>
                <c:pt idx="352">
                  <c:v>44141</c:v>
                </c:pt>
                <c:pt idx="353">
                  <c:v>44140</c:v>
                </c:pt>
                <c:pt idx="354">
                  <c:v>44139</c:v>
                </c:pt>
                <c:pt idx="355">
                  <c:v>44138</c:v>
                </c:pt>
                <c:pt idx="356">
                  <c:v>44137</c:v>
                </c:pt>
                <c:pt idx="357">
                  <c:v>44134</c:v>
                </c:pt>
                <c:pt idx="358">
                  <c:v>44133</c:v>
                </c:pt>
                <c:pt idx="359">
                  <c:v>44132</c:v>
                </c:pt>
                <c:pt idx="360">
                  <c:v>44131</c:v>
                </c:pt>
                <c:pt idx="361">
                  <c:v>44130</c:v>
                </c:pt>
                <c:pt idx="362">
                  <c:v>44127</c:v>
                </c:pt>
                <c:pt idx="363">
                  <c:v>44126</c:v>
                </c:pt>
                <c:pt idx="364">
                  <c:v>44125</c:v>
                </c:pt>
                <c:pt idx="365">
                  <c:v>44124</c:v>
                </c:pt>
                <c:pt idx="366">
                  <c:v>44123</c:v>
                </c:pt>
                <c:pt idx="367">
                  <c:v>44120</c:v>
                </c:pt>
                <c:pt idx="368">
                  <c:v>44119</c:v>
                </c:pt>
                <c:pt idx="369">
                  <c:v>44118</c:v>
                </c:pt>
                <c:pt idx="370">
                  <c:v>44117</c:v>
                </c:pt>
                <c:pt idx="371">
                  <c:v>44116</c:v>
                </c:pt>
                <c:pt idx="372">
                  <c:v>44113</c:v>
                </c:pt>
                <c:pt idx="373">
                  <c:v>44112</c:v>
                </c:pt>
                <c:pt idx="374">
                  <c:v>44111</c:v>
                </c:pt>
                <c:pt idx="375">
                  <c:v>44110</c:v>
                </c:pt>
                <c:pt idx="376">
                  <c:v>44109</c:v>
                </c:pt>
                <c:pt idx="377">
                  <c:v>44106</c:v>
                </c:pt>
                <c:pt idx="378">
                  <c:v>44105</c:v>
                </c:pt>
                <c:pt idx="379">
                  <c:v>44104</c:v>
                </c:pt>
                <c:pt idx="380">
                  <c:v>44103</c:v>
                </c:pt>
                <c:pt idx="381">
                  <c:v>44102</c:v>
                </c:pt>
                <c:pt idx="382">
                  <c:v>44099</c:v>
                </c:pt>
                <c:pt idx="383">
                  <c:v>44098</c:v>
                </c:pt>
                <c:pt idx="384">
                  <c:v>44097</c:v>
                </c:pt>
                <c:pt idx="385">
                  <c:v>44096</c:v>
                </c:pt>
                <c:pt idx="386">
                  <c:v>44095</c:v>
                </c:pt>
                <c:pt idx="387">
                  <c:v>44092</c:v>
                </c:pt>
                <c:pt idx="388">
                  <c:v>44091</c:v>
                </c:pt>
                <c:pt idx="389">
                  <c:v>44090</c:v>
                </c:pt>
                <c:pt idx="390">
                  <c:v>44089</c:v>
                </c:pt>
                <c:pt idx="391">
                  <c:v>44088</c:v>
                </c:pt>
                <c:pt idx="392">
                  <c:v>44085</c:v>
                </c:pt>
                <c:pt idx="393">
                  <c:v>44084</c:v>
                </c:pt>
                <c:pt idx="394">
                  <c:v>44083</c:v>
                </c:pt>
                <c:pt idx="395">
                  <c:v>44082</c:v>
                </c:pt>
                <c:pt idx="396">
                  <c:v>44081</c:v>
                </c:pt>
                <c:pt idx="397">
                  <c:v>44078</c:v>
                </c:pt>
                <c:pt idx="398">
                  <c:v>44077</c:v>
                </c:pt>
                <c:pt idx="399">
                  <c:v>44076</c:v>
                </c:pt>
                <c:pt idx="400">
                  <c:v>44075</c:v>
                </c:pt>
                <c:pt idx="401">
                  <c:v>44071</c:v>
                </c:pt>
                <c:pt idx="402">
                  <c:v>44070</c:v>
                </c:pt>
                <c:pt idx="403">
                  <c:v>44069</c:v>
                </c:pt>
                <c:pt idx="404">
                  <c:v>44068</c:v>
                </c:pt>
                <c:pt idx="405">
                  <c:v>44067</c:v>
                </c:pt>
                <c:pt idx="406">
                  <c:v>44064</c:v>
                </c:pt>
                <c:pt idx="407">
                  <c:v>44063</c:v>
                </c:pt>
                <c:pt idx="408">
                  <c:v>44062</c:v>
                </c:pt>
                <c:pt idx="409">
                  <c:v>44061</c:v>
                </c:pt>
                <c:pt idx="410">
                  <c:v>44060</c:v>
                </c:pt>
                <c:pt idx="411">
                  <c:v>44057</c:v>
                </c:pt>
                <c:pt idx="412">
                  <c:v>44056</c:v>
                </c:pt>
                <c:pt idx="413">
                  <c:v>44055</c:v>
                </c:pt>
                <c:pt idx="414">
                  <c:v>44054</c:v>
                </c:pt>
                <c:pt idx="415">
                  <c:v>44053</c:v>
                </c:pt>
                <c:pt idx="416">
                  <c:v>44050</c:v>
                </c:pt>
                <c:pt idx="417">
                  <c:v>44049</c:v>
                </c:pt>
                <c:pt idx="418">
                  <c:v>44048</c:v>
                </c:pt>
                <c:pt idx="419">
                  <c:v>44047</c:v>
                </c:pt>
                <c:pt idx="420">
                  <c:v>44046</c:v>
                </c:pt>
                <c:pt idx="421">
                  <c:v>44043</c:v>
                </c:pt>
                <c:pt idx="422">
                  <c:v>44042</c:v>
                </c:pt>
                <c:pt idx="423">
                  <c:v>44041</c:v>
                </c:pt>
                <c:pt idx="424">
                  <c:v>44040</c:v>
                </c:pt>
                <c:pt idx="425">
                  <c:v>44039</c:v>
                </c:pt>
                <c:pt idx="426">
                  <c:v>44036</c:v>
                </c:pt>
                <c:pt idx="427">
                  <c:v>44035</c:v>
                </c:pt>
                <c:pt idx="428">
                  <c:v>44034</c:v>
                </c:pt>
                <c:pt idx="429">
                  <c:v>44033</c:v>
                </c:pt>
                <c:pt idx="430">
                  <c:v>44032</c:v>
                </c:pt>
                <c:pt idx="431">
                  <c:v>44029</c:v>
                </c:pt>
                <c:pt idx="432">
                  <c:v>44028</c:v>
                </c:pt>
                <c:pt idx="433">
                  <c:v>44027</c:v>
                </c:pt>
                <c:pt idx="434">
                  <c:v>44026</c:v>
                </c:pt>
                <c:pt idx="435">
                  <c:v>44025</c:v>
                </c:pt>
                <c:pt idx="436">
                  <c:v>44022</c:v>
                </c:pt>
                <c:pt idx="437">
                  <c:v>44021</c:v>
                </c:pt>
                <c:pt idx="438">
                  <c:v>44020</c:v>
                </c:pt>
                <c:pt idx="439">
                  <c:v>44019</c:v>
                </c:pt>
                <c:pt idx="440">
                  <c:v>44018</c:v>
                </c:pt>
                <c:pt idx="441">
                  <c:v>44015</c:v>
                </c:pt>
                <c:pt idx="442">
                  <c:v>44014</c:v>
                </c:pt>
                <c:pt idx="443">
                  <c:v>44013</c:v>
                </c:pt>
                <c:pt idx="444">
                  <c:v>44012</c:v>
                </c:pt>
                <c:pt idx="445">
                  <c:v>44011</c:v>
                </c:pt>
                <c:pt idx="446">
                  <c:v>44008</c:v>
                </c:pt>
                <c:pt idx="447">
                  <c:v>44007</c:v>
                </c:pt>
                <c:pt idx="448">
                  <c:v>44006</c:v>
                </c:pt>
                <c:pt idx="449">
                  <c:v>44005</c:v>
                </c:pt>
                <c:pt idx="450">
                  <c:v>44004</c:v>
                </c:pt>
                <c:pt idx="451">
                  <c:v>44001</c:v>
                </c:pt>
                <c:pt idx="452">
                  <c:v>44000</c:v>
                </c:pt>
                <c:pt idx="453">
                  <c:v>43999</c:v>
                </c:pt>
                <c:pt idx="454">
                  <c:v>43998</c:v>
                </c:pt>
                <c:pt idx="455">
                  <c:v>43997</c:v>
                </c:pt>
                <c:pt idx="456">
                  <c:v>43994</c:v>
                </c:pt>
                <c:pt idx="457">
                  <c:v>43993</c:v>
                </c:pt>
                <c:pt idx="458">
                  <c:v>43992</c:v>
                </c:pt>
                <c:pt idx="459">
                  <c:v>43991</c:v>
                </c:pt>
                <c:pt idx="460">
                  <c:v>43990</c:v>
                </c:pt>
                <c:pt idx="461">
                  <c:v>43987</c:v>
                </c:pt>
                <c:pt idx="462">
                  <c:v>43986</c:v>
                </c:pt>
                <c:pt idx="463">
                  <c:v>43985</c:v>
                </c:pt>
                <c:pt idx="464">
                  <c:v>43984</c:v>
                </c:pt>
                <c:pt idx="465">
                  <c:v>43983</c:v>
                </c:pt>
                <c:pt idx="466">
                  <c:v>43980</c:v>
                </c:pt>
                <c:pt idx="467">
                  <c:v>43979</c:v>
                </c:pt>
                <c:pt idx="468">
                  <c:v>43978</c:v>
                </c:pt>
                <c:pt idx="469">
                  <c:v>43977</c:v>
                </c:pt>
                <c:pt idx="470">
                  <c:v>43973</c:v>
                </c:pt>
                <c:pt idx="471">
                  <c:v>43972</c:v>
                </c:pt>
                <c:pt idx="472">
                  <c:v>43971</c:v>
                </c:pt>
                <c:pt idx="473">
                  <c:v>43970</c:v>
                </c:pt>
                <c:pt idx="474">
                  <c:v>43969</c:v>
                </c:pt>
                <c:pt idx="475">
                  <c:v>43966</c:v>
                </c:pt>
                <c:pt idx="476">
                  <c:v>43965</c:v>
                </c:pt>
                <c:pt idx="477">
                  <c:v>43964</c:v>
                </c:pt>
                <c:pt idx="478">
                  <c:v>43963</c:v>
                </c:pt>
                <c:pt idx="479">
                  <c:v>43962</c:v>
                </c:pt>
                <c:pt idx="480">
                  <c:v>43958</c:v>
                </c:pt>
                <c:pt idx="481">
                  <c:v>43957</c:v>
                </c:pt>
                <c:pt idx="482">
                  <c:v>43956</c:v>
                </c:pt>
                <c:pt idx="483">
                  <c:v>43955</c:v>
                </c:pt>
                <c:pt idx="484">
                  <c:v>43952</c:v>
                </c:pt>
                <c:pt idx="485">
                  <c:v>43951</c:v>
                </c:pt>
                <c:pt idx="486">
                  <c:v>43950</c:v>
                </c:pt>
                <c:pt idx="487">
                  <c:v>43949</c:v>
                </c:pt>
                <c:pt idx="488">
                  <c:v>43948</c:v>
                </c:pt>
                <c:pt idx="489">
                  <c:v>43945</c:v>
                </c:pt>
                <c:pt idx="490">
                  <c:v>43944</c:v>
                </c:pt>
                <c:pt idx="491">
                  <c:v>43943</c:v>
                </c:pt>
                <c:pt idx="492">
                  <c:v>43942</c:v>
                </c:pt>
                <c:pt idx="493">
                  <c:v>43941</c:v>
                </c:pt>
                <c:pt idx="494">
                  <c:v>43938</c:v>
                </c:pt>
                <c:pt idx="495">
                  <c:v>43937</c:v>
                </c:pt>
                <c:pt idx="496">
                  <c:v>43936</c:v>
                </c:pt>
                <c:pt idx="497">
                  <c:v>43935</c:v>
                </c:pt>
                <c:pt idx="498">
                  <c:v>43930</c:v>
                </c:pt>
                <c:pt idx="499">
                  <c:v>43929</c:v>
                </c:pt>
                <c:pt idx="500">
                  <c:v>43928</c:v>
                </c:pt>
                <c:pt idx="501">
                  <c:v>43927</c:v>
                </c:pt>
                <c:pt idx="502">
                  <c:v>43924</c:v>
                </c:pt>
                <c:pt idx="503">
                  <c:v>43923</c:v>
                </c:pt>
                <c:pt idx="504">
                  <c:v>43922</c:v>
                </c:pt>
                <c:pt idx="505">
                  <c:v>43921</c:v>
                </c:pt>
                <c:pt idx="506">
                  <c:v>43920</c:v>
                </c:pt>
                <c:pt idx="507">
                  <c:v>43917</c:v>
                </c:pt>
                <c:pt idx="508">
                  <c:v>43916</c:v>
                </c:pt>
                <c:pt idx="509">
                  <c:v>43915</c:v>
                </c:pt>
                <c:pt idx="510">
                  <c:v>43914</c:v>
                </c:pt>
                <c:pt idx="511">
                  <c:v>43913</c:v>
                </c:pt>
                <c:pt idx="512">
                  <c:v>43910</c:v>
                </c:pt>
                <c:pt idx="513">
                  <c:v>43909</c:v>
                </c:pt>
                <c:pt idx="514">
                  <c:v>43908</c:v>
                </c:pt>
                <c:pt idx="515">
                  <c:v>43907</c:v>
                </c:pt>
                <c:pt idx="516">
                  <c:v>43906</c:v>
                </c:pt>
                <c:pt idx="517">
                  <c:v>43903</c:v>
                </c:pt>
                <c:pt idx="518">
                  <c:v>43902</c:v>
                </c:pt>
                <c:pt idx="519">
                  <c:v>43901</c:v>
                </c:pt>
                <c:pt idx="520">
                  <c:v>43900</c:v>
                </c:pt>
                <c:pt idx="521">
                  <c:v>43899</c:v>
                </c:pt>
                <c:pt idx="522">
                  <c:v>43896</c:v>
                </c:pt>
                <c:pt idx="523">
                  <c:v>43895</c:v>
                </c:pt>
                <c:pt idx="524">
                  <c:v>43894</c:v>
                </c:pt>
                <c:pt idx="525">
                  <c:v>43893</c:v>
                </c:pt>
                <c:pt idx="526">
                  <c:v>43892</c:v>
                </c:pt>
                <c:pt idx="527">
                  <c:v>43889</c:v>
                </c:pt>
                <c:pt idx="528">
                  <c:v>43888</c:v>
                </c:pt>
                <c:pt idx="529">
                  <c:v>43887</c:v>
                </c:pt>
                <c:pt idx="530">
                  <c:v>43886</c:v>
                </c:pt>
                <c:pt idx="531">
                  <c:v>43885</c:v>
                </c:pt>
                <c:pt idx="532">
                  <c:v>43882</c:v>
                </c:pt>
                <c:pt idx="533">
                  <c:v>43881</c:v>
                </c:pt>
                <c:pt idx="534">
                  <c:v>43880</c:v>
                </c:pt>
                <c:pt idx="535">
                  <c:v>43879</c:v>
                </c:pt>
                <c:pt idx="536">
                  <c:v>43878</c:v>
                </c:pt>
                <c:pt idx="537">
                  <c:v>43875</c:v>
                </c:pt>
                <c:pt idx="538">
                  <c:v>43874</c:v>
                </c:pt>
                <c:pt idx="539">
                  <c:v>43873</c:v>
                </c:pt>
                <c:pt idx="540">
                  <c:v>43872</c:v>
                </c:pt>
                <c:pt idx="541">
                  <c:v>43871</c:v>
                </c:pt>
                <c:pt idx="542">
                  <c:v>43868</c:v>
                </c:pt>
                <c:pt idx="543">
                  <c:v>43867</c:v>
                </c:pt>
                <c:pt idx="544">
                  <c:v>43866</c:v>
                </c:pt>
                <c:pt idx="545">
                  <c:v>43865</c:v>
                </c:pt>
                <c:pt idx="546">
                  <c:v>43864</c:v>
                </c:pt>
                <c:pt idx="547">
                  <c:v>43861</c:v>
                </c:pt>
                <c:pt idx="548">
                  <c:v>43860</c:v>
                </c:pt>
                <c:pt idx="549">
                  <c:v>43859</c:v>
                </c:pt>
                <c:pt idx="550">
                  <c:v>43858</c:v>
                </c:pt>
                <c:pt idx="551">
                  <c:v>43857</c:v>
                </c:pt>
                <c:pt idx="552">
                  <c:v>43854</c:v>
                </c:pt>
                <c:pt idx="553">
                  <c:v>43853</c:v>
                </c:pt>
                <c:pt idx="554">
                  <c:v>43852</c:v>
                </c:pt>
                <c:pt idx="555">
                  <c:v>43851</c:v>
                </c:pt>
                <c:pt idx="556">
                  <c:v>43850</c:v>
                </c:pt>
                <c:pt idx="557">
                  <c:v>43847</c:v>
                </c:pt>
                <c:pt idx="558">
                  <c:v>43846</c:v>
                </c:pt>
                <c:pt idx="559">
                  <c:v>43845</c:v>
                </c:pt>
                <c:pt idx="560">
                  <c:v>43844</c:v>
                </c:pt>
                <c:pt idx="561">
                  <c:v>43843</c:v>
                </c:pt>
                <c:pt idx="562">
                  <c:v>43840</c:v>
                </c:pt>
                <c:pt idx="563">
                  <c:v>43839</c:v>
                </c:pt>
                <c:pt idx="564">
                  <c:v>43838</c:v>
                </c:pt>
                <c:pt idx="565">
                  <c:v>43837</c:v>
                </c:pt>
                <c:pt idx="566">
                  <c:v>43836</c:v>
                </c:pt>
                <c:pt idx="567">
                  <c:v>43833</c:v>
                </c:pt>
                <c:pt idx="568">
                  <c:v>43832</c:v>
                </c:pt>
                <c:pt idx="569">
                  <c:v>43830</c:v>
                </c:pt>
                <c:pt idx="570">
                  <c:v>43829</c:v>
                </c:pt>
                <c:pt idx="571">
                  <c:v>43826</c:v>
                </c:pt>
                <c:pt idx="572">
                  <c:v>43825</c:v>
                </c:pt>
                <c:pt idx="573">
                  <c:v>43823</c:v>
                </c:pt>
                <c:pt idx="574">
                  <c:v>43822</c:v>
                </c:pt>
                <c:pt idx="575">
                  <c:v>43819</c:v>
                </c:pt>
                <c:pt idx="576">
                  <c:v>43818</c:v>
                </c:pt>
                <c:pt idx="577">
                  <c:v>43817</c:v>
                </c:pt>
                <c:pt idx="578">
                  <c:v>43816</c:v>
                </c:pt>
                <c:pt idx="579">
                  <c:v>43815</c:v>
                </c:pt>
                <c:pt idx="580">
                  <c:v>43812</c:v>
                </c:pt>
                <c:pt idx="581">
                  <c:v>43811</c:v>
                </c:pt>
                <c:pt idx="582">
                  <c:v>43810</c:v>
                </c:pt>
                <c:pt idx="583">
                  <c:v>43809</c:v>
                </c:pt>
                <c:pt idx="584">
                  <c:v>43808</c:v>
                </c:pt>
                <c:pt idx="585">
                  <c:v>43805</c:v>
                </c:pt>
                <c:pt idx="586">
                  <c:v>43804</c:v>
                </c:pt>
                <c:pt idx="587">
                  <c:v>43803</c:v>
                </c:pt>
                <c:pt idx="588">
                  <c:v>43802</c:v>
                </c:pt>
                <c:pt idx="589">
                  <c:v>43801</c:v>
                </c:pt>
                <c:pt idx="590">
                  <c:v>43798</c:v>
                </c:pt>
                <c:pt idx="591">
                  <c:v>43797</c:v>
                </c:pt>
                <c:pt idx="592">
                  <c:v>43796</c:v>
                </c:pt>
                <c:pt idx="593">
                  <c:v>43795</c:v>
                </c:pt>
                <c:pt idx="594">
                  <c:v>43794</c:v>
                </c:pt>
                <c:pt idx="595">
                  <c:v>43791</c:v>
                </c:pt>
                <c:pt idx="596">
                  <c:v>43790</c:v>
                </c:pt>
                <c:pt idx="597">
                  <c:v>43789</c:v>
                </c:pt>
                <c:pt idx="598">
                  <c:v>43788</c:v>
                </c:pt>
                <c:pt idx="599">
                  <c:v>43787</c:v>
                </c:pt>
                <c:pt idx="600">
                  <c:v>43784</c:v>
                </c:pt>
                <c:pt idx="601">
                  <c:v>43783</c:v>
                </c:pt>
                <c:pt idx="602">
                  <c:v>43782</c:v>
                </c:pt>
                <c:pt idx="603">
                  <c:v>43781</c:v>
                </c:pt>
                <c:pt idx="604">
                  <c:v>43780</c:v>
                </c:pt>
                <c:pt idx="605">
                  <c:v>43777</c:v>
                </c:pt>
                <c:pt idx="606">
                  <c:v>43776</c:v>
                </c:pt>
                <c:pt idx="607">
                  <c:v>43775</c:v>
                </c:pt>
                <c:pt idx="608">
                  <c:v>43774</c:v>
                </c:pt>
                <c:pt idx="609">
                  <c:v>43773</c:v>
                </c:pt>
                <c:pt idx="610">
                  <c:v>43770</c:v>
                </c:pt>
                <c:pt idx="611">
                  <c:v>43769</c:v>
                </c:pt>
                <c:pt idx="612">
                  <c:v>43768</c:v>
                </c:pt>
                <c:pt idx="613">
                  <c:v>43767</c:v>
                </c:pt>
                <c:pt idx="614">
                  <c:v>43766</c:v>
                </c:pt>
                <c:pt idx="615">
                  <c:v>43763</c:v>
                </c:pt>
                <c:pt idx="616">
                  <c:v>43762</c:v>
                </c:pt>
                <c:pt idx="617">
                  <c:v>43761</c:v>
                </c:pt>
                <c:pt idx="618">
                  <c:v>43760</c:v>
                </c:pt>
                <c:pt idx="619">
                  <c:v>43759</c:v>
                </c:pt>
                <c:pt idx="620">
                  <c:v>43756</c:v>
                </c:pt>
                <c:pt idx="621">
                  <c:v>43755</c:v>
                </c:pt>
                <c:pt idx="622">
                  <c:v>43754</c:v>
                </c:pt>
                <c:pt idx="623">
                  <c:v>43753</c:v>
                </c:pt>
                <c:pt idx="624">
                  <c:v>43752</c:v>
                </c:pt>
                <c:pt idx="625">
                  <c:v>43749</c:v>
                </c:pt>
                <c:pt idx="626">
                  <c:v>43748</c:v>
                </c:pt>
                <c:pt idx="627">
                  <c:v>43747</c:v>
                </c:pt>
                <c:pt idx="628">
                  <c:v>43746</c:v>
                </c:pt>
                <c:pt idx="629">
                  <c:v>43745</c:v>
                </c:pt>
                <c:pt idx="630">
                  <c:v>43742</c:v>
                </c:pt>
                <c:pt idx="631">
                  <c:v>43741</c:v>
                </c:pt>
                <c:pt idx="632">
                  <c:v>43740</c:v>
                </c:pt>
                <c:pt idx="633">
                  <c:v>43739</c:v>
                </c:pt>
                <c:pt idx="634">
                  <c:v>43738</c:v>
                </c:pt>
                <c:pt idx="635">
                  <c:v>43735</c:v>
                </c:pt>
                <c:pt idx="636">
                  <c:v>43734</c:v>
                </c:pt>
                <c:pt idx="637">
                  <c:v>43733</c:v>
                </c:pt>
                <c:pt idx="638">
                  <c:v>43732</c:v>
                </c:pt>
                <c:pt idx="639">
                  <c:v>43731</c:v>
                </c:pt>
                <c:pt idx="640">
                  <c:v>43728</c:v>
                </c:pt>
                <c:pt idx="641">
                  <c:v>43727</c:v>
                </c:pt>
                <c:pt idx="642">
                  <c:v>43726</c:v>
                </c:pt>
                <c:pt idx="643">
                  <c:v>43725</c:v>
                </c:pt>
                <c:pt idx="644">
                  <c:v>43724</c:v>
                </c:pt>
                <c:pt idx="645">
                  <c:v>43721</c:v>
                </c:pt>
                <c:pt idx="646">
                  <c:v>43720</c:v>
                </c:pt>
                <c:pt idx="647">
                  <c:v>43719</c:v>
                </c:pt>
                <c:pt idx="648">
                  <c:v>43718</c:v>
                </c:pt>
                <c:pt idx="649">
                  <c:v>43717</c:v>
                </c:pt>
                <c:pt idx="650">
                  <c:v>43714</c:v>
                </c:pt>
                <c:pt idx="651">
                  <c:v>43713</c:v>
                </c:pt>
                <c:pt idx="652">
                  <c:v>43712</c:v>
                </c:pt>
                <c:pt idx="653">
                  <c:v>43711</c:v>
                </c:pt>
                <c:pt idx="654">
                  <c:v>43710</c:v>
                </c:pt>
                <c:pt idx="655">
                  <c:v>43707</c:v>
                </c:pt>
                <c:pt idx="656">
                  <c:v>43706</c:v>
                </c:pt>
                <c:pt idx="657">
                  <c:v>43705</c:v>
                </c:pt>
                <c:pt idx="658">
                  <c:v>43704</c:v>
                </c:pt>
                <c:pt idx="659">
                  <c:v>43703</c:v>
                </c:pt>
                <c:pt idx="660">
                  <c:v>43700</c:v>
                </c:pt>
                <c:pt idx="661">
                  <c:v>43699</c:v>
                </c:pt>
                <c:pt idx="662">
                  <c:v>43698</c:v>
                </c:pt>
                <c:pt idx="663">
                  <c:v>43697</c:v>
                </c:pt>
                <c:pt idx="664">
                  <c:v>43696</c:v>
                </c:pt>
                <c:pt idx="665">
                  <c:v>43693</c:v>
                </c:pt>
                <c:pt idx="666">
                  <c:v>43692</c:v>
                </c:pt>
                <c:pt idx="667">
                  <c:v>43691</c:v>
                </c:pt>
                <c:pt idx="668">
                  <c:v>43690</c:v>
                </c:pt>
                <c:pt idx="669">
                  <c:v>43689</c:v>
                </c:pt>
                <c:pt idx="670">
                  <c:v>43686</c:v>
                </c:pt>
                <c:pt idx="671">
                  <c:v>43685</c:v>
                </c:pt>
                <c:pt idx="672">
                  <c:v>43684</c:v>
                </c:pt>
                <c:pt idx="673">
                  <c:v>43683</c:v>
                </c:pt>
                <c:pt idx="674">
                  <c:v>43682</c:v>
                </c:pt>
                <c:pt idx="675">
                  <c:v>43679</c:v>
                </c:pt>
                <c:pt idx="676">
                  <c:v>43678</c:v>
                </c:pt>
                <c:pt idx="677">
                  <c:v>43677</c:v>
                </c:pt>
                <c:pt idx="678">
                  <c:v>43676</c:v>
                </c:pt>
                <c:pt idx="679">
                  <c:v>43675</c:v>
                </c:pt>
                <c:pt idx="680">
                  <c:v>43672</c:v>
                </c:pt>
                <c:pt idx="681">
                  <c:v>43671</c:v>
                </c:pt>
                <c:pt idx="682">
                  <c:v>43670</c:v>
                </c:pt>
                <c:pt idx="683">
                  <c:v>43669</c:v>
                </c:pt>
                <c:pt idx="684">
                  <c:v>43668</c:v>
                </c:pt>
                <c:pt idx="685">
                  <c:v>43665</c:v>
                </c:pt>
                <c:pt idx="686">
                  <c:v>43664</c:v>
                </c:pt>
                <c:pt idx="687">
                  <c:v>43663</c:v>
                </c:pt>
                <c:pt idx="688">
                  <c:v>43662</c:v>
                </c:pt>
                <c:pt idx="689">
                  <c:v>43661</c:v>
                </c:pt>
                <c:pt idx="690">
                  <c:v>43658</c:v>
                </c:pt>
                <c:pt idx="691">
                  <c:v>43657</c:v>
                </c:pt>
                <c:pt idx="692">
                  <c:v>43656</c:v>
                </c:pt>
                <c:pt idx="693">
                  <c:v>43655</c:v>
                </c:pt>
                <c:pt idx="694">
                  <c:v>43654</c:v>
                </c:pt>
                <c:pt idx="695">
                  <c:v>43651</c:v>
                </c:pt>
                <c:pt idx="696">
                  <c:v>43650</c:v>
                </c:pt>
                <c:pt idx="697">
                  <c:v>43649</c:v>
                </c:pt>
                <c:pt idx="698">
                  <c:v>43648</c:v>
                </c:pt>
                <c:pt idx="699">
                  <c:v>43647</c:v>
                </c:pt>
                <c:pt idx="700">
                  <c:v>43644</c:v>
                </c:pt>
                <c:pt idx="701">
                  <c:v>43643</c:v>
                </c:pt>
                <c:pt idx="702">
                  <c:v>43642</c:v>
                </c:pt>
                <c:pt idx="703">
                  <c:v>43641</c:v>
                </c:pt>
                <c:pt idx="704">
                  <c:v>43640</c:v>
                </c:pt>
                <c:pt idx="705">
                  <c:v>43637</c:v>
                </c:pt>
                <c:pt idx="706">
                  <c:v>43636</c:v>
                </c:pt>
                <c:pt idx="707">
                  <c:v>43635</c:v>
                </c:pt>
                <c:pt idx="708">
                  <c:v>43634</c:v>
                </c:pt>
                <c:pt idx="709">
                  <c:v>43633</c:v>
                </c:pt>
                <c:pt idx="710">
                  <c:v>43630</c:v>
                </c:pt>
                <c:pt idx="711">
                  <c:v>43629</c:v>
                </c:pt>
                <c:pt idx="712">
                  <c:v>43628</c:v>
                </c:pt>
                <c:pt idx="713">
                  <c:v>43627</c:v>
                </c:pt>
                <c:pt idx="714">
                  <c:v>43626</c:v>
                </c:pt>
                <c:pt idx="715">
                  <c:v>43623</c:v>
                </c:pt>
                <c:pt idx="716">
                  <c:v>43622</c:v>
                </c:pt>
                <c:pt idx="717">
                  <c:v>43621</c:v>
                </c:pt>
                <c:pt idx="718">
                  <c:v>43620</c:v>
                </c:pt>
                <c:pt idx="719">
                  <c:v>43619</c:v>
                </c:pt>
                <c:pt idx="720">
                  <c:v>43616</c:v>
                </c:pt>
                <c:pt idx="721">
                  <c:v>43615</c:v>
                </c:pt>
                <c:pt idx="722">
                  <c:v>43614</c:v>
                </c:pt>
                <c:pt idx="723">
                  <c:v>43613</c:v>
                </c:pt>
                <c:pt idx="724">
                  <c:v>43609</c:v>
                </c:pt>
                <c:pt idx="725">
                  <c:v>43608</c:v>
                </c:pt>
                <c:pt idx="726">
                  <c:v>43607</c:v>
                </c:pt>
                <c:pt idx="727">
                  <c:v>43606</c:v>
                </c:pt>
                <c:pt idx="728">
                  <c:v>43605</c:v>
                </c:pt>
                <c:pt idx="729">
                  <c:v>43602</c:v>
                </c:pt>
                <c:pt idx="730">
                  <c:v>43601</c:v>
                </c:pt>
                <c:pt idx="731">
                  <c:v>43600</c:v>
                </c:pt>
                <c:pt idx="732">
                  <c:v>43599</c:v>
                </c:pt>
                <c:pt idx="733">
                  <c:v>43598</c:v>
                </c:pt>
                <c:pt idx="734">
                  <c:v>43595</c:v>
                </c:pt>
                <c:pt idx="735">
                  <c:v>43594</c:v>
                </c:pt>
                <c:pt idx="736">
                  <c:v>43593</c:v>
                </c:pt>
                <c:pt idx="737">
                  <c:v>43592</c:v>
                </c:pt>
                <c:pt idx="738">
                  <c:v>43591</c:v>
                </c:pt>
                <c:pt idx="739">
                  <c:v>43588</c:v>
                </c:pt>
                <c:pt idx="740">
                  <c:v>43587</c:v>
                </c:pt>
                <c:pt idx="741">
                  <c:v>43586</c:v>
                </c:pt>
                <c:pt idx="742">
                  <c:v>43585</c:v>
                </c:pt>
                <c:pt idx="743">
                  <c:v>43584</c:v>
                </c:pt>
                <c:pt idx="744">
                  <c:v>43581</c:v>
                </c:pt>
                <c:pt idx="745">
                  <c:v>43580</c:v>
                </c:pt>
                <c:pt idx="746">
                  <c:v>43579</c:v>
                </c:pt>
                <c:pt idx="747">
                  <c:v>43578</c:v>
                </c:pt>
                <c:pt idx="748">
                  <c:v>43577</c:v>
                </c:pt>
                <c:pt idx="749">
                  <c:v>43573</c:v>
                </c:pt>
                <c:pt idx="750">
                  <c:v>43572</c:v>
                </c:pt>
                <c:pt idx="751">
                  <c:v>43571</c:v>
                </c:pt>
                <c:pt idx="752">
                  <c:v>43570</c:v>
                </c:pt>
                <c:pt idx="753">
                  <c:v>43567</c:v>
                </c:pt>
                <c:pt idx="754">
                  <c:v>43566</c:v>
                </c:pt>
                <c:pt idx="755">
                  <c:v>43565</c:v>
                </c:pt>
                <c:pt idx="756">
                  <c:v>43564</c:v>
                </c:pt>
                <c:pt idx="757">
                  <c:v>43563</c:v>
                </c:pt>
                <c:pt idx="758">
                  <c:v>43560</c:v>
                </c:pt>
                <c:pt idx="759">
                  <c:v>43559</c:v>
                </c:pt>
                <c:pt idx="760">
                  <c:v>43558</c:v>
                </c:pt>
                <c:pt idx="761">
                  <c:v>43557</c:v>
                </c:pt>
                <c:pt idx="762">
                  <c:v>43556</c:v>
                </c:pt>
                <c:pt idx="763">
                  <c:v>43553</c:v>
                </c:pt>
                <c:pt idx="764">
                  <c:v>43552</c:v>
                </c:pt>
                <c:pt idx="765">
                  <c:v>43551</c:v>
                </c:pt>
                <c:pt idx="766">
                  <c:v>43550</c:v>
                </c:pt>
                <c:pt idx="767">
                  <c:v>43549</c:v>
                </c:pt>
                <c:pt idx="768">
                  <c:v>43546</c:v>
                </c:pt>
                <c:pt idx="769">
                  <c:v>43545</c:v>
                </c:pt>
                <c:pt idx="770">
                  <c:v>43544</c:v>
                </c:pt>
                <c:pt idx="771">
                  <c:v>43543</c:v>
                </c:pt>
                <c:pt idx="772">
                  <c:v>43542</c:v>
                </c:pt>
                <c:pt idx="773">
                  <c:v>43539</c:v>
                </c:pt>
                <c:pt idx="774">
                  <c:v>43538</c:v>
                </c:pt>
                <c:pt idx="775">
                  <c:v>43537</c:v>
                </c:pt>
                <c:pt idx="776">
                  <c:v>43536</c:v>
                </c:pt>
                <c:pt idx="777">
                  <c:v>43535</c:v>
                </c:pt>
                <c:pt idx="778">
                  <c:v>43532</c:v>
                </c:pt>
                <c:pt idx="779">
                  <c:v>43531</c:v>
                </c:pt>
                <c:pt idx="780">
                  <c:v>43530</c:v>
                </c:pt>
                <c:pt idx="781">
                  <c:v>43529</c:v>
                </c:pt>
                <c:pt idx="782">
                  <c:v>43528</c:v>
                </c:pt>
                <c:pt idx="783">
                  <c:v>43525</c:v>
                </c:pt>
                <c:pt idx="784">
                  <c:v>43524</c:v>
                </c:pt>
                <c:pt idx="785">
                  <c:v>43523</c:v>
                </c:pt>
                <c:pt idx="786">
                  <c:v>43522</c:v>
                </c:pt>
                <c:pt idx="787">
                  <c:v>43521</c:v>
                </c:pt>
                <c:pt idx="788">
                  <c:v>43518</c:v>
                </c:pt>
                <c:pt idx="789">
                  <c:v>43517</c:v>
                </c:pt>
                <c:pt idx="790">
                  <c:v>43516</c:v>
                </c:pt>
                <c:pt idx="791">
                  <c:v>43515</c:v>
                </c:pt>
                <c:pt idx="792">
                  <c:v>43514</c:v>
                </c:pt>
                <c:pt idx="793">
                  <c:v>43511</c:v>
                </c:pt>
                <c:pt idx="794">
                  <c:v>43510</c:v>
                </c:pt>
                <c:pt idx="795">
                  <c:v>43509</c:v>
                </c:pt>
                <c:pt idx="796">
                  <c:v>43508</c:v>
                </c:pt>
                <c:pt idx="797">
                  <c:v>43507</c:v>
                </c:pt>
                <c:pt idx="798">
                  <c:v>43504</c:v>
                </c:pt>
                <c:pt idx="799">
                  <c:v>43503</c:v>
                </c:pt>
                <c:pt idx="800">
                  <c:v>43502</c:v>
                </c:pt>
                <c:pt idx="801">
                  <c:v>43501</c:v>
                </c:pt>
                <c:pt idx="802">
                  <c:v>43500</c:v>
                </c:pt>
                <c:pt idx="803">
                  <c:v>43497</c:v>
                </c:pt>
                <c:pt idx="804">
                  <c:v>43496</c:v>
                </c:pt>
                <c:pt idx="805">
                  <c:v>43495</c:v>
                </c:pt>
                <c:pt idx="806">
                  <c:v>43494</c:v>
                </c:pt>
                <c:pt idx="807">
                  <c:v>43493</c:v>
                </c:pt>
                <c:pt idx="808">
                  <c:v>43490</c:v>
                </c:pt>
                <c:pt idx="809">
                  <c:v>43489</c:v>
                </c:pt>
                <c:pt idx="810">
                  <c:v>43488</c:v>
                </c:pt>
                <c:pt idx="811">
                  <c:v>43487</c:v>
                </c:pt>
                <c:pt idx="812">
                  <c:v>43486</c:v>
                </c:pt>
                <c:pt idx="813">
                  <c:v>43483</c:v>
                </c:pt>
                <c:pt idx="814">
                  <c:v>43482</c:v>
                </c:pt>
                <c:pt idx="815">
                  <c:v>43481</c:v>
                </c:pt>
                <c:pt idx="816">
                  <c:v>43480</c:v>
                </c:pt>
                <c:pt idx="817">
                  <c:v>43479</c:v>
                </c:pt>
                <c:pt idx="818">
                  <c:v>43476</c:v>
                </c:pt>
                <c:pt idx="819">
                  <c:v>43475</c:v>
                </c:pt>
                <c:pt idx="820">
                  <c:v>43474</c:v>
                </c:pt>
                <c:pt idx="821">
                  <c:v>43473</c:v>
                </c:pt>
                <c:pt idx="822">
                  <c:v>43472</c:v>
                </c:pt>
                <c:pt idx="823">
                  <c:v>43469</c:v>
                </c:pt>
                <c:pt idx="824">
                  <c:v>43468</c:v>
                </c:pt>
                <c:pt idx="825">
                  <c:v>43467</c:v>
                </c:pt>
              </c:numCache>
            </c:numRef>
          </c:cat>
          <c:val>
            <c:numRef>
              <c:f>Europe_Brent_Spot_Price_FOB!$B$6:$B$831</c:f>
              <c:numCache>
                <c:formatCode>General</c:formatCode>
                <c:ptCount val="826"/>
                <c:pt idx="0">
                  <c:v>114.5</c:v>
                </c:pt>
                <c:pt idx="1">
                  <c:v>122.67</c:v>
                </c:pt>
                <c:pt idx="2">
                  <c:v>123.98</c:v>
                </c:pt>
                <c:pt idx="3">
                  <c:v>127.52</c:v>
                </c:pt>
                <c:pt idx="4">
                  <c:v>121.53</c:v>
                </c:pt>
                <c:pt idx="5">
                  <c:v>122.29</c:v>
                </c:pt>
                <c:pt idx="6">
                  <c:v>114.32</c:v>
                </c:pt>
                <c:pt idx="7">
                  <c:v>113.5</c:v>
                </c:pt>
                <c:pt idx="8">
                  <c:v>104.61</c:v>
                </c:pt>
                <c:pt idx="9">
                  <c:v>105.14</c:v>
                </c:pt>
                <c:pt idx="10">
                  <c:v>110.39</c:v>
                </c:pt>
                <c:pt idx="11">
                  <c:v>118.11</c:v>
                </c:pt>
                <c:pt idx="12">
                  <c:v>114.54</c:v>
                </c:pt>
                <c:pt idx="13">
                  <c:v>116.58</c:v>
                </c:pt>
                <c:pt idx="14">
                  <c:v>133.18</c:v>
                </c:pt>
                <c:pt idx="15">
                  <c:v>129.02000000000001</c:v>
                </c:pt>
                <c:pt idx="16">
                  <c:v>123.86</c:v>
                </c:pt>
                <c:pt idx="17">
                  <c:v>115.36</c:v>
                </c:pt>
                <c:pt idx="18">
                  <c:v>118.94</c:v>
                </c:pt>
                <c:pt idx="19">
                  <c:v>110.93</c:v>
                </c:pt>
                <c:pt idx="20">
                  <c:v>103.08</c:v>
                </c:pt>
                <c:pt idx="21">
                  <c:v>98.56</c:v>
                </c:pt>
                <c:pt idx="22">
                  <c:v>101.29</c:v>
                </c:pt>
                <c:pt idx="23">
                  <c:v>99.29</c:v>
                </c:pt>
                <c:pt idx="24">
                  <c:v>98.73</c:v>
                </c:pt>
                <c:pt idx="25">
                  <c:v>98.95</c:v>
                </c:pt>
                <c:pt idx="26">
                  <c:v>96.18</c:v>
                </c:pt>
                <c:pt idx="27">
                  <c:v>95.28</c:v>
                </c:pt>
                <c:pt idx="28">
                  <c:v>97.44</c:v>
                </c:pt>
                <c:pt idx="29">
                  <c:v>98.43</c:v>
                </c:pt>
                <c:pt idx="30">
                  <c:v>101.66</c:v>
                </c:pt>
                <c:pt idx="31">
                  <c:v>97.5</c:v>
                </c:pt>
                <c:pt idx="32">
                  <c:v>96.37</c:v>
                </c:pt>
                <c:pt idx="33">
                  <c:v>94.95</c:v>
                </c:pt>
                <c:pt idx="34">
                  <c:v>96.07</c:v>
                </c:pt>
                <c:pt idx="35">
                  <c:v>97.28</c:v>
                </c:pt>
                <c:pt idx="36">
                  <c:v>96.86</c:v>
                </c:pt>
                <c:pt idx="37">
                  <c:v>92.99</c:v>
                </c:pt>
                <c:pt idx="38">
                  <c:v>91.43</c:v>
                </c:pt>
                <c:pt idx="39">
                  <c:v>90.24</c:v>
                </c:pt>
                <c:pt idx="40">
                  <c:v>92.35</c:v>
                </c:pt>
                <c:pt idx="41">
                  <c:v>91.47</c:v>
                </c:pt>
                <c:pt idx="42">
                  <c:v>90.7</c:v>
                </c:pt>
                <c:pt idx="43">
                  <c:v>91.22</c:v>
                </c:pt>
                <c:pt idx="44">
                  <c:v>89.49</c:v>
                </c:pt>
                <c:pt idx="45">
                  <c:v>87.74</c:v>
                </c:pt>
                <c:pt idx="46">
                  <c:v>89.75</c:v>
                </c:pt>
                <c:pt idx="47">
                  <c:v>89.75</c:v>
                </c:pt>
                <c:pt idx="48">
                  <c:v>89.64</c:v>
                </c:pt>
                <c:pt idx="49">
                  <c:v>88.83</c:v>
                </c:pt>
                <c:pt idx="50">
                  <c:v>87.82</c:v>
                </c:pt>
                <c:pt idx="51">
                  <c:v>87.17</c:v>
                </c:pt>
                <c:pt idx="52">
                  <c:v>85.8</c:v>
                </c:pt>
                <c:pt idx="53">
                  <c:v>85.83</c:v>
                </c:pt>
                <c:pt idx="54">
                  <c:v>84.98</c:v>
                </c:pt>
                <c:pt idx="55">
                  <c:v>81.56</c:v>
                </c:pt>
                <c:pt idx="56">
                  <c:v>82.28</c:v>
                </c:pt>
                <c:pt idx="57">
                  <c:v>81.99</c:v>
                </c:pt>
                <c:pt idx="58">
                  <c:v>80.599999999999994</c:v>
                </c:pt>
                <c:pt idx="59">
                  <c:v>79.39</c:v>
                </c:pt>
                <c:pt idx="60">
                  <c:v>78.25</c:v>
                </c:pt>
                <c:pt idx="61">
                  <c:v>77.239999999999995</c:v>
                </c:pt>
                <c:pt idx="62">
                  <c:v>78.61</c:v>
                </c:pt>
                <c:pt idx="63">
                  <c:v>78.63</c:v>
                </c:pt>
                <c:pt idx="64">
                  <c:v>75.239999999999995</c:v>
                </c:pt>
                <c:pt idx="65">
                  <c:v>76.260000000000005</c:v>
                </c:pt>
                <c:pt idx="66">
                  <c:v>74.69</c:v>
                </c:pt>
                <c:pt idx="67">
                  <c:v>72.849999999999994</c:v>
                </c:pt>
                <c:pt idx="68">
                  <c:v>70.510000000000005</c:v>
                </c:pt>
                <c:pt idx="69">
                  <c:v>72.97</c:v>
                </c:pt>
                <c:pt idx="70">
                  <c:v>74.64</c:v>
                </c:pt>
                <c:pt idx="71">
                  <c:v>73.709999999999994</c:v>
                </c:pt>
                <c:pt idx="72">
                  <c:v>73.37</c:v>
                </c:pt>
                <c:pt idx="73">
                  <c:v>74.12</c:v>
                </c:pt>
                <c:pt idx="74">
                  <c:v>74.98</c:v>
                </c:pt>
                <c:pt idx="75">
                  <c:v>74.099999999999994</c:v>
                </c:pt>
                <c:pt idx="76">
                  <c:v>75.94</c:v>
                </c:pt>
                <c:pt idx="77">
                  <c:v>75.540000000000006</c:v>
                </c:pt>
                <c:pt idx="78">
                  <c:v>73.38</c:v>
                </c:pt>
                <c:pt idx="79">
                  <c:v>70.709999999999994</c:v>
                </c:pt>
                <c:pt idx="80">
                  <c:v>70.56</c:v>
                </c:pt>
                <c:pt idx="81">
                  <c:v>69.53</c:v>
                </c:pt>
                <c:pt idx="82">
                  <c:v>70.86</c:v>
                </c:pt>
                <c:pt idx="83">
                  <c:v>73.34</c:v>
                </c:pt>
                <c:pt idx="84">
                  <c:v>72.37</c:v>
                </c:pt>
                <c:pt idx="85">
                  <c:v>82.05</c:v>
                </c:pt>
                <c:pt idx="86">
                  <c:v>82.37</c:v>
                </c:pt>
                <c:pt idx="87">
                  <c:v>83.43</c:v>
                </c:pt>
                <c:pt idx="88">
                  <c:v>80.97</c:v>
                </c:pt>
                <c:pt idx="89">
                  <c:v>80.239999999999995</c:v>
                </c:pt>
                <c:pt idx="90">
                  <c:v>82.45</c:v>
                </c:pt>
                <c:pt idx="91">
                  <c:v>80.67</c:v>
                </c:pt>
                <c:pt idx="92">
                  <c:v>82.85</c:v>
                </c:pt>
                <c:pt idx="93">
                  <c:v>81.94</c:v>
                </c:pt>
                <c:pt idx="94">
                  <c:v>82.9</c:v>
                </c:pt>
                <c:pt idx="95">
                  <c:v>83.4</c:v>
                </c:pt>
                <c:pt idx="96">
                  <c:v>82.91</c:v>
                </c:pt>
                <c:pt idx="97">
                  <c:v>84.52</c:v>
                </c:pt>
                <c:pt idx="98">
                  <c:v>83.22</c:v>
                </c:pt>
                <c:pt idx="99">
                  <c:v>82.43</c:v>
                </c:pt>
                <c:pt idx="100">
                  <c:v>80.150000000000006</c:v>
                </c:pt>
                <c:pt idx="101">
                  <c:v>81.099999999999994</c:v>
                </c:pt>
                <c:pt idx="102">
                  <c:v>84.42</c:v>
                </c:pt>
                <c:pt idx="103">
                  <c:v>84.51</c:v>
                </c:pt>
                <c:pt idx="104">
                  <c:v>83.1</c:v>
                </c:pt>
                <c:pt idx="105">
                  <c:v>83.4</c:v>
                </c:pt>
                <c:pt idx="106">
                  <c:v>84.12</c:v>
                </c:pt>
                <c:pt idx="107">
                  <c:v>85.11</c:v>
                </c:pt>
                <c:pt idx="108">
                  <c:v>84.85</c:v>
                </c:pt>
                <c:pt idx="109">
                  <c:v>85.43</c:v>
                </c:pt>
                <c:pt idx="110">
                  <c:v>84.58</c:v>
                </c:pt>
                <c:pt idx="111">
                  <c:v>85.76</c:v>
                </c:pt>
                <c:pt idx="112">
                  <c:v>85.02</c:v>
                </c:pt>
                <c:pt idx="113">
                  <c:v>84.13</c:v>
                </c:pt>
                <c:pt idx="114">
                  <c:v>84.67</c:v>
                </c:pt>
                <c:pt idx="115">
                  <c:v>83.86</c:v>
                </c:pt>
                <c:pt idx="116">
                  <c:v>83.53</c:v>
                </c:pt>
                <c:pt idx="117">
                  <c:v>83.53</c:v>
                </c:pt>
                <c:pt idx="118">
                  <c:v>83.75</c:v>
                </c:pt>
                <c:pt idx="119">
                  <c:v>82.17</c:v>
                </c:pt>
                <c:pt idx="120">
                  <c:v>82.34</c:v>
                </c:pt>
                <c:pt idx="121">
                  <c:v>81.39</c:v>
                </c:pt>
                <c:pt idx="122">
                  <c:v>82.72</c:v>
                </c:pt>
                <c:pt idx="123">
                  <c:v>81.44</c:v>
                </c:pt>
                <c:pt idx="124">
                  <c:v>79.400000000000006</c:v>
                </c:pt>
                <c:pt idx="125">
                  <c:v>77.81</c:v>
                </c:pt>
                <c:pt idx="126">
                  <c:v>77.86</c:v>
                </c:pt>
                <c:pt idx="127">
                  <c:v>78.3</c:v>
                </c:pt>
                <c:pt idx="128">
                  <c:v>78.849999999999994</c:v>
                </c:pt>
                <c:pt idx="129">
                  <c:v>77.42</c:v>
                </c:pt>
                <c:pt idx="130">
                  <c:v>76.44</c:v>
                </c:pt>
                <c:pt idx="131">
                  <c:v>75.5</c:v>
                </c:pt>
                <c:pt idx="132">
                  <c:v>73.650000000000006</c:v>
                </c:pt>
                <c:pt idx="133">
                  <c:v>73.59</c:v>
                </c:pt>
                <c:pt idx="134">
                  <c:v>74.64</c:v>
                </c:pt>
                <c:pt idx="135">
                  <c:v>75.14</c:v>
                </c:pt>
                <c:pt idx="136">
                  <c:v>74.84</c:v>
                </c:pt>
                <c:pt idx="137">
                  <c:v>73.05</c:v>
                </c:pt>
                <c:pt idx="138">
                  <c:v>72.97</c:v>
                </c:pt>
                <c:pt idx="139">
                  <c:v>72.44</c:v>
                </c:pt>
                <c:pt idx="140">
                  <c:v>71.319999999999993</c:v>
                </c:pt>
                <c:pt idx="141">
                  <c:v>72.36</c:v>
                </c:pt>
                <c:pt idx="142">
                  <c:v>71.52</c:v>
                </c:pt>
                <c:pt idx="143">
                  <c:v>72.430000000000007</c:v>
                </c:pt>
                <c:pt idx="144">
                  <c:v>73.069999999999993</c:v>
                </c:pt>
                <c:pt idx="145">
                  <c:v>73.56</c:v>
                </c:pt>
                <c:pt idx="146">
                  <c:v>71.989999999999995</c:v>
                </c:pt>
                <c:pt idx="147">
                  <c:v>73.45</c:v>
                </c:pt>
                <c:pt idx="148">
                  <c:v>72.260000000000005</c:v>
                </c:pt>
                <c:pt idx="149">
                  <c:v>70.42</c:v>
                </c:pt>
                <c:pt idx="150">
                  <c:v>72.12</c:v>
                </c:pt>
                <c:pt idx="151">
                  <c:v>71.209999999999994</c:v>
                </c:pt>
                <c:pt idx="152">
                  <c:v>69.069999999999993</c:v>
                </c:pt>
                <c:pt idx="153">
                  <c:v>65.510000000000005</c:v>
                </c:pt>
                <c:pt idx="154">
                  <c:v>66.8</c:v>
                </c:pt>
                <c:pt idx="155">
                  <c:v>68.61</c:v>
                </c:pt>
                <c:pt idx="156">
                  <c:v>69.400000000000006</c:v>
                </c:pt>
                <c:pt idx="157">
                  <c:v>70.069999999999993</c:v>
                </c:pt>
                <c:pt idx="158">
                  <c:v>70.900000000000006</c:v>
                </c:pt>
                <c:pt idx="159">
                  <c:v>71.790000000000006</c:v>
                </c:pt>
                <c:pt idx="160">
                  <c:v>71.989999999999995</c:v>
                </c:pt>
                <c:pt idx="161">
                  <c:v>71.14</c:v>
                </c:pt>
                <c:pt idx="162">
                  <c:v>69.650000000000006</c:v>
                </c:pt>
                <c:pt idx="163">
                  <c:v>71.02</c:v>
                </c:pt>
                <c:pt idx="164">
                  <c:v>72.14</c:v>
                </c:pt>
                <c:pt idx="165">
                  <c:v>70.989999999999995</c:v>
                </c:pt>
                <c:pt idx="166">
                  <c:v>73.239999999999995</c:v>
                </c:pt>
                <c:pt idx="167">
                  <c:v>73.91</c:v>
                </c:pt>
                <c:pt idx="168">
                  <c:v>77.72</c:v>
                </c:pt>
                <c:pt idx="169">
                  <c:v>76.3</c:v>
                </c:pt>
                <c:pt idx="170">
                  <c:v>75.09</c:v>
                </c:pt>
                <c:pt idx="171">
                  <c:v>74.87</c:v>
                </c:pt>
                <c:pt idx="172">
                  <c:v>74.790000000000006</c:v>
                </c:pt>
                <c:pt idx="173">
                  <c:v>74.86</c:v>
                </c:pt>
                <c:pt idx="174">
                  <c:v>74.25</c:v>
                </c:pt>
                <c:pt idx="175">
                  <c:v>72.540000000000006</c:v>
                </c:pt>
                <c:pt idx="176">
                  <c:v>70.03</c:v>
                </c:pt>
                <c:pt idx="177">
                  <c:v>69.33</c:v>
                </c:pt>
                <c:pt idx="178">
                  <c:v>74.459999999999994</c:v>
                </c:pt>
                <c:pt idx="179">
                  <c:v>74.53</c:v>
                </c:pt>
                <c:pt idx="180">
                  <c:v>75.739999999999995</c:v>
                </c:pt>
                <c:pt idx="181">
                  <c:v>77.5</c:v>
                </c:pt>
                <c:pt idx="182">
                  <c:v>76.77</c:v>
                </c:pt>
                <c:pt idx="183">
                  <c:v>77.14</c:v>
                </c:pt>
                <c:pt idx="184">
                  <c:v>75.069999999999993</c:v>
                </c:pt>
                <c:pt idx="185">
                  <c:v>74.31</c:v>
                </c:pt>
                <c:pt idx="186">
                  <c:v>75.81</c:v>
                </c:pt>
                <c:pt idx="187">
                  <c:v>78.34</c:v>
                </c:pt>
                <c:pt idx="188">
                  <c:v>77.510000000000005</c:v>
                </c:pt>
                <c:pt idx="189">
                  <c:v>76.69</c:v>
                </c:pt>
                <c:pt idx="190">
                  <c:v>76.94</c:v>
                </c:pt>
                <c:pt idx="191">
                  <c:v>75.38</c:v>
                </c:pt>
                <c:pt idx="192">
                  <c:v>74.78</c:v>
                </c:pt>
                <c:pt idx="193">
                  <c:v>76.45</c:v>
                </c:pt>
                <c:pt idx="194">
                  <c:v>75.95</c:v>
                </c:pt>
                <c:pt idx="195">
                  <c:v>75.22</c:v>
                </c:pt>
                <c:pt idx="196">
                  <c:v>74.92</c:v>
                </c:pt>
                <c:pt idx="197">
                  <c:v>74.489999999999995</c:v>
                </c:pt>
                <c:pt idx="198">
                  <c:v>73.099999999999994</c:v>
                </c:pt>
                <c:pt idx="199">
                  <c:v>72.92</c:v>
                </c:pt>
                <c:pt idx="200">
                  <c:v>73.88</c:v>
                </c:pt>
                <c:pt idx="201">
                  <c:v>73.38</c:v>
                </c:pt>
                <c:pt idx="202">
                  <c:v>72.27</c:v>
                </c:pt>
                <c:pt idx="203">
                  <c:v>72.05</c:v>
                </c:pt>
                <c:pt idx="204">
                  <c:v>71.650000000000006</c:v>
                </c:pt>
                <c:pt idx="205">
                  <c:v>71.31</c:v>
                </c:pt>
                <c:pt idx="206">
                  <c:v>71.39</c:v>
                </c:pt>
                <c:pt idx="207">
                  <c:v>70.89</c:v>
                </c:pt>
                <c:pt idx="208">
                  <c:v>71.3</c:v>
                </c:pt>
                <c:pt idx="209">
                  <c:v>70.709999999999994</c:v>
                </c:pt>
                <c:pt idx="210">
                  <c:v>70.599999999999994</c:v>
                </c:pt>
                <c:pt idx="211">
                  <c:v>70.03</c:v>
                </c:pt>
                <c:pt idx="212">
                  <c:v>69.36</c:v>
                </c:pt>
                <c:pt idx="213">
                  <c:v>69.430000000000007</c:v>
                </c:pt>
                <c:pt idx="214">
                  <c:v>68.930000000000007</c:v>
                </c:pt>
                <c:pt idx="215">
                  <c:v>68.8</c:v>
                </c:pt>
                <c:pt idx="216">
                  <c:v>68.59</c:v>
                </c:pt>
                <c:pt idx="217">
                  <c:v>66.72</c:v>
                </c:pt>
                <c:pt idx="218">
                  <c:v>65.180000000000007</c:v>
                </c:pt>
                <c:pt idx="219">
                  <c:v>66.88</c:v>
                </c:pt>
                <c:pt idx="220">
                  <c:v>69.010000000000005</c:v>
                </c:pt>
                <c:pt idx="221">
                  <c:v>69.62</c:v>
                </c:pt>
                <c:pt idx="222">
                  <c:v>69.239999999999995</c:v>
                </c:pt>
                <c:pt idx="223">
                  <c:v>67.36</c:v>
                </c:pt>
                <c:pt idx="224">
                  <c:v>69.62</c:v>
                </c:pt>
                <c:pt idx="225">
                  <c:v>68.83</c:v>
                </c:pt>
                <c:pt idx="226">
                  <c:v>68.61</c:v>
                </c:pt>
                <c:pt idx="227">
                  <c:v>68.73</c:v>
                </c:pt>
                <c:pt idx="228">
                  <c:v>68.62</c:v>
                </c:pt>
                <c:pt idx="229">
                  <c:v>69.709999999999994</c:v>
                </c:pt>
                <c:pt idx="230">
                  <c:v>68.91</c:v>
                </c:pt>
                <c:pt idx="231">
                  <c:v>67.73</c:v>
                </c:pt>
                <c:pt idx="232">
                  <c:v>68.260000000000005</c:v>
                </c:pt>
                <c:pt idx="233">
                  <c:v>67.08</c:v>
                </c:pt>
                <c:pt idx="234">
                  <c:v>66.25</c:v>
                </c:pt>
                <c:pt idx="235">
                  <c:v>65.5</c:v>
                </c:pt>
                <c:pt idx="236">
                  <c:v>65.75</c:v>
                </c:pt>
                <c:pt idx="237">
                  <c:v>65.069999999999993</c:v>
                </c:pt>
                <c:pt idx="238">
                  <c:v>64.02</c:v>
                </c:pt>
                <c:pt idx="239">
                  <c:v>65.34</c:v>
                </c:pt>
                <c:pt idx="240">
                  <c:v>66.540000000000006</c:v>
                </c:pt>
                <c:pt idx="241">
                  <c:v>65.98</c:v>
                </c:pt>
                <c:pt idx="242">
                  <c:v>66.13</c:v>
                </c:pt>
                <c:pt idx="243">
                  <c:v>66.11</c:v>
                </c:pt>
                <c:pt idx="244">
                  <c:v>62.83</c:v>
                </c:pt>
                <c:pt idx="245">
                  <c:v>62.38</c:v>
                </c:pt>
                <c:pt idx="246">
                  <c:v>61.89</c:v>
                </c:pt>
                <c:pt idx="247">
                  <c:v>62.09</c:v>
                </c:pt>
                <c:pt idx="248">
                  <c:v>61.86</c:v>
                </c:pt>
                <c:pt idx="249">
                  <c:v>61.47</c:v>
                </c:pt>
                <c:pt idx="250">
                  <c:v>63.85</c:v>
                </c:pt>
                <c:pt idx="251">
                  <c:v>63.52</c:v>
                </c:pt>
                <c:pt idx="252">
                  <c:v>63.28</c:v>
                </c:pt>
                <c:pt idx="253">
                  <c:v>64.06</c:v>
                </c:pt>
                <c:pt idx="254">
                  <c:v>63.77</c:v>
                </c:pt>
                <c:pt idx="255">
                  <c:v>61.21</c:v>
                </c:pt>
                <c:pt idx="256">
                  <c:v>63.7</c:v>
                </c:pt>
                <c:pt idx="257">
                  <c:v>59.96</c:v>
                </c:pt>
                <c:pt idx="258">
                  <c:v>63.89</c:v>
                </c:pt>
                <c:pt idx="259">
                  <c:v>64</c:v>
                </c:pt>
                <c:pt idx="260">
                  <c:v>62.11</c:v>
                </c:pt>
                <c:pt idx="261">
                  <c:v>67.73</c:v>
                </c:pt>
                <c:pt idx="262">
                  <c:v>67.95</c:v>
                </c:pt>
                <c:pt idx="263">
                  <c:v>68.78</c:v>
                </c:pt>
                <c:pt idx="264">
                  <c:v>68.87</c:v>
                </c:pt>
                <c:pt idx="265">
                  <c:v>69.34</c:v>
                </c:pt>
                <c:pt idx="266">
                  <c:v>67.53</c:v>
                </c:pt>
                <c:pt idx="267">
                  <c:v>67.03</c:v>
                </c:pt>
                <c:pt idx="268">
                  <c:v>68</c:v>
                </c:pt>
                <c:pt idx="269">
                  <c:v>69.95</c:v>
                </c:pt>
                <c:pt idx="270">
                  <c:v>67.319999999999993</c:v>
                </c:pt>
                <c:pt idx="271">
                  <c:v>64.7</c:v>
                </c:pt>
                <c:pt idx="272">
                  <c:v>63.17</c:v>
                </c:pt>
                <c:pt idx="273">
                  <c:v>64.56</c:v>
                </c:pt>
                <c:pt idx="274">
                  <c:v>65.86</c:v>
                </c:pt>
                <c:pt idx="275">
                  <c:v>66.69</c:v>
                </c:pt>
                <c:pt idx="276">
                  <c:v>66.849999999999994</c:v>
                </c:pt>
                <c:pt idx="277">
                  <c:v>65.16</c:v>
                </c:pt>
                <c:pt idx="278">
                  <c:v>64.73</c:v>
                </c:pt>
                <c:pt idx="279">
                  <c:v>62.84</c:v>
                </c:pt>
                <c:pt idx="280">
                  <c:v>64.09</c:v>
                </c:pt>
                <c:pt idx="281">
                  <c:v>65.02</c:v>
                </c:pt>
                <c:pt idx="282">
                  <c:v>63.96</c:v>
                </c:pt>
                <c:pt idx="283">
                  <c:v>63.58</c:v>
                </c:pt>
                <c:pt idx="284">
                  <c:v>62.47</c:v>
                </c:pt>
                <c:pt idx="285">
                  <c:v>61.09</c:v>
                </c:pt>
                <c:pt idx="286">
                  <c:v>61.17</c:v>
                </c:pt>
                <c:pt idx="287">
                  <c:v>60.74</c:v>
                </c:pt>
                <c:pt idx="288">
                  <c:v>60.17</c:v>
                </c:pt>
                <c:pt idx="289">
                  <c:v>59.48</c:v>
                </c:pt>
                <c:pt idx="290">
                  <c:v>58.98</c:v>
                </c:pt>
                <c:pt idx="291">
                  <c:v>58.61</c:v>
                </c:pt>
                <c:pt idx="292">
                  <c:v>57.62</c:v>
                </c:pt>
                <c:pt idx="293">
                  <c:v>56.42</c:v>
                </c:pt>
                <c:pt idx="294">
                  <c:v>55.25</c:v>
                </c:pt>
                <c:pt idx="295">
                  <c:v>54.87</c:v>
                </c:pt>
                <c:pt idx="296">
                  <c:v>55.07</c:v>
                </c:pt>
                <c:pt idx="297">
                  <c:v>55.26</c:v>
                </c:pt>
                <c:pt idx="298">
                  <c:v>55.44</c:v>
                </c:pt>
                <c:pt idx="299">
                  <c:v>55.22</c:v>
                </c:pt>
                <c:pt idx="300">
                  <c:v>55.68</c:v>
                </c:pt>
                <c:pt idx="301">
                  <c:v>55.66</c:v>
                </c:pt>
                <c:pt idx="302">
                  <c:v>55.38</c:v>
                </c:pt>
                <c:pt idx="303">
                  <c:v>54.21</c:v>
                </c:pt>
                <c:pt idx="304">
                  <c:v>54.8</c:v>
                </c:pt>
                <c:pt idx="305">
                  <c:v>55.76</c:v>
                </c:pt>
                <c:pt idx="306">
                  <c:v>55.52</c:v>
                </c:pt>
                <c:pt idx="307">
                  <c:v>55.98</c:v>
                </c:pt>
                <c:pt idx="308">
                  <c:v>54.84</c:v>
                </c:pt>
                <c:pt idx="309">
                  <c:v>55.51</c:v>
                </c:pt>
                <c:pt idx="310">
                  <c:v>53.7</c:v>
                </c:pt>
                <c:pt idx="311">
                  <c:v>53.8</c:v>
                </c:pt>
                <c:pt idx="312">
                  <c:v>53.16</c:v>
                </c:pt>
                <c:pt idx="313">
                  <c:v>50.37</c:v>
                </c:pt>
                <c:pt idx="314">
                  <c:v>51.22</c:v>
                </c:pt>
                <c:pt idx="315">
                  <c:v>50.74</c:v>
                </c:pt>
                <c:pt idx="316">
                  <c:v>50.44</c:v>
                </c:pt>
                <c:pt idx="317">
                  <c:v>50.88</c:v>
                </c:pt>
                <c:pt idx="318">
                  <c:v>50.88</c:v>
                </c:pt>
                <c:pt idx="319">
                  <c:v>51.05</c:v>
                </c:pt>
                <c:pt idx="320">
                  <c:v>49.88</c:v>
                </c:pt>
                <c:pt idx="321">
                  <c:v>50.61</c:v>
                </c:pt>
                <c:pt idx="322">
                  <c:v>52.17</c:v>
                </c:pt>
                <c:pt idx="323">
                  <c:v>51.2</c:v>
                </c:pt>
                <c:pt idx="324">
                  <c:v>50.83</c:v>
                </c:pt>
                <c:pt idx="325">
                  <c:v>50.77</c:v>
                </c:pt>
                <c:pt idx="326">
                  <c:v>50.27</c:v>
                </c:pt>
                <c:pt idx="327">
                  <c:v>50.01</c:v>
                </c:pt>
                <c:pt idx="328">
                  <c:v>50.33</c:v>
                </c:pt>
                <c:pt idx="329">
                  <c:v>48.81</c:v>
                </c:pt>
                <c:pt idx="330">
                  <c:v>48.84</c:v>
                </c:pt>
                <c:pt idx="331">
                  <c:v>48.63</c:v>
                </c:pt>
                <c:pt idx="332">
                  <c:v>49.1</c:v>
                </c:pt>
                <c:pt idx="333">
                  <c:v>48.37</c:v>
                </c:pt>
                <c:pt idx="334">
                  <c:v>47.8</c:v>
                </c:pt>
                <c:pt idx="335">
                  <c:v>47.03</c:v>
                </c:pt>
                <c:pt idx="336">
                  <c:v>46.84</c:v>
                </c:pt>
                <c:pt idx="337">
                  <c:v>46.88</c:v>
                </c:pt>
                <c:pt idx="338">
                  <c:v>46.32</c:v>
                </c:pt>
                <c:pt idx="339">
                  <c:v>47.3</c:v>
                </c:pt>
                <c:pt idx="340">
                  <c:v>46.63</c:v>
                </c:pt>
                <c:pt idx="341">
                  <c:v>45</c:v>
                </c:pt>
                <c:pt idx="342">
                  <c:v>43.79</c:v>
                </c:pt>
                <c:pt idx="343">
                  <c:v>43.09</c:v>
                </c:pt>
                <c:pt idx="344">
                  <c:v>42.91</c:v>
                </c:pt>
                <c:pt idx="345">
                  <c:v>42.54</c:v>
                </c:pt>
                <c:pt idx="346">
                  <c:v>42.71</c:v>
                </c:pt>
                <c:pt idx="347">
                  <c:v>41.51</c:v>
                </c:pt>
                <c:pt idx="348">
                  <c:v>42.16</c:v>
                </c:pt>
                <c:pt idx="349">
                  <c:v>42.5</c:v>
                </c:pt>
                <c:pt idx="350">
                  <c:v>42.25</c:v>
                </c:pt>
                <c:pt idx="351">
                  <c:v>40.93</c:v>
                </c:pt>
                <c:pt idx="352">
                  <c:v>38.08</c:v>
                </c:pt>
                <c:pt idx="353">
                  <c:v>39.47</c:v>
                </c:pt>
                <c:pt idx="354">
                  <c:v>39.68</c:v>
                </c:pt>
                <c:pt idx="355">
                  <c:v>38.17</c:v>
                </c:pt>
                <c:pt idx="356">
                  <c:v>37.78</c:v>
                </c:pt>
                <c:pt idx="357">
                  <c:v>36.33</c:v>
                </c:pt>
                <c:pt idx="358">
                  <c:v>36.56</c:v>
                </c:pt>
                <c:pt idx="359">
                  <c:v>37.86</c:v>
                </c:pt>
                <c:pt idx="360">
                  <c:v>39.72</c:v>
                </c:pt>
                <c:pt idx="361">
                  <c:v>39.06</c:v>
                </c:pt>
                <c:pt idx="362">
                  <c:v>40.71</c:v>
                </c:pt>
                <c:pt idx="363">
                  <c:v>41.28</c:v>
                </c:pt>
                <c:pt idx="364">
                  <c:v>40.090000000000003</c:v>
                </c:pt>
                <c:pt idx="365">
                  <c:v>41.62</c:v>
                </c:pt>
                <c:pt idx="366">
                  <c:v>41.29</c:v>
                </c:pt>
                <c:pt idx="367">
                  <c:v>41.34</c:v>
                </c:pt>
                <c:pt idx="368">
                  <c:v>41.61</c:v>
                </c:pt>
                <c:pt idx="369">
                  <c:v>41.81</c:v>
                </c:pt>
                <c:pt idx="370">
                  <c:v>41.34</c:v>
                </c:pt>
                <c:pt idx="371">
                  <c:v>40.5</c:v>
                </c:pt>
                <c:pt idx="372">
                  <c:v>41.63</c:v>
                </c:pt>
                <c:pt idx="373">
                  <c:v>42</c:v>
                </c:pt>
                <c:pt idx="374">
                  <c:v>40.619999999999997</c:v>
                </c:pt>
                <c:pt idx="375">
                  <c:v>41.27</c:v>
                </c:pt>
                <c:pt idx="376">
                  <c:v>39.78</c:v>
                </c:pt>
                <c:pt idx="377">
                  <c:v>38</c:v>
                </c:pt>
                <c:pt idx="378">
                  <c:v>39.75</c:v>
                </c:pt>
                <c:pt idx="379">
                  <c:v>40.299999999999997</c:v>
                </c:pt>
                <c:pt idx="380">
                  <c:v>40.33</c:v>
                </c:pt>
                <c:pt idx="381">
                  <c:v>41.59</c:v>
                </c:pt>
                <c:pt idx="382">
                  <c:v>40.909999999999997</c:v>
                </c:pt>
                <c:pt idx="383">
                  <c:v>41.24</c:v>
                </c:pt>
                <c:pt idx="384">
                  <c:v>41.09</c:v>
                </c:pt>
                <c:pt idx="385">
                  <c:v>40.840000000000003</c:v>
                </c:pt>
                <c:pt idx="386">
                  <c:v>40.369999999999997</c:v>
                </c:pt>
                <c:pt idx="387">
                  <c:v>42.16</c:v>
                </c:pt>
                <c:pt idx="388">
                  <c:v>42.35</c:v>
                </c:pt>
                <c:pt idx="389">
                  <c:v>41.23</c:v>
                </c:pt>
                <c:pt idx="390">
                  <c:v>39.54</c:v>
                </c:pt>
                <c:pt idx="391">
                  <c:v>38.57</c:v>
                </c:pt>
                <c:pt idx="392">
                  <c:v>38.799999999999997</c:v>
                </c:pt>
                <c:pt idx="393">
                  <c:v>39.270000000000003</c:v>
                </c:pt>
                <c:pt idx="394">
                  <c:v>39.979999999999997</c:v>
                </c:pt>
                <c:pt idx="395">
                  <c:v>38.53</c:v>
                </c:pt>
                <c:pt idx="396">
                  <c:v>40.67</c:v>
                </c:pt>
                <c:pt idx="397">
                  <c:v>41.1</c:v>
                </c:pt>
                <c:pt idx="398">
                  <c:v>42.72</c:v>
                </c:pt>
                <c:pt idx="399">
                  <c:v>42.7</c:v>
                </c:pt>
                <c:pt idx="400">
                  <c:v>45.72</c:v>
                </c:pt>
                <c:pt idx="401">
                  <c:v>45.22</c:v>
                </c:pt>
                <c:pt idx="402">
                  <c:v>44.84</c:v>
                </c:pt>
                <c:pt idx="403">
                  <c:v>45.79</c:v>
                </c:pt>
                <c:pt idx="404">
                  <c:v>46.01</c:v>
                </c:pt>
                <c:pt idx="405">
                  <c:v>44.43</c:v>
                </c:pt>
                <c:pt idx="406">
                  <c:v>43.94</c:v>
                </c:pt>
                <c:pt idx="407">
                  <c:v>44.56</c:v>
                </c:pt>
                <c:pt idx="408">
                  <c:v>45.21</c:v>
                </c:pt>
                <c:pt idx="409">
                  <c:v>45.34</c:v>
                </c:pt>
                <c:pt idx="410">
                  <c:v>44.91</c:v>
                </c:pt>
                <c:pt idx="411">
                  <c:v>44.86</c:v>
                </c:pt>
                <c:pt idx="412">
                  <c:v>44.87</c:v>
                </c:pt>
                <c:pt idx="413">
                  <c:v>45.09</c:v>
                </c:pt>
                <c:pt idx="414">
                  <c:v>43.68</c:v>
                </c:pt>
                <c:pt idx="415">
                  <c:v>44.19</c:v>
                </c:pt>
                <c:pt idx="416">
                  <c:v>44.07</c:v>
                </c:pt>
                <c:pt idx="417">
                  <c:v>45.04</c:v>
                </c:pt>
                <c:pt idx="418">
                  <c:v>44.92</c:v>
                </c:pt>
                <c:pt idx="419">
                  <c:v>43.99</c:v>
                </c:pt>
                <c:pt idx="420">
                  <c:v>43.76</c:v>
                </c:pt>
                <c:pt idx="421">
                  <c:v>43.13</c:v>
                </c:pt>
                <c:pt idx="422">
                  <c:v>42.98</c:v>
                </c:pt>
                <c:pt idx="423">
                  <c:v>43.51</c:v>
                </c:pt>
                <c:pt idx="424">
                  <c:v>43.11</c:v>
                </c:pt>
                <c:pt idx="425">
                  <c:v>43.39</c:v>
                </c:pt>
                <c:pt idx="426">
                  <c:v>43.29</c:v>
                </c:pt>
                <c:pt idx="427">
                  <c:v>42.96</c:v>
                </c:pt>
                <c:pt idx="428">
                  <c:v>43.98</c:v>
                </c:pt>
                <c:pt idx="429">
                  <c:v>44.31</c:v>
                </c:pt>
                <c:pt idx="430">
                  <c:v>43.3</c:v>
                </c:pt>
                <c:pt idx="431">
                  <c:v>43.53</c:v>
                </c:pt>
                <c:pt idx="432">
                  <c:v>43.71</c:v>
                </c:pt>
                <c:pt idx="433">
                  <c:v>43.96</c:v>
                </c:pt>
                <c:pt idx="434">
                  <c:v>42.97</c:v>
                </c:pt>
                <c:pt idx="435">
                  <c:v>42.85</c:v>
                </c:pt>
                <c:pt idx="436">
                  <c:v>43.27</c:v>
                </c:pt>
                <c:pt idx="437">
                  <c:v>42.35</c:v>
                </c:pt>
                <c:pt idx="438">
                  <c:v>43.67</c:v>
                </c:pt>
                <c:pt idx="439">
                  <c:v>43.28</c:v>
                </c:pt>
                <c:pt idx="440">
                  <c:v>42.73</c:v>
                </c:pt>
                <c:pt idx="441">
                  <c:v>42.92</c:v>
                </c:pt>
                <c:pt idx="442">
                  <c:v>43.19</c:v>
                </c:pt>
                <c:pt idx="443">
                  <c:v>42.18</c:v>
                </c:pt>
                <c:pt idx="444">
                  <c:v>41.64</c:v>
                </c:pt>
                <c:pt idx="445">
                  <c:v>41.58</c:v>
                </c:pt>
                <c:pt idx="446">
                  <c:v>40.97</c:v>
                </c:pt>
                <c:pt idx="447">
                  <c:v>41.18</c:v>
                </c:pt>
                <c:pt idx="448">
                  <c:v>40.4</c:v>
                </c:pt>
                <c:pt idx="449">
                  <c:v>42.72</c:v>
                </c:pt>
                <c:pt idx="450">
                  <c:v>43.2</c:v>
                </c:pt>
                <c:pt idx="451">
                  <c:v>42.33</c:v>
                </c:pt>
                <c:pt idx="452">
                  <c:v>41.75</c:v>
                </c:pt>
                <c:pt idx="453">
                  <c:v>40.47</c:v>
                </c:pt>
                <c:pt idx="454">
                  <c:v>40.75</c:v>
                </c:pt>
                <c:pt idx="455">
                  <c:v>39.44</c:v>
                </c:pt>
                <c:pt idx="456">
                  <c:v>38.54</c:v>
                </c:pt>
                <c:pt idx="457">
                  <c:v>37.76</c:v>
                </c:pt>
                <c:pt idx="458">
                  <c:v>41.18</c:v>
                </c:pt>
                <c:pt idx="459">
                  <c:v>40.450000000000003</c:v>
                </c:pt>
                <c:pt idx="460">
                  <c:v>39.659999999999997</c:v>
                </c:pt>
                <c:pt idx="461">
                  <c:v>41</c:v>
                </c:pt>
                <c:pt idx="462">
                  <c:v>38.409999999999997</c:v>
                </c:pt>
                <c:pt idx="463">
                  <c:v>37.979999999999997</c:v>
                </c:pt>
                <c:pt idx="464">
                  <c:v>37.72</c:v>
                </c:pt>
                <c:pt idx="465">
                  <c:v>36.74</c:v>
                </c:pt>
                <c:pt idx="466">
                  <c:v>34.15</c:v>
                </c:pt>
                <c:pt idx="467">
                  <c:v>33.979999999999997</c:v>
                </c:pt>
                <c:pt idx="468">
                  <c:v>32.729999999999997</c:v>
                </c:pt>
                <c:pt idx="469">
                  <c:v>33.950000000000003</c:v>
                </c:pt>
                <c:pt idx="470">
                  <c:v>33.799999999999997</c:v>
                </c:pt>
                <c:pt idx="471">
                  <c:v>34.78</c:v>
                </c:pt>
                <c:pt idx="472">
                  <c:v>34.76</c:v>
                </c:pt>
                <c:pt idx="473">
                  <c:v>33.06</c:v>
                </c:pt>
                <c:pt idx="474">
                  <c:v>33.299999999999997</c:v>
                </c:pt>
                <c:pt idx="475">
                  <c:v>30.95</c:v>
                </c:pt>
                <c:pt idx="476">
                  <c:v>29.87</c:v>
                </c:pt>
                <c:pt idx="477">
                  <c:v>27.89</c:v>
                </c:pt>
                <c:pt idx="478">
                  <c:v>26.67</c:v>
                </c:pt>
                <c:pt idx="479">
                  <c:v>25.53</c:v>
                </c:pt>
                <c:pt idx="480">
                  <c:v>24.23</c:v>
                </c:pt>
                <c:pt idx="481">
                  <c:v>24.2</c:v>
                </c:pt>
                <c:pt idx="482">
                  <c:v>25.46</c:v>
                </c:pt>
                <c:pt idx="483">
                  <c:v>20.399999999999999</c:v>
                </c:pt>
                <c:pt idx="484">
                  <c:v>18.489999999999998</c:v>
                </c:pt>
                <c:pt idx="485">
                  <c:v>18.11</c:v>
                </c:pt>
                <c:pt idx="486">
                  <c:v>17.86</c:v>
                </c:pt>
                <c:pt idx="487">
                  <c:v>15.6</c:v>
                </c:pt>
                <c:pt idx="488">
                  <c:v>15.17</c:v>
                </c:pt>
                <c:pt idx="489">
                  <c:v>15.87</c:v>
                </c:pt>
                <c:pt idx="490">
                  <c:v>15.06</c:v>
                </c:pt>
                <c:pt idx="491">
                  <c:v>13.77</c:v>
                </c:pt>
                <c:pt idx="492">
                  <c:v>9.1199999999999992</c:v>
                </c:pt>
                <c:pt idx="493">
                  <c:v>17.36</c:v>
                </c:pt>
                <c:pt idx="494">
                  <c:v>19.75</c:v>
                </c:pt>
                <c:pt idx="495">
                  <c:v>18.690000000000001</c:v>
                </c:pt>
                <c:pt idx="496">
                  <c:v>19.8</c:v>
                </c:pt>
                <c:pt idx="497">
                  <c:v>21.74</c:v>
                </c:pt>
                <c:pt idx="498">
                  <c:v>20.23</c:v>
                </c:pt>
                <c:pt idx="499">
                  <c:v>25.22</c:v>
                </c:pt>
                <c:pt idx="500">
                  <c:v>22.1</c:v>
                </c:pt>
                <c:pt idx="501">
                  <c:v>22.58</c:v>
                </c:pt>
                <c:pt idx="502">
                  <c:v>24.33</c:v>
                </c:pt>
                <c:pt idx="503">
                  <c:v>20.239999999999998</c:v>
                </c:pt>
                <c:pt idx="504">
                  <c:v>14.97</c:v>
                </c:pt>
                <c:pt idx="505">
                  <c:v>14.85</c:v>
                </c:pt>
                <c:pt idx="506">
                  <c:v>19.190000000000001</c:v>
                </c:pt>
                <c:pt idx="507">
                  <c:v>22.39</c:v>
                </c:pt>
                <c:pt idx="508">
                  <c:v>23.55</c:v>
                </c:pt>
                <c:pt idx="509">
                  <c:v>25.62</c:v>
                </c:pt>
                <c:pt idx="510">
                  <c:v>24.5</c:v>
                </c:pt>
                <c:pt idx="511">
                  <c:v>23.75</c:v>
                </c:pt>
                <c:pt idx="512">
                  <c:v>25.55</c:v>
                </c:pt>
                <c:pt idx="513">
                  <c:v>23.98</c:v>
                </c:pt>
                <c:pt idx="514">
                  <c:v>22.79</c:v>
                </c:pt>
                <c:pt idx="515">
                  <c:v>27.97</c:v>
                </c:pt>
                <c:pt idx="516">
                  <c:v>27.98</c:v>
                </c:pt>
                <c:pt idx="517">
                  <c:v>32.25</c:v>
                </c:pt>
                <c:pt idx="518">
                  <c:v>31.02</c:v>
                </c:pt>
                <c:pt idx="519">
                  <c:v>34.450000000000003</c:v>
                </c:pt>
                <c:pt idx="520">
                  <c:v>35.57</c:v>
                </c:pt>
                <c:pt idx="521">
                  <c:v>35.33</c:v>
                </c:pt>
                <c:pt idx="522">
                  <c:v>45.6</c:v>
                </c:pt>
                <c:pt idx="523">
                  <c:v>51.29</c:v>
                </c:pt>
                <c:pt idx="524">
                  <c:v>51.86</c:v>
                </c:pt>
                <c:pt idx="525">
                  <c:v>52.24</c:v>
                </c:pt>
                <c:pt idx="526">
                  <c:v>52.52</c:v>
                </c:pt>
                <c:pt idx="527">
                  <c:v>51.31</c:v>
                </c:pt>
                <c:pt idx="528">
                  <c:v>52.19</c:v>
                </c:pt>
                <c:pt idx="529">
                  <c:v>54.96</c:v>
                </c:pt>
                <c:pt idx="530">
                  <c:v>55.29</c:v>
                </c:pt>
                <c:pt idx="531">
                  <c:v>56.71</c:v>
                </c:pt>
                <c:pt idx="532">
                  <c:v>58.6</c:v>
                </c:pt>
                <c:pt idx="533">
                  <c:v>59.57</c:v>
                </c:pt>
                <c:pt idx="534">
                  <c:v>59.72</c:v>
                </c:pt>
                <c:pt idx="535">
                  <c:v>57.35</c:v>
                </c:pt>
                <c:pt idx="536">
                  <c:v>57.83</c:v>
                </c:pt>
                <c:pt idx="537">
                  <c:v>57.37</c:v>
                </c:pt>
                <c:pt idx="538">
                  <c:v>56.34</c:v>
                </c:pt>
                <c:pt idx="539">
                  <c:v>55.54</c:v>
                </c:pt>
                <c:pt idx="540">
                  <c:v>54</c:v>
                </c:pt>
                <c:pt idx="541">
                  <c:v>53.39</c:v>
                </c:pt>
                <c:pt idx="542">
                  <c:v>54.53</c:v>
                </c:pt>
                <c:pt idx="543">
                  <c:v>55.18</c:v>
                </c:pt>
                <c:pt idx="544">
                  <c:v>55.36</c:v>
                </c:pt>
                <c:pt idx="545">
                  <c:v>53.9</c:v>
                </c:pt>
                <c:pt idx="546">
                  <c:v>54</c:v>
                </c:pt>
                <c:pt idx="547">
                  <c:v>57.77</c:v>
                </c:pt>
                <c:pt idx="548">
                  <c:v>57.72</c:v>
                </c:pt>
                <c:pt idx="549">
                  <c:v>59.46</c:v>
                </c:pt>
                <c:pt idx="550">
                  <c:v>59.37</c:v>
                </c:pt>
                <c:pt idx="551">
                  <c:v>58.54</c:v>
                </c:pt>
                <c:pt idx="552">
                  <c:v>59.34</c:v>
                </c:pt>
                <c:pt idx="553">
                  <c:v>61.26</c:v>
                </c:pt>
                <c:pt idx="554">
                  <c:v>62.11</c:v>
                </c:pt>
                <c:pt idx="555">
                  <c:v>63.66</c:v>
                </c:pt>
                <c:pt idx="556">
                  <c:v>64.63</c:v>
                </c:pt>
                <c:pt idx="557">
                  <c:v>64.05</c:v>
                </c:pt>
                <c:pt idx="558">
                  <c:v>64.63</c:v>
                </c:pt>
                <c:pt idx="559">
                  <c:v>63.29</c:v>
                </c:pt>
                <c:pt idx="560">
                  <c:v>64.45</c:v>
                </c:pt>
                <c:pt idx="561">
                  <c:v>64.14</c:v>
                </c:pt>
                <c:pt idx="562">
                  <c:v>66.77</c:v>
                </c:pt>
                <c:pt idx="563">
                  <c:v>66.58</c:v>
                </c:pt>
                <c:pt idx="564">
                  <c:v>67.31</c:v>
                </c:pt>
                <c:pt idx="565">
                  <c:v>68.739999999999995</c:v>
                </c:pt>
                <c:pt idx="566">
                  <c:v>70.25</c:v>
                </c:pt>
                <c:pt idx="567">
                  <c:v>69.08</c:v>
                </c:pt>
                <c:pt idx="568">
                  <c:v>67.05</c:v>
                </c:pt>
                <c:pt idx="569">
                  <c:v>67.77</c:v>
                </c:pt>
                <c:pt idx="570">
                  <c:v>68.3</c:v>
                </c:pt>
                <c:pt idx="571">
                  <c:v>68.91</c:v>
                </c:pt>
                <c:pt idx="572">
                  <c:v>69.260000000000005</c:v>
                </c:pt>
                <c:pt idx="573">
                  <c:v>69.260000000000005</c:v>
                </c:pt>
                <c:pt idx="574">
                  <c:v>67.489999999999995</c:v>
                </c:pt>
                <c:pt idx="575">
                  <c:v>68.66</c:v>
                </c:pt>
                <c:pt idx="576">
                  <c:v>69.7</c:v>
                </c:pt>
                <c:pt idx="577">
                  <c:v>69.12</c:v>
                </c:pt>
                <c:pt idx="578">
                  <c:v>68.989999999999995</c:v>
                </c:pt>
                <c:pt idx="579">
                  <c:v>68.040000000000006</c:v>
                </c:pt>
                <c:pt idx="580">
                  <c:v>67.44</c:v>
                </c:pt>
                <c:pt idx="581">
                  <c:v>66.67</c:v>
                </c:pt>
                <c:pt idx="582">
                  <c:v>65.37</c:v>
                </c:pt>
                <c:pt idx="583">
                  <c:v>66.569999999999993</c:v>
                </c:pt>
                <c:pt idx="584">
                  <c:v>66.44</c:v>
                </c:pt>
                <c:pt idx="585">
                  <c:v>66.5</c:v>
                </c:pt>
                <c:pt idx="586">
                  <c:v>65.67</c:v>
                </c:pt>
                <c:pt idx="587">
                  <c:v>65.25</c:v>
                </c:pt>
                <c:pt idx="588">
                  <c:v>62.95</c:v>
                </c:pt>
                <c:pt idx="589">
                  <c:v>63.2</c:v>
                </c:pt>
                <c:pt idx="590">
                  <c:v>64.5</c:v>
                </c:pt>
                <c:pt idx="591">
                  <c:v>64.680000000000007</c:v>
                </c:pt>
                <c:pt idx="592">
                  <c:v>65.03</c:v>
                </c:pt>
                <c:pt idx="593">
                  <c:v>64.819999999999993</c:v>
                </c:pt>
                <c:pt idx="594">
                  <c:v>64.67</c:v>
                </c:pt>
                <c:pt idx="595">
                  <c:v>64.83</c:v>
                </c:pt>
                <c:pt idx="596">
                  <c:v>64.989999999999995</c:v>
                </c:pt>
                <c:pt idx="597">
                  <c:v>63.8</c:v>
                </c:pt>
                <c:pt idx="598">
                  <c:v>62.37</c:v>
                </c:pt>
                <c:pt idx="599">
                  <c:v>62.82</c:v>
                </c:pt>
                <c:pt idx="600">
                  <c:v>63.32</c:v>
                </c:pt>
                <c:pt idx="601">
                  <c:v>62.46</c:v>
                </c:pt>
                <c:pt idx="602">
                  <c:v>62.27</c:v>
                </c:pt>
                <c:pt idx="603">
                  <c:v>62.19</c:v>
                </c:pt>
                <c:pt idx="604">
                  <c:v>62.58</c:v>
                </c:pt>
                <c:pt idx="605">
                  <c:v>62</c:v>
                </c:pt>
                <c:pt idx="606">
                  <c:v>62.6</c:v>
                </c:pt>
                <c:pt idx="607">
                  <c:v>62.11</c:v>
                </c:pt>
                <c:pt idx="608">
                  <c:v>62.72</c:v>
                </c:pt>
                <c:pt idx="609">
                  <c:v>62.52</c:v>
                </c:pt>
                <c:pt idx="610">
                  <c:v>60.17</c:v>
                </c:pt>
                <c:pt idx="611">
                  <c:v>59.3</c:v>
                </c:pt>
                <c:pt idx="612">
                  <c:v>60.22</c:v>
                </c:pt>
                <c:pt idx="613">
                  <c:v>61.05</c:v>
                </c:pt>
                <c:pt idx="614">
                  <c:v>60.39</c:v>
                </c:pt>
                <c:pt idx="615">
                  <c:v>62.06</c:v>
                </c:pt>
                <c:pt idx="616">
                  <c:v>61.71</c:v>
                </c:pt>
                <c:pt idx="617">
                  <c:v>60.52</c:v>
                </c:pt>
                <c:pt idx="618">
                  <c:v>60.5</c:v>
                </c:pt>
                <c:pt idx="619">
                  <c:v>58.95</c:v>
                </c:pt>
                <c:pt idx="620">
                  <c:v>59.96</c:v>
                </c:pt>
                <c:pt idx="621">
                  <c:v>59.35</c:v>
                </c:pt>
                <c:pt idx="622">
                  <c:v>59.3</c:v>
                </c:pt>
                <c:pt idx="623">
                  <c:v>59.19</c:v>
                </c:pt>
                <c:pt idx="624">
                  <c:v>58.81</c:v>
                </c:pt>
                <c:pt idx="625">
                  <c:v>60.59</c:v>
                </c:pt>
                <c:pt idx="626">
                  <c:v>59.08</c:v>
                </c:pt>
                <c:pt idx="627">
                  <c:v>59.7</c:v>
                </c:pt>
                <c:pt idx="628">
                  <c:v>58.14</c:v>
                </c:pt>
                <c:pt idx="629">
                  <c:v>59.46</c:v>
                </c:pt>
                <c:pt idx="630">
                  <c:v>59.13</c:v>
                </c:pt>
                <c:pt idx="631">
                  <c:v>58.01</c:v>
                </c:pt>
                <c:pt idx="632">
                  <c:v>57.92</c:v>
                </c:pt>
                <c:pt idx="633">
                  <c:v>60.06</c:v>
                </c:pt>
                <c:pt idx="634">
                  <c:v>60.99</c:v>
                </c:pt>
                <c:pt idx="635">
                  <c:v>62.48</c:v>
                </c:pt>
                <c:pt idx="636">
                  <c:v>62.08</c:v>
                </c:pt>
                <c:pt idx="637">
                  <c:v>62.41</c:v>
                </c:pt>
                <c:pt idx="638">
                  <c:v>64.13</c:v>
                </c:pt>
                <c:pt idx="639">
                  <c:v>64.66</c:v>
                </c:pt>
                <c:pt idx="640">
                  <c:v>65.23</c:v>
                </c:pt>
                <c:pt idx="641">
                  <c:v>64.25</c:v>
                </c:pt>
                <c:pt idx="642">
                  <c:v>64.290000000000006</c:v>
                </c:pt>
                <c:pt idx="643">
                  <c:v>65.59</c:v>
                </c:pt>
                <c:pt idx="644">
                  <c:v>68.42</c:v>
                </c:pt>
                <c:pt idx="645">
                  <c:v>61.25</c:v>
                </c:pt>
                <c:pt idx="646">
                  <c:v>60.76</c:v>
                </c:pt>
                <c:pt idx="647">
                  <c:v>63.02</c:v>
                </c:pt>
                <c:pt idx="648">
                  <c:v>64.67</c:v>
                </c:pt>
                <c:pt idx="649">
                  <c:v>63.99</c:v>
                </c:pt>
                <c:pt idx="650">
                  <c:v>61.28</c:v>
                </c:pt>
                <c:pt idx="651">
                  <c:v>62.7</c:v>
                </c:pt>
                <c:pt idx="652">
                  <c:v>60.68</c:v>
                </c:pt>
                <c:pt idx="653">
                  <c:v>57.93</c:v>
                </c:pt>
                <c:pt idx="654">
                  <c:v>58.55</c:v>
                </c:pt>
                <c:pt idx="655">
                  <c:v>61.04</c:v>
                </c:pt>
                <c:pt idx="656">
                  <c:v>60.59</c:v>
                </c:pt>
                <c:pt idx="657">
                  <c:v>60.42</c:v>
                </c:pt>
                <c:pt idx="658">
                  <c:v>58.44</c:v>
                </c:pt>
                <c:pt idx="659">
                  <c:v>58.64</c:v>
                </c:pt>
                <c:pt idx="660">
                  <c:v>58.64</c:v>
                </c:pt>
                <c:pt idx="661">
                  <c:v>59.81</c:v>
                </c:pt>
                <c:pt idx="662">
                  <c:v>60.6</c:v>
                </c:pt>
                <c:pt idx="663">
                  <c:v>59.03</c:v>
                </c:pt>
                <c:pt idx="664">
                  <c:v>59.79</c:v>
                </c:pt>
                <c:pt idx="665">
                  <c:v>59</c:v>
                </c:pt>
                <c:pt idx="666">
                  <c:v>57.37</c:v>
                </c:pt>
                <c:pt idx="667">
                  <c:v>57.86</c:v>
                </c:pt>
                <c:pt idx="668">
                  <c:v>59.9</c:v>
                </c:pt>
                <c:pt idx="669">
                  <c:v>57.13</c:v>
                </c:pt>
                <c:pt idx="670">
                  <c:v>57.37</c:v>
                </c:pt>
                <c:pt idx="671">
                  <c:v>56.29</c:v>
                </c:pt>
                <c:pt idx="672">
                  <c:v>55.03</c:v>
                </c:pt>
                <c:pt idx="673">
                  <c:v>58.63</c:v>
                </c:pt>
                <c:pt idx="674">
                  <c:v>59.32</c:v>
                </c:pt>
                <c:pt idx="675">
                  <c:v>61.12</c:v>
                </c:pt>
                <c:pt idx="676">
                  <c:v>62.9</c:v>
                </c:pt>
                <c:pt idx="677">
                  <c:v>64.069999999999993</c:v>
                </c:pt>
                <c:pt idx="678">
                  <c:v>62.55</c:v>
                </c:pt>
                <c:pt idx="679">
                  <c:v>62.29</c:v>
                </c:pt>
                <c:pt idx="680">
                  <c:v>62.46</c:v>
                </c:pt>
                <c:pt idx="681">
                  <c:v>63.47</c:v>
                </c:pt>
                <c:pt idx="682">
                  <c:v>63.83</c:v>
                </c:pt>
                <c:pt idx="683">
                  <c:v>62.28</c:v>
                </c:pt>
                <c:pt idx="684">
                  <c:v>61.96</c:v>
                </c:pt>
                <c:pt idx="685">
                  <c:v>61.04</c:v>
                </c:pt>
                <c:pt idx="686">
                  <c:v>60.7</c:v>
                </c:pt>
                <c:pt idx="687">
                  <c:v>63.67</c:v>
                </c:pt>
                <c:pt idx="688">
                  <c:v>65.87</c:v>
                </c:pt>
                <c:pt idx="689">
                  <c:v>66.86</c:v>
                </c:pt>
                <c:pt idx="690">
                  <c:v>66.650000000000006</c:v>
                </c:pt>
                <c:pt idx="691">
                  <c:v>67.64</c:v>
                </c:pt>
                <c:pt idx="692">
                  <c:v>66.41</c:v>
                </c:pt>
                <c:pt idx="693">
                  <c:v>64.3</c:v>
                </c:pt>
                <c:pt idx="694">
                  <c:v>64.89</c:v>
                </c:pt>
                <c:pt idx="695">
                  <c:v>64.23</c:v>
                </c:pt>
                <c:pt idx="696">
                  <c:v>63.62</c:v>
                </c:pt>
                <c:pt idx="697">
                  <c:v>63.53</c:v>
                </c:pt>
                <c:pt idx="698">
                  <c:v>62.72</c:v>
                </c:pt>
                <c:pt idx="699">
                  <c:v>65.099999999999994</c:v>
                </c:pt>
                <c:pt idx="700">
                  <c:v>67.52</c:v>
                </c:pt>
                <c:pt idx="701">
                  <c:v>66.78</c:v>
                </c:pt>
                <c:pt idx="702">
                  <c:v>66.849999999999994</c:v>
                </c:pt>
                <c:pt idx="703">
                  <c:v>66.239999999999995</c:v>
                </c:pt>
                <c:pt idx="704">
                  <c:v>65.16</c:v>
                </c:pt>
                <c:pt idx="705">
                  <c:v>65.989999999999995</c:v>
                </c:pt>
                <c:pt idx="706">
                  <c:v>65.44</c:v>
                </c:pt>
                <c:pt idx="707">
                  <c:v>62.85</c:v>
                </c:pt>
                <c:pt idx="708">
                  <c:v>63.35</c:v>
                </c:pt>
                <c:pt idx="709">
                  <c:v>62.56</c:v>
                </c:pt>
                <c:pt idx="710">
                  <c:v>63.13</c:v>
                </c:pt>
                <c:pt idx="711">
                  <c:v>63.28</c:v>
                </c:pt>
                <c:pt idx="712">
                  <c:v>61.66</c:v>
                </c:pt>
                <c:pt idx="713">
                  <c:v>63.56</c:v>
                </c:pt>
                <c:pt idx="714">
                  <c:v>64.31</c:v>
                </c:pt>
                <c:pt idx="715">
                  <c:v>64.099999999999994</c:v>
                </c:pt>
                <c:pt idx="716">
                  <c:v>62.77</c:v>
                </c:pt>
                <c:pt idx="717">
                  <c:v>62.14</c:v>
                </c:pt>
                <c:pt idx="718">
                  <c:v>63.56</c:v>
                </c:pt>
                <c:pt idx="719">
                  <c:v>63.16</c:v>
                </c:pt>
                <c:pt idx="720">
                  <c:v>66.78</c:v>
                </c:pt>
                <c:pt idx="721">
                  <c:v>69.55</c:v>
                </c:pt>
                <c:pt idx="722">
                  <c:v>70.64</c:v>
                </c:pt>
                <c:pt idx="723">
                  <c:v>70.19</c:v>
                </c:pt>
                <c:pt idx="724">
                  <c:v>67.98</c:v>
                </c:pt>
                <c:pt idx="725">
                  <c:v>68.37</c:v>
                </c:pt>
                <c:pt idx="726">
                  <c:v>71.94</c:v>
                </c:pt>
                <c:pt idx="727">
                  <c:v>72.94</c:v>
                </c:pt>
                <c:pt idx="728">
                  <c:v>73.209999999999994</c:v>
                </c:pt>
                <c:pt idx="729">
                  <c:v>73.94</c:v>
                </c:pt>
                <c:pt idx="730">
                  <c:v>74.7</c:v>
                </c:pt>
                <c:pt idx="731">
                  <c:v>73.09</c:v>
                </c:pt>
                <c:pt idx="732">
                  <c:v>72.53</c:v>
                </c:pt>
                <c:pt idx="733">
                  <c:v>72.349999999999994</c:v>
                </c:pt>
                <c:pt idx="734">
                  <c:v>71.63</c:v>
                </c:pt>
                <c:pt idx="735">
                  <c:v>70.61</c:v>
                </c:pt>
                <c:pt idx="736">
                  <c:v>71.09</c:v>
                </c:pt>
                <c:pt idx="737">
                  <c:v>70.98</c:v>
                </c:pt>
                <c:pt idx="738">
                  <c:v>71.95</c:v>
                </c:pt>
                <c:pt idx="739">
                  <c:v>71.95</c:v>
                </c:pt>
                <c:pt idx="740">
                  <c:v>70.56</c:v>
                </c:pt>
                <c:pt idx="741">
                  <c:v>72.010000000000005</c:v>
                </c:pt>
                <c:pt idx="742">
                  <c:v>72.19</c:v>
                </c:pt>
                <c:pt idx="743">
                  <c:v>71.22</c:v>
                </c:pt>
                <c:pt idx="744">
                  <c:v>71.03</c:v>
                </c:pt>
                <c:pt idx="745">
                  <c:v>74.94</c:v>
                </c:pt>
                <c:pt idx="746">
                  <c:v>73.59</c:v>
                </c:pt>
                <c:pt idx="747">
                  <c:v>74.39</c:v>
                </c:pt>
                <c:pt idx="748">
                  <c:v>70.709999999999994</c:v>
                </c:pt>
                <c:pt idx="749">
                  <c:v>70.709999999999994</c:v>
                </c:pt>
                <c:pt idx="750">
                  <c:v>71.14</c:v>
                </c:pt>
                <c:pt idx="751">
                  <c:v>70.739999999999995</c:v>
                </c:pt>
                <c:pt idx="752">
                  <c:v>70.900000000000006</c:v>
                </c:pt>
                <c:pt idx="753">
                  <c:v>71.569999999999993</c:v>
                </c:pt>
                <c:pt idx="754">
                  <c:v>71.3</c:v>
                </c:pt>
                <c:pt idx="755">
                  <c:v>71.63</c:v>
                </c:pt>
                <c:pt idx="756">
                  <c:v>71.02</c:v>
                </c:pt>
                <c:pt idx="757">
                  <c:v>71.12</c:v>
                </c:pt>
                <c:pt idx="758">
                  <c:v>69.930000000000007</c:v>
                </c:pt>
                <c:pt idx="759">
                  <c:v>69.8</c:v>
                </c:pt>
                <c:pt idx="760">
                  <c:v>69.209999999999994</c:v>
                </c:pt>
                <c:pt idx="761">
                  <c:v>69.680000000000007</c:v>
                </c:pt>
                <c:pt idx="762">
                  <c:v>69.08</c:v>
                </c:pt>
                <c:pt idx="763">
                  <c:v>67.930000000000007</c:v>
                </c:pt>
                <c:pt idx="764">
                  <c:v>66.08</c:v>
                </c:pt>
                <c:pt idx="765">
                  <c:v>67.349999999999994</c:v>
                </c:pt>
                <c:pt idx="766">
                  <c:v>67.510000000000005</c:v>
                </c:pt>
                <c:pt idx="767">
                  <c:v>67.37</c:v>
                </c:pt>
                <c:pt idx="768">
                  <c:v>66.290000000000006</c:v>
                </c:pt>
                <c:pt idx="769">
                  <c:v>68.3</c:v>
                </c:pt>
                <c:pt idx="770">
                  <c:v>68.349999999999994</c:v>
                </c:pt>
                <c:pt idx="771">
                  <c:v>67.13</c:v>
                </c:pt>
                <c:pt idx="772">
                  <c:v>66.650000000000006</c:v>
                </c:pt>
                <c:pt idx="773">
                  <c:v>66.11</c:v>
                </c:pt>
                <c:pt idx="774">
                  <c:v>66.180000000000007</c:v>
                </c:pt>
                <c:pt idx="775">
                  <c:v>65.89</c:v>
                </c:pt>
                <c:pt idx="776">
                  <c:v>65.33</c:v>
                </c:pt>
                <c:pt idx="777">
                  <c:v>65.06</c:v>
                </c:pt>
                <c:pt idx="778">
                  <c:v>65.66</c:v>
                </c:pt>
                <c:pt idx="779">
                  <c:v>64.819999999999993</c:v>
                </c:pt>
                <c:pt idx="780">
                  <c:v>64.510000000000005</c:v>
                </c:pt>
                <c:pt idx="781">
                  <c:v>64.239999999999995</c:v>
                </c:pt>
                <c:pt idx="782">
                  <c:v>64.44</c:v>
                </c:pt>
                <c:pt idx="783">
                  <c:v>63.71</c:v>
                </c:pt>
                <c:pt idx="784">
                  <c:v>65.03</c:v>
                </c:pt>
                <c:pt idx="785">
                  <c:v>65.55</c:v>
                </c:pt>
                <c:pt idx="786">
                  <c:v>64.510000000000005</c:v>
                </c:pt>
                <c:pt idx="787">
                  <c:v>64.02</c:v>
                </c:pt>
                <c:pt idx="788">
                  <c:v>66.91</c:v>
                </c:pt>
                <c:pt idx="789">
                  <c:v>66.91</c:v>
                </c:pt>
                <c:pt idx="790">
                  <c:v>66.819999999999993</c:v>
                </c:pt>
                <c:pt idx="791">
                  <c:v>65.86</c:v>
                </c:pt>
                <c:pt idx="792">
                  <c:v>66.41</c:v>
                </c:pt>
                <c:pt idx="793">
                  <c:v>65.650000000000006</c:v>
                </c:pt>
                <c:pt idx="794">
                  <c:v>64</c:v>
                </c:pt>
                <c:pt idx="795">
                  <c:v>63.27</c:v>
                </c:pt>
                <c:pt idx="796">
                  <c:v>62.58</c:v>
                </c:pt>
                <c:pt idx="797">
                  <c:v>61.3</c:v>
                </c:pt>
                <c:pt idx="798">
                  <c:v>61.37</c:v>
                </c:pt>
                <c:pt idx="799">
                  <c:v>61.01</c:v>
                </c:pt>
                <c:pt idx="800">
                  <c:v>62.22</c:v>
                </c:pt>
                <c:pt idx="801">
                  <c:v>61.67</c:v>
                </c:pt>
                <c:pt idx="802">
                  <c:v>62.26</c:v>
                </c:pt>
                <c:pt idx="803">
                  <c:v>61.86</c:v>
                </c:pt>
                <c:pt idx="804">
                  <c:v>62.46</c:v>
                </c:pt>
                <c:pt idx="805">
                  <c:v>61.89</c:v>
                </c:pt>
                <c:pt idx="806">
                  <c:v>60.98</c:v>
                </c:pt>
                <c:pt idx="807">
                  <c:v>59.71</c:v>
                </c:pt>
                <c:pt idx="808">
                  <c:v>61.49</c:v>
                </c:pt>
                <c:pt idx="809">
                  <c:v>61.09</c:v>
                </c:pt>
                <c:pt idx="810">
                  <c:v>61.05</c:v>
                </c:pt>
                <c:pt idx="811">
                  <c:v>60.9</c:v>
                </c:pt>
                <c:pt idx="812">
                  <c:v>62.18</c:v>
                </c:pt>
                <c:pt idx="813">
                  <c:v>62.04</c:v>
                </c:pt>
                <c:pt idx="814">
                  <c:v>59.85</c:v>
                </c:pt>
                <c:pt idx="815">
                  <c:v>59.81</c:v>
                </c:pt>
                <c:pt idx="816">
                  <c:v>58.65</c:v>
                </c:pt>
                <c:pt idx="817">
                  <c:v>58.8</c:v>
                </c:pt>
                <c:pt idx="818">
                  <c:v>59.24</c:v>
                </c:pt>
                <c:pt idx="819">
                  <c:v>60.47</c:v>
                </c:pt>
                <c:pt idx="820">
                  <c:v>59.46</c:v>
                </c:pt>
                <c:pt idx="821">
                  <c:v>56.91</c:v>
                </c:pt>
                <c:pt idx="822">
                  <c:v>57.1</c:v>
                </c:pt>
                <c:pt idx="823">
                  <c:v>55.64</c:v>
                </c:pt>
                <c:pt idx="824">
                  <c:v>53.23</c:v>
                </c:pt>
                <c:pt idx="825">
                  <c:v>54.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053-4BBD-A871-DDEE10C2FA7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78484287"/>
        <c:axId val="778493439"/>
      </c:lineChart>
      <c:dateAx>
        <c:axId val="778484287"/>
        <c:scaling>
          <c:orientation val="minMax"/>
        </c:scaling>
        <c:delete val="0"/>
        <c:axPos val="b"/>
        <c:numFmt formatCode="m/d/yy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8493439"/>
        <c:crosses val="autoZero"/>
        <c:auto val="1"/>
        <c:lblOffset val="100"/>
        <c:baseTimeUnit val="days"/>
      </c:dateAx>
      <c:valAx>
        <c:axId val="77849343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7848428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[StatisticsLiveData.xls]Sheet1!$B$3</c:f>
              <c:strCache>
                <c:ptCount val="1"/>
                <c:pt idx="0">
                  <c:v>Foreign Reserves Position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strRef>
              <c:f>[StatisticsLiveData.xls]Sheet1!$C$2:$BU$2</c:f>
              <c:strCache>
                <c:ptCount val="71"/>
                <c:pt idx="0">
                  <c:v>2016 January</c:v>
                </c:pt>
                <c:pt idx="1">
                  <c:v>2016 February</c:v>
                </c:pt>
                <c:pt idx="2">
                  <c:v>2016 March</c:v>
                </c:pt>
                <c:pt idx="3">
                  <c:v>2016 April</c:v>
                </c:pt>
                <c:pt idx="4">
                  <c:v>2016 May</c:v>
                </c:pt>
                <c:pt idx="5">
                  <c:v>2016 June</c:v>
                </c:pt>
                <c:pt idx="6">
                  <c:v>2016 July</c:v>
                </c:pt>
                <c:pt idx="7">
                  <c:v>2016 August</c:v>
                </c:pt>
                <c:pt idx="8">
                  <c:v>2016 September</c:v>
                </c:pt>
                <c:pt idx="9">
                  <c:v>2016 October</c:v>
                </c:pt>
                <c:pt idx="10">
                  <c:v>2016 November</c:v>
                </c:pt>
                <c:pt idx="11">
                  <c:v>2016 December</c:v>
                </c:pt>
                <c:pt idx="12">
                  <c:v>2017 January</c:v>
                </c:pt>
                <c:pt idx="13">
                  <c:v>2017 February</c:v>
                </c:pt>
                <c:pt idx="14">
                  <c:v>2017 March</c:v>
                </c:pt>
                <c:pt idx="15">
                  <c:v>2017 April</c:v>
                </c:pt>
                <c:pt idx="16">
                  <c:v>2017 May</c:v>
                </c:pt>
                <c:pt idx="17">
                  <c:v>2017 June</c:v>
                </c:pt>
                <c:pt idx="18">
                  <c:v>2017 July</c:v>
                </c:pt>
                <c:pt idx="19">
                  <c:v>2017 August</c:v>
                </c:pt>
                <c:pt idx="20">
                  <c:v>2017 September</c:v>
                </c:pt>
                <c:pt idx="21">
                  <c:v>2017 October</c:v>
                </c:pt>
                <c:pt idx="22">
                  <c:v>2017 November</c:v>
                </c:pt>
                <c:pt idx="23">
                  <c:v>2017 December</c:v>
                </c:pt>
                <c:pt idx="24">
                  <c:v>2018 January</c:v>
                </c:pt>
                <c:pt idx="25">
                  <c:v>2018 February</c:v>
                </c:pt>
                <c:pt idx="26">
                  <c:v>2018 March</c:v>
                </c:pt>
                <c:pt idx="27">
                  <c:v>2018 April</c:v>
                </c:pt>
                <c:pt idx="28">
                  <c:v>2018 May</c:v>
                </c:pt>
                <c:pt idx="29">
                  <c:v>2018 June</c:v>
                </c:pt>
                <c:pt idx="30">
                  <c:v>2018 July</c:v>
                </c:pt>
                <c:pt idx="31">
                  <c:v>2018 August</c:v>
                </c:pt>
                <c:pt idx="32">
                  <c:v>2018 September</c:v>
                </c:pt>
                <c:pt idx="33">
                  <c:v>2018 October</c:v>
                </c:pt>
                <c:pt idx="34">
                  <c:v>2018 November</c:v>
                </c:pt>
                <c:pt idx="35">
                  <c:v>2018 December</c:v>
                </c:pt>
                <c:pt idx="36">
                  <c:v>2019 January</c:v>
                </c:pt>
                <c:pt idx="37">
                  <c:v>2019 February</c:v>
                </c:pt>
                <c:pt idx="38">
                  <c:v>2019 March</c:v>
                </c:pt>
                <c:pt idx="39">
                  <c:v>2019 April</c:v>
                </c:pt>
                <c:pt idx="40">
                  <c:v>2019 May</c:v>
                </c:pt>
                <c:pt idx="41">
                  <c:v>2019 June</c:v>
                </c:pt>
                <c:pt idx="42">
                  <c:v>2019 July</c:v>
                </c:pt>
                <c:pt idx="43">
                  <c:v>2019 August</c:v>
                </c:pt>
                <c:pt idx="44">
                  <c:v>2019 September</c:v>
                </c:pt>
                <c:pt idx="45">
                  <c:v>2019 October</c:v>
                </c:pt>
                <c:pt idx="46">
                  <c:v>2019 November</c:v>
                </c:pt>
                <c:pt idx="47">
                  <c:v>2019 December</c:v>
                </c:pt>
                <c:pt idx="48">
                  <c:v>2020 January</c:v>
                </c:pt>
                <c:pt idx="49">
                  <c:v>2020 February</c:v>
                </c:pt>
                <c:pt idx="50">
                  <c:v>2020 March</c:v>
                </c:pt>
                <c:pt idx="51">
                  <c:v>2020 April</c:v>
                </c:pt>
                <c:pt idx="52">
                  <c:v>2020 May</c:v>
                </c:pt>
                <c:pt idx="53">
                  <c:v>2020 June</c:v>
                </c:pt>
                <c:pt idx="54">
                  <c:v>2020 July</c:v>
                </c:pt>
                <c:pt idx="55">
                  <c:v>2020 August</c:v>
                </c:pt>
                <c:pt idx="56">
                  <c:v>2020 September</c:v>
                </c:pt>
                <c:pt idx="57">
                  <c:v>2020 October</c:v>
                </c:pt>
                <c:pt idx="58">
                  <c:v>2020 November</c:v>
                </c:pt>
                <c:pt idx="59">
                  <c:v>2020 December</c:v>
                </c:pt>
                <c:pt idx="60">
                  <c:v>2021 January</c:v>
                </c:pt>
                <c:pt idx="61">
                  <c:v>2021 February</c:v>
                </c:pt>
                <c:pt idx="62">
                  <c:v>2021 March</c:v>
                </c:pt>
                <c:pt idx="63">
                  <c:v>2021 April</c:v>
                </c:pt>
                <c:pt idx="64">
                  <c:v>2021 May</c:v>
                </c:pt>
                <c:pt idx="65">
                  <c:v>2021 June</c:v>
                </c:pt>
                <c:pt idx="66">
                  <c:v>2021 July</c:v>
                </c:pt>
                <c:pt idx="67">
                  <c:v>2021 August</c:v>
                </c:pt>
                <c:pt idx="68">
                  <c:v>2021 September</c:v>
                </c:pt>
                <c:pt idx="69">
                  <c:v>2021 October</c:v>
                </c:pt>
                <c:pt idx="70">
                  <c:v>2021 November</c:v>
                </c:pt>
              </c:strCache>
            </c:strRef>
          </c:cat>
          <c:val>
            <c:numRef>
              <c:f>[StatisticsLiveData.xls]Sheet1!$C$3:$BU$3</c:f>
              <c:numCache>
                <c:formatCode>#,##0.00</c:formatCode>
                <c:ptCount val="71"/>
                <c:pt idx="0">
                  <c:v>27607.85</c:v>
                </c:pt>
                <c:pt idx="1">
                  <c:v>27568.38</c:v>
                </c:pt>
                <c:pt idx="2">
                  <c:v>27336.38</c:v>
                </c:pt>
                <c:pt idx="3">
                  <c:v>26614.81</c:v>
                </c:pt>
                <c:pt idx="4">
                  <c:v>26594.39</c:v>
                </c:pt>
                <c:pt idx="5">
                  <c:v>26505.5</c:v>
                </c:pt>
                <c:pt idx="6">
                  <c:v>25581.58</c:v>
                </c:pt>
                <c:pt idx="7">
                  <c:v>25031.93</c:v>
                </c:pt>
                <c:pt idx="8">
                  <c:v>23806.51</c:v>
                </c:pt>
                <c:pt idx="9">
                  <c:v>23689.87</c:v>
                </c:pt>
                <c:pt idx="10">
                  <c:v>25081.22</c:v>
                </c:pt>
                <c:pt idx="11">
                  <c:v>26990.58</c:v>
                </c:pt>
                <c:pt idx="12">
                  <c:v>28592.98</c:v>
                </c:pt>
                <c:pt idx="13">
                  <c:v>29975.38</c:v>
                </c:pt>
                <c:pt idx="14">
                  <c:v>29996.38</c:v>
                </c:pt>
                <c:pt idx="15">
                  <c:v>30749.279999999999</c:v>
                </c:pt>
                <c:pt idx="16">
                  <c:v>29811.85</c:v>
                </c:pt>
                <c:pt idx="17">
                  <c:v>30340.959999999999</c:v>
                </c:pt>
                <c:pt idx="18">
                  <c:v>30898.959999999999</c:v>
                </c:pt>
                <c:pt idx="19">
                  <c:v>31278.95</c:v>
                </c:pt>
                <c:pt idx="20">
                  <c:v>33159.730000000003</c:v>
                </c:pt>
                <c:pt idx="21">
                  <c:v>34323.589999999997</c:v>
                </c:pt>
                <c:pt idx="22">
                  <c:v>38207.96</c:v>
                </c:pt>
                <c:pt idx="23">
                  <c:v>39347.47</c:v>
                </c:pt>
                <c:pt idx="24">
                  <c:v>41150.28</c:v>
                </c:pt>
                <c:pt idx="25">
                  <c:v>45274</c:v>
                </c:pt>
                <c:pt idx="26">
                  <c:v>46730.54</c:v>
                </c:pt>
                <c:pt idx="27">
                  <c:v>47438.22</c:v>
                </c:pt>
                <c:pt idx="28">
                  <c:v>46923.01</c:v>
                </c:pt>
                <c:pt idx="29">
                  <c:v>47157.9</c:v>
                </c:pt>
                <c:pt idx="30">
                  <c:v>45814.2</c:v>
                </c:pt>
                <c:pt idx="31">
                  <c:v>44606.79</c:v>
                </c:pt>
                <c:pt idx="32">
                  <c:v>42608.95</c:v>
                </c:pt>
                <c:pt idx="33">
                  <c:v>40651.230000000003</c:v>
                </c:pt>
                <c:pt idx="34">
                  <c:v>43348.25</c:v>
                </c:pt>
                <c:pt idx="35">
                  <c:v>42594.84</c:v>
                </c:pt>
                <c:pt idx="36">
                  <c:v>42515.66</c:v>
                </c:pt>
                <c:pt idx="37">
                  <c:v>42328.959999999999</c:v>
                </c:pt>
                <c:pt idx="38">
                  <c:v>44793.08</c:v>
                </c:pt>
                <c:pt idx="39">
                  <c:v>44474.29</c:v>
                </c:pt>
                <c:pt idx="40">
                  <c:v>44898.42</c:v>
                </c:pt>
                <c:pt idx="41">
                  <c:v>44747.03</c:v>
                </c:pt>
                <c:pt idx="42">
                  <c:v>43971.93</c:v>
                </c:pt>
                <c:pt idx="43">
                  <c:v>42062.42</c:v>
                </c:pt>
                <c:pt idx="44">
                  <c:v>40689.89</c:v>
                </c:pt>
                <c:pt idx="45">
                  <c:v>39614.800000000003</c:v>
                </c:pt>
                <c:pt idx="46">
                  <c:v>38799.550000000003</c:v>
                </c:pt>
                <c:pt idx="47">
                  <c:v>38092.720000000001</c:v>
                </c:pt>
                <c:pt idx="48">
                  <c:v>36730.57</c:v>
                </c:pt>
                <c:pt idx="49">
                  <c:v>36599.89</c:v>
                </c:pt>
                <c:pt idx="50">
                  <c:v>33689.050000000003</c:v>
                </c:pt>
                <c:pt idx="51">
                  <c:v>36459.480000000003</c:v>
                </c:pt>
                <c:pt idx="52">
                  <c:v>36203.17</c:v>
                </c:pt>
                <c:pt idx="53">
                  <c:v>35779.68</c:v>
                </c:pt>
                <c:pt idx="54">
                  <c:v>35559.800000000003</c:v>
                </c:pt>
                <c:pt idx="55">
                  <c:v>35511.93</c:v>
                </c:pt>
                <c:pt idx="56">
                  <c:v>35964.53</c:v>
                </c:pt>
                <c:pt idx="57">
                  <c:v>35580.480000000003</c:v>
                </c:pt>
                <c:pt idx="58">
                  <c:v>34938.199999999997</c:v>
                </c:pt>
                <c:pt idx="59">
                  <c:v>36476.89</c:v>
                </c:pt>
                <c:pt idx="60">
                  <c:v>35440.879999999997</c:v>
                </c:pt>
                <c:pt idx="61">
                  <c:v>34461.46</c:v>
                </c:pt>
                <c:pt idx="62">
                  <c:v>35137.839999999997</c:v>
                </c:pt>
                <c:pt idx="63">
                  <c:v>34320.730000000003</c:v>
                </c:pt>
                <c:pt idx="64">
                  <c:v>34180.21</c:v>
                </c:pt>
                <c:pt idx="65">
                  <c:v>32990.720000000001</c:v>
                </c:pt>
                <c:pt idx="66">
                  <c:v>33492.400000000001</c:v>
                </c:pt>
                <c:pt idx="67">
                  <c:v>35979.760000000002</c:v>
                </c:pt>
                <c:pt idx="68">
                  <c:v>41571.370000000003</c:v>
                </c:pt>
                <c:pt idx="69">
                  <c:v>41300.11</c:v>
                </c:pt>
                <c:pt idx="70">
                  <c:v>40478.08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9DD-4CAC-86DD-29C1597DC1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73518175"/>
        <c:axId val="273529407"/>
      </c:lineChart>
      <c:catAx>
        <c:axId val="2735181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3529407"/>
        <c:crosses val="autoZero"/>
        <c:auto val="1"/>
        <c:lblAlgn val="ctr"/>
        <c:lblOffset val="100"/>
        <c:noMultiLvlLbl val="0"/>
      </c:catAx>
      <c:valAx>
        <c:axId val="273529407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.0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735181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50FCAD50-1191-4859-BBF9-14C33BA27E41}" type="datetimeFigureOut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noProof="0" smtClean="0"/>
              <a:t>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latin typeface="+mn-lt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latin typeface="+mn-lt"/>
              </a:defRPr>
            </a:lvl1pPr>
          </a:lstStyle>
          <a:p>
            <a:pPr>
              <a:defRPr/>
            </a:pPr>
            <a:fld id="{547E2BEC-B719-499C-B170-B9A10A1F8485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7E2BEC-B719-499C-B170-B9A10A1F8485}" type="slidenum">
              <a:rPr lang="en-GB" smtClean="0"/>
              <a:pPr>
                <a:defRPr/>
              </a:pPr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0134189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91440" indent="-91440" eaLnBrk="1" fontAlgn="auto" hangingPunct="1">
              <a:buFont typeface="Wingdings" panose="05000000000000000000" pitchFamily="2" charset="2"/>
              <a:buChar char="§"/>
              <a:defRPr/>
            </a:pPr>
            <a:r>
              <a:rPr lang="en-GB" sz="1200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2</a:t>
            </a:r>
            <a:endParaRPr lang="en-GB" altLang="en-US" dirty="0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6E76FB6-1C48-4267-9E6C-FBA3AB729E27}" type="slidenum">
              <a:rPr lang="en-GB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5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513100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945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marL="91440" indent="-91440" eaLnBrk="1" fontAlgn="auto" hangingPunct="1">
              <a:buFont typeface="Wingdings" panose="05000000000000000000" pitchFamily="2" charset="2"/>
              <a:buChar char="§"/>
              <a:defRPr/>
            </a:pPr>
            <a:endParaRPr lang="en-GB" altLang="en-US" dirty="0" smtClean="0"/>
          </a:p>
        </p:txBody>
      </p:sp>
      <p:sp>
        <p:nvSpPr>
          <p:cNvPr id="1946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36E76FB6-1C48-4267-9E6C-FBA3AB729E27}" type="slidenum">
              <a:rPr lang="en-GB" altLang="en-US"/>
              <a:pPr fontAlgn="base">
                <a:spcBef>
                  <a:spcPct val="0"/>
                </a:spcBef>
                <a:spcAft>
                  <a:spcPct val="0"/>
                </a:spcAft>
              </a:pPr>
              <a:t>6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64239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The</a:t>
            </a:r>
            <a:r>
              <a:rPr lang="en-US" baseline="0" dirty="0" smtClean="0"/>
              <a:t> market indices were bullish in 2021 as the NGX ASI and NASD USII appreciated by 6.07% and 1.34% respectively</a:t>
            </a:r>
          </a:p>
          <a:p>
            <a:r>
              <a:rPr lang="en-US" baseline="0" dirty="0" smtClean="0"/>
              <a:t>The S&amp;P 500 closed December at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47E2BEC-B719-499C-B170-B9A10A1F8485}" type="slidenum">
              <a:rPr lang="en-GB" smtClean="0"/>
              <a:pPr>
                <a:defRPr/>
              </a:pPr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255826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599EA21-D1DB-7D4A-A74A-DA89012EF7A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3895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34BBC6-7188-42D6-BA4E-EDA6CE3768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912C095-099F-48EE-A810-451292CC722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F75689-B4C3-4EEA-8110-01F124320BE1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93A4A1-78D4-4605-9768-365B02EC958F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88185163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01F1C3-4D1F-4279-9E59-10BE00B1E3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D6EA0697-733C-441A-9C20-7C8992EE7A5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43D2D8-F8F9-44CB-B08C-881614EC3BE1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524419-55E1-404D-99D0-CE7F43FF58E8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84246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82FC6276-FF5F-465E-8B90-1665DE29B264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2025A86E-A845-4D46-8DD5-41463885937F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4709E2-1096-4115-9089-10BBFFE7CE7F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CFD370-EE41-42B9-B766-B916851C4F5A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8276365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/>
          <p:cNvSpPr/>
          <p:nvPr/>
        </p:nvSpPr>
        <p:spPr>
          <a:xfrm>
            <a:off x="0" y="6334125"/>
            <a:ext cx="12192000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5"/>
          <p:cNvCxnSpPr/>
          <p:nvPr/>
        </p:nvCxnSpPr>
        <p:spPr>
          <a:xfrm>
            <a:off x="1208088" y="4343400"/>
            <a:ext cx="987583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/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GB"/>
              <a:t>Click to edit Master sub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DC27E8-612A-45C8-9D7E-0B2E39B7851C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29ADA2-7407-49F9-9C68-449CC4A58F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628611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B8DF26-9EAC-49B1-B036-EBD619A16E8B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B72FE3-4C69-4117-B8DF-B6962BDC25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32147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5"/>
          <p:cNvCxnSpPr/>
          <p:nvPr/>
        </p:nvCxnSpPr>
        <p:spPr>
          <a:xfrm>
            <a:off x="1208088" y="4343400"/>
            <a:ext cx="987583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Ctr="0"/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51351B-69B4-41F2-8581-EEAE01B139FA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BA1ECB-7D0B-470E-A3FB-411741CE1A5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98498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B8DF26-9EAC-49B1-B036-EBD619A16E8B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2F76AB7-5911-44EF-80F1-4116B439D85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51589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B8DF26-9EAC-49B1-B036-EBD619A16E8B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423383-BAE0-48C7-B5B9-2842F65500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347306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B8DF26-9EAC-49B1-B036-EBD619A16E8B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74BE02C-3D16-432F-B187-5EC81D06301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167453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3" name="Rectangle 2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4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48230A-0296-43D9-AD1B-FBDB96AE71D4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5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6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6F315A-6B04-4C10-B71C-A8D2BF7270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221929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4051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4040188" y="0"/>
            <a:ext cx="63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/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>
          <a:xfrm>
            <a:off x="465138" y="6459538"/>
            <a:ext cx="2619375" cy="365125"/>
          </a:xfrm>
        </p:spPr>
        <p:txBody>
          <a:bodyPr/>
          <a:lstStyle>
            <a:lvl1pPr algn="l">
              <a:defRPr/>
            </a:lvl1pPr>
          </a:lstStyle>
          <a:p>
            <a:pPr>
              <a:defRPr/>
            </a:pPr>
            <a:fld id="{3137973C-1D2F-467A-8269-52C249AB0DA2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538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>
              <a:defRPr/>
            </a:pPr>
            <a:fld id="{7C32713E-93D9-41EE-8B79-174631CB813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26267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4D08B61-6662-4BF5-A42E-4A9C8DD8F3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9E38E4C-D218-463A-8488-7848F2F03B1D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A8A4402-A05B-4638-9E5C-7B316B2253ED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2D83E6B-0961-47ED-A071-E3BE0A540CAC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6623123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0" y="4914900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GB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4891112-8443-445B-B963-7217708474C9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3A4CAE-C8E0-47B9-9CF1-3BE6B01991E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143763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5B8DF26-9EAC-49B1-B036-EBD619A16E8B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CF85C93-B421-42E7-9F31-6272766AD39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7276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 dirty="0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D6A5EC-85D2-45D5-A612-6ED25A665E24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4CF9B-4A9D-4B98-B971-10D21F17491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824379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>
            <a:extLst>
              <a:ext uri="{FF2B5EF4-FFF2-40B4-BE49-F238E27FC236}">
                <a16:creationId xmlns:a16="http://schemas.microsoft.com/office/drawing/2014/main" id="{B4ADEBAC-E497-CB48-8513-F33DB82A8973}"/>
              </a:ext>
            </a:extLst>
          </p:cNvPr>
          <p:cNvSpPr/>
          <p:nvPr userDrawn="1"/>
        </p:nvSpPr>
        <p:spPr>
          <a:xfrm>
            <a:off x="11295063" y="6386513"/>
            <a:ext cx="333375" cy="34290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D"/>
          </a:p>
        </p:txBody>
      </p:sp>
      <p:sp>
        <p:nvSpPr>
          <p:cNvPr id="5" name="TextBox 4"/>
          <p:cNvSpPr txBox="1">
            <a:spLocks noChangeArrowheads="1"/>
          </p:cNvSpPr>
          <p:nvPr userDrawn="1"/>
        </p:nvSpPr>
        <p:spPr bwMode="auto">
          <a:xfrm>
            <a:off x="11295063" y="6473825"/>
            <a:ext cx="333375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fld id="{CA9D1F1D-5908-417E-ADFE-A7E62F5DB7CD}" type="slidenum">
              <a:rPr lang="en-US" sz="1000" b="1">
                <a:solidFill>
                  <a:schemeClr val="bg1"/>
                </a:solidFill>
                <a:latin typeface="Segoe UI" pitchFamily="34" charset="0"/>
                <a:cs typeface="Segoe UI" pitchFamily="34" charset="0"/>
              </a:rPr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1000" b="1">
              <a:solidFill>
                <a:schemeClr val="bg1"/>
              </a:solidFill>
              <a:latin typeface="Segoe UI" pitchFamily="34" charset="0"/>
              <a:cs typeface="Segoe UI" pitchFamily="34" charset="0"/>
            </a:endParaRP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FF9A1467-2B26-DF46-B85E-EE1EAB739AA4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5288" y="6557963"/>
            <a:ext cx="36671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3" t="30940" r="12563" b="30940"/>
          <a:stretch>
            <a:fillRect/>
          </a:stretch>
        </p:blipFill>
        <p:spPr bwMode="auto">
          <a:xfrm>
            <a:off x="563563" y="6480175"/>
            <a:ext cx="747712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9ADFF5-D2DF-4F4C-B84D-A9AF846D83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  <a:endParaRPr lang="en-ID" dirty="0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41AC1C2-7B26-48A2-B6CA-246EE22EFC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411015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smtClean="0"/>
              <a:t>Click to edit Master subtitle style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C82485-7199-4A25-BB18-A7C8A447FEB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99890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B80671-9430-4010-B407-941337D6AC3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3620822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88525" y="471488"/>
            <a:ext cx="1682750" cy="341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DE3CE-5648-4DBA-B452-42FC5DED6672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0DB0635-DA4C-4598-9FCE-2DF80F3C631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27765507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83F8E61-658E-4CB5-9CE8-669531B1160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714878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98663" y="2855913"/>
            <a:ext cx="5903912" cy="3149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 dirty="0" smtClean="0"/>
              <a:t>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GB" dirty="0"/>
          </a:p>
        </p:txBody>
      </p:sp>
      <p:sp>
        <p:nvSpPr>
          <p:cNvPr id="8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DFB05C8-5440-4BCB-9C29-8D625E4C82A1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9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10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9DB6BE-C8C4-4B81-9318-BF46DA2188A9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3163693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17FAB2-3CE5-48B9-9B8F-9D71572DA42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157880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BA53D7-F04B-4B7C-B21F-D7CE4B627C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5E8D6A6-6BAF-4FB0-9436-C20BBD449B9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1B0142-543C-4DE5-8D0D-9CD98D5FF153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D0BC22-D2EE-4B6A-8058-D3F6299B6AB4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4695783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5D2285-71F7-4A4A-AFA7-4AD318164FD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197893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6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925" y="534988"/>
            <a:ext cx="10148888" cy="5411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85233" y="2049462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/>
          </p:nvPr>
        </p:nvSpPr>
        <p:spPr>
          <a:xfrm>
            <a:off x="669701" y="457200"/>
            <a:ext cx="10684099" cy="5711779"/>
          </a:xfrm>
        </p:spPr>
        <p:txBody>
          <a:bodyPr rtlCol="0">
            <a:normAutofit/>
          </a:bodyPr>
          <a:lstStyle/>
          <a:p>
            <a:pPr lvl="0"/>
            <a:endParaRPr lang="en-GB" noProof="0"/>
          </a:p>
        </p:txBody>
      </p:sp>
      <p:sp>
        <p:nvSpPr>
          <p:cNvPr id="7" name="Date Placeholder 4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07C1BF9-2F70-4706-80D2-4A7437399F67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8" name="Footer Placeholder 5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9" name="Slide Number Placehold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DEBCCF-A305-40B0-8BA9-57CD90B0E20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219910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 smtClean="0"/>
              <a:t>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50111E-5455-4E64-A509-46F0EBFF4F5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710541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D7181F-30F2-4BDF-94B6-637C0211B86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883109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 smtClean="0"/>
              <a:t>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E54705-F416-4AF8-ADCC-70FD7005F88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731248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Oval 2">
            <a:extLst>
              <a:ext uri="{FF2B5EF4-FFF2-40B4-BE49-F238E27FC236}">
                <a16:creationId xmlns:a16="http://schemas.microsoft.com/office/drawing/2014/main" id="{53190A20-3C04-DC4E-A880-61B87B2EC187}"/>
              </a:ext>
            </a:extLst>
          </p:cNvPr>
          <p:cNvSpPr/>
          <p:nvPr userDrawn="1"/>
        </p:nvSpPr>
        <p:spPr>
          <a:xfrm>
            <a:off x="11295063" y="6386513"/>
            <a:ext cx="333375" cy="342900"/>
          </a:xfrm>
          <a:prstGeom prst="ellipse">
            <a:avLst/>
          </a:prstGeom>
          <a:solidFill>
            <a:srgbClr val="86BC2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ID"/>
          </a:p>
        </p:txBody>
      </p:sp>
      <p:sp>
        <p:nvSpPr>
          <p:cNvPr id="4" name="TextBox 7"/>
          <p:cNvSpPr txBox="1">
            <a:spLocks noChangeArrowheads="1"/>
          </p:cNvSpPr>
          <p:nvPr userDrawn="1"/>
        </p:nvSpPr>
        <p:spPr bwMode="auto">
          <a:xfrm>
            <a:off x="11295063" y="6473825"/>
            <a:ext cx="333375" cy="153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fld id="{159A0FE5-0D35-41B6-AAB6-F9248058B430}" type="slidenum">
              <a:rPr lang="en-US" altLang="en-US" sz="1000" b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pPr algn="ctr" eaLnBrk="1" hangingPunct="1"/>
              <a:t>‹#›</a:t>
            </a:fld>
            <a:endParaRPr lang="en-US" altLang="en-US" sz="1000" b="1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60215C1-CA65-5A4A-9318-B0F0D84DEA13}"/>
              </a:ext>
            </a:extLst>
          </p:cNvPr>
          <p:cNvCxnSpPr>
            <a:cxnSpLocks/>
          </p:cNvCxnSpPr>
          <p:nvPr userDrawn="1"/>
        </p:nvCxnSpPr>
        <p:spPr>
          <a:xfrm flipH="1">
            <a:off x="11825288" y="6557963"/>
            <a:ext cx="366712" cy="0"/>
          </a:xfrm>
          <a:prstGeom prst="line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9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563" t="30940" r="12563" b="30940"/>
          <a:stretch>
            <a:fillRect/>
          </a:stretch>
        </p:blipFill>
        <p:spPr bwMode="auto">
          <a:xfrm>
            <a:off x="563563" y="6480175"/>
            <a:ext cx="747712" cy="1555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Text Placeholder 4">
            <a:extLst>
              <a:ext uri="{FF2B5EF4-FFF2-40B4-BE49-F238E27FC236}">
                <a16:creationId xmlns:a16="http://schemas.microsoft.com/office/drawing/2014/main" id="{703CCA7B-D4C6-4F0D-8944-CD952C87969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863568" y="6462295"/>
            <a:ext cx="1241788" cy="150812"/>
          </a:xfrm>
        </p:spPr>
        <p:txBody>
          <a:bodyPr anchor="ctr">
            <a:noAutofit/>
          </a:bodyPr>
          <a:lstStyle>
            <a:lvl1pPr marL="0" indent="0">
              <a:buNone/>
              <a:defRPr sz="800"/>
            </a:lvl1pPr>
            <a:lvl2pPr marL="457200" indent="0">
              <a:buNone/>
              <a:defRPr sz="800"/>
            </a:lvl2pPr>
            <a:lvl3pPr marL="914400" indent="0">
              <a:buNone/>
              <a:defRPr sz="800"/>
            </a:lvl3pPr>
            <a:lvl4pPr marL="1371600" indent="0">
              <a:buNone/>
              <a:defRPr sz="800"/>
            </a:lvl4pPr>
            <a:lvl5pPr marL="1828800" indent="0">
              <a:buNone/>
              <a:defRPr sz="800"/>
            </a:lvl5pPr>
          </a:lstStyle>
          <a:p>
            <a:pPr lvl="0"/>
            <a:r>
              <a:rPr lang="en-US" smtClean="0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9373433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6400800"/>
            <a:ext cx="12192000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/>
          <p:cNvSpPr/>
          <p:nvPr/>
        </p:nvSpPr>
        <p:spPr>
          <a:xfrm>
            <a:off x="0" y="6334125"/>
            <a:ext cx="12192000" cy="666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5"/>
          <p:cNvCxnSpPr/>
          <p:nvPr/>
        </p:nvCxnSpPr>
        <p:spPr>
          <a:xfrm>
            <a:off x="1208088" y="4343400"/>
            <a:ext cx="987583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7280" y="758952"/>
            <a:ext cx="10058400" cy="3566160"/>
          </a:xfrm>
        </p:spPr>
        <p:txBody>
          <a:bodyPr/>
          <a:lstStyle>
            <a:lvl1pPr algn="l">
              <a:lnSpc>
                <a:spcPct val="85000"/>
              </a:lnSpc>
              <a:defRPr sz="8000" spc="-50" baseline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00051" y="4455621"/>
            <a:ext cx="10058400" cy="1143000"/>
          </a:xfrm>
        </p:spPr>
        <p:txBody>
          <a:bodyPr lIns="91440" rIns="91440">
            <a:normAutofit/>
          </a:bodyPr>
          <a:lstStyle>
            <a:lvl1pPr marL="0" indent="0" algn="l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 algn="ctr">
              <a:buNone/>
              <a:defRPr sz="24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5DAD892-201E-45E7-A073-A2E85B8FC19B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0F1649A-4311-4AE0-B8CF-CBBC8D4AFB24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286935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660194"/>
            <a:ext cx="10058400" cy="748454"/>
          </a:xfrm>
        </p:spPr>
        <p:txBody>
          <a:bodyPr/>
          <a:lstStyle>
            <a:lvl1pPr>
              <a:defRPr sz="3000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D929727-0EC3-4235-98DF-1701F1987C7B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81BD342-65B5-47DB-9354-B00B5507585F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9009346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cxnSp>
        <p:nvCxnSpPr>
          <p:cNvPr id="6" name="Straight Connector 5"/>
          <p:cNvCxnSpPr/>
          <p:nvPr/>
        </p:nvCxnSpPr>
        <p:spPr>
          <a:xfrm>
            <a:off x="1208088" y="4343400"/>
            <a:ext cx="9875837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1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138" y="174625"/>
            <a:ext cx="23622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758952"/>
            <a:ext cx="10058400" cy="3566160"/>
          </a:xfrm>
        </p:spPr>
        <p:txBody>
          <a:bodyPr anchorCtr="0"/>
          <a:lstStyle>
            <a:lvl1pPr>
              <a:lnSpc>
                <a:spcPct val="85000"/>
              </a:lnSpc>
              <a:defRPr sz="8000" b="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4453128"/>
            <a:ext cx="10058400" cy="1143000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2400" cap="all" spc="200" baseline="0">
                <a:solidFill>
                  <a:schemeClr val="tx2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E567F19-FDC3-45CD-A6E9-D605E3722537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66771C8-7190-4574-9CEB-284C89C1E90D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791275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7280" y="1845734"/>
            <a:ext cx="4937760" cy="402335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17920" y="1845735"/>
            <a:ext cx="4937760" cy="40233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C1AC730-AE92-4DE9-9C50-07A4E3167CA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ECBE8CB-580B-436C-BCAA-C5EF5548111A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080117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2831C28-218C-4FAC-AFBA-D428DE30AAA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C4F6CA1-B59F-41FC-882B-AED4D53A965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DC172AD-095D-4925-8EC7-5A6741C22E3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6C3C33C-36A9-4F93-9FFB-4AEF4170C543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CEC1BC5-D867-448B-8E77-F8A07421732E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060002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1097280" y="286603"/>
            <a:ext cx="10058400" cy="1450757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9728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097280" y="2582335"/>
            <a:ext cx="493776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17920" y="1846052"/>
            <a:ext cx="4937760" cy="736282"/>
          </a:xfrm>
        </p:spPr>
        <p:txBody>
          <a:bodyPr lIns="91440" rIns="91440" anchor="ctr">
            <a:normAutofit/>
          </a:bodyPr>
          <a:lstStyle>
            <a:lvl1pPr marL="0" indent="0">
              <a:buNone/>
              <a:defRPr sz="2000" b="0" cap="all" baseline="0">
                <a:solidFill>
                  <a:schemeClr val="tx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17920" y="2582334"/>
            <a:ext cx="4937760" cy="328676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83FEF6F-DD13-44DC-B5ED-7EB20A40C8E6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900670F-484C-4B14-8A08-78AC6F5FA576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265394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73387E-5E30-4B33-BC6B-780A6173F757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FFA7FD90-7643-45F1-9E8E-F5F15F402C4E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45346019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4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138" y="174625"/>
            <a:ext cx="23622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E948D95-F2C1-463E-9761-432A640EBD72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DFCDE806-D2F4-4F09-96D7-2ABAA79B5307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3125513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0"/>
            <a:ext cx="40513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4040188" y="0"/>
            <a:ext cx="635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138" y="174625"/>
            <a:ext cx="23622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594359"/>
            <a:ext cx="3200400" cy="2286000"/>
          </a:xfrm>
        </p:spPr>
        <p:txBody>
          <a:bodyPr/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00600" y="731520"/>
            <a:ext cx="6492240" cy="52578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2926080"/>
            <a:ext cx="3200400" cy="3379124"/>
          </a:xfrm>
        </p:spPr>
        <p:txBody>
          <a:bodyPr lIns="91440" rIns="91440">
            <a:normAutofit/>
          </a:bodyPr>
          <a:lstStyle>
            <a:lvl1pPr marL="0" indent="0"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>
          <a:xfrm>
            <a:off x="465138" y="6459538"/>
            <a:ext cx="2619375" cy="365125"/>
          </a:xfrm>
        </p:spPr>
        <p:txBody>
          <a:bodyPr/>
          <a:lstStyle>
            <a:lvl1pPr algn="l"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338B66-9FA8-42F5-A769-3AA65AF948A0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4800600" y="6459538"/>
            <a:ext cx="4648200" cy="365125"/>
          </a:xfrm>
        </p:spPr>
        <p:txBody>
          <a:bodyPr/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344068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344068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>
                <a:solidFill>
                  <a:schemeClr val="tx2"/>
                </a:solidFill>
              </a:defRPr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832ABED-BF84-457F-A1E6-7E705641F9D3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344068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344068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58981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0" y="4953000"/>
            <a:ext cx="12188825" cy="1905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6" name="Rectangle 5"/>
          <p:cNvSpPr/>
          <p:nvPr/>
        </p:nvSpPr>
        <p:spPr>
          <a:xfrm>
            <a:off x="0" y="4914900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7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138" y="174625"/>
            <a:ext cx="23622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7280" y="5074920"/>
            <a:ext cx="10113645" cy="822960"/>
          </a:xfrm>
        </p:spPr>
        <p:txBody>
          <a:bodyPr tIns="0" bIns="0">
            <a:noAutofit/>
          </a:bodyPr>
          <a:lstStyle>
            <a:lvl1pPr>
              <a:defRPr sz="3600" b="0">
                <a:solidFill>
                  <a:srgbClr val="FFFFFF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5" y="0"/>
            <a:ext cx="12191985" cy="4915076"/>
          </a:xfrm>
          <a:solidFill>
            <a:schemeClr val="bg2">
              <a:lumMod val="90000"/>
            </a:schemeClr>
          </a:solidFill>
        </p:spPr>
        <p:txBody>
          <a:bodyPr lIns="457200" tIns="457200"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/>
              <a:t>Click icon to add picture</a:t>
            </a:r>
            <a:endParaRPr lang="en-US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097280" y="5907024"/>
            <a:ext cx="10113264" cy="594360"/>
          </a:xfrm>
        </p:spPr>
        <p:txBody>
          <a:bodyPr lIns="91440" tIns="0" rIns="91440" bIns="0">
            <a:normAutofit/>
          </a:bodyPr>
          <a:lstStyle>
            <a:lvl1pPr marL="0" indent="0">
              <a:spcBef>
                <a:spcPts val="0"/>
              </a:spcBef>
              <a:spcAft>
                <a:spcPts val="600"/>
              </a:spcAft>
              <a:buNone/>
              <a:defRPr sz="1500">
                <a:solidFill>
                  <a:srgbClr val="FFFFFF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43AC9B-3FDE-4492-933B-C49B6942DABA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 Department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76B1BA4D-D590-4D4C-990E-F26FCF04797A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67944657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F4023DC-CB93-4615-ACBB-2789B86DAC6B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 Department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5B12E31-BF48-4318-8609-3E3256D92ABB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42161392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5" name="Rectangle 4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pic>
        <p:nvPicPr>
          <p:cNvPr id="6" name="Picture 12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138" y="174625"/>
            <a:ext cx="23622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412302"/>
            <a:ext cx="2628900" cy="575989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412302"/>
            <a:ext cx="7734300" cy="5759898"/>
          </a:xfrm>
        </p:spPr>
        <p:txBody>
          <a:bodyPr vert="eaVert" lIns="45720" tIns="0" rIns="45720" bIns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1F64FC-8847-4FB7-BD39-4E93F10711B9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IT Department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 smtClean="0"/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535DBCD-A1C5-4B11-BB8A-661028E35841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5083255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EAE716E-FA04-40D7-BD2C-8FCA6951FF1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85D4AD0-343B-4139-999E-C1DD94E32DD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744ACC-0503-42F7-A502-5DD5607ED60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5121DB59-3509-4E7E-BE3C-DAA7142397A5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23419AF-77D8-46FB-BF88-2B96813EE71E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93EDEA-E90C-44A1-91DA-DE95FEBC18E0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0931D0-86D8-4340-955B-192BCB50937B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66501693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D14D087-7400-4E17-A6B7-64C49CEA25E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C15025-4FAE-461A-BED6-DD12FC1463C9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4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A5A657-F1FD-4DDC-8D76-E2FC28E751A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21073150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4269AB-F7C0-4FB8-9BD1-876CE782C6DD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3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339713-9229-4726-B03A-BD75BE19103D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98969176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FCB0E-2E12-4E69-9409-753408B0E67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74423A11-F7F3-4841-8D16-5908CC6937D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IN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F5569D62-AA39-4F2B-A5CC-19B8C281318F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A2ED65-A80B-40D9-8436-BFC3A7CCB198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736D06-0239-4D54-AD6A-0FC1A7AD72F9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5179880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3BE2475-2503-45B3-A83E-8CB2B0D34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IN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ABF208D6-27FE-4580-9CBC-8F22C0C4EC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IN" noProof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7F81CEF-7AE1-45A7-AB59-25CECAB9704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5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EEFFA7-0484-4C2D-994F-E35B874BC080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3719390-2FE1-408F-9B5D-006D2578C226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58310687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3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45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IN" altLang="en-US" smtClean="0"/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IN" altLang="en-US" smtClean="0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BE25496F-050A-47E4-9C27-467557D8920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2527AC3-07B7-4332-A9BD-CF6333510850}" type="datetimeFigureOut">
              <a:rPr lang="en-IN"/>
              <a:pPr>
                <a:defRPr/>
              </a:pPr>
              <a:t>06-04-2022</a:t>
            </a:fld>
            <a:endParaRPr lang="en-IN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0097801-A4DB-4D33-8E01-882F6CF839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endParaRPr lang="en-IN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1DA295-56AE-438A-9C09-07B7A64AF33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AECB1C1D-0202-477A-A943-42EF6404F603}" type="slidenum">
              <a:rPr lang="en-IN"/>
              <a:pPr>
                <a:defRPr/>
              </a:pPr>
              <a:t>‹#›</a:t>
            </a:fld>
            <a:endParaRPr lang="en-IN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</p:sldLayoutIdLst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Rectangle 8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6963" y="287338"/>
            <a:ext cx="10058400" cy="1449387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GB"/>
              <a:t>Click to edit Master title style</a:t>
            </a:r>
            <a:endParaRPr lang="en-US" dirty="0"/>
          </a:p>
        </p:txBody>
      </p:sp>
      <p:sp>
        <p:nvSpPr>
          <p:cNvPr id="2053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96963" y="1846263"/>
            <a:ext cx="10058400" cy="40227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ext styles</a:t>
            </a:r>
          </a:p>
          <a:p>
            <a:pPr lvl="1"/>
            <a:r>
              <a:rPr lang="en-GB" altLang="en-US" smtClean="0"/>
              <a:t>Second level</a:t>
            </a:r>
          </a:p>
          <a:p>
            <a:pPr lvl="2"/>
            <a:r>
              <a:rPr lang="en-GB" altLang="en-US" smtClean="0"/>
              <a:t>Third level</a:t>
            </a:r>
          </a:p>
          <a:p>
            <a:pPr lvl="3"/>
            <a:r>
              <a:rPr lang="en-GB" altLang="en-US" smtClean="0"/>
              <a:t>Fourth level</a:t>
            </a:r>
          </a:p>
          <a:p>
            <a:pPr lvl="4"/>
            <a:r>
              <a:rPr lang="en-GB" altLang="en-US" smtClean="0"/>
              <a:t>Fifth level</a:t>
            </a:r>
            <a:endParaRPr lang="en-US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6963" y="6459538"/>
            <a:ext cx="2473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55B8DF26-9EAC-49B1-B036-EBD619A16E8B}" type="datetime1">
              <a:rPr lang="en-US"/>
              <a:pPr>
                <a:defRPr/>
              </a:pPr>
              <a:t>4/6/20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75" y="6459538"/>
            <a:ext cx="48228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 cap="all" baseline="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/>
              <a:t>IT Department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1238" y="6459538"/>
            <a:ext cx="13112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000">
                <a:solidFill>
                  <a:srgbClr val="FFFFFF"/>
                </a:solidFill>
                <a:latin typeface="+mn-lt"/>
              </a:defRPr>
            </a:lvl1pPr>
          </a:lstStyle>
          <a:p>
            <a:pPr>
              <a:defRPr/>
            </a:pPr>
            <a:fld id="{F0596F57-78CD-462B-A6BE-9CFFF505BC9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cxnSp>
        <p:nvCxnSpPr>
          <p:cNvPr id="10" name="Straight Connector 9"/>
          <p:cNvCxnSpPr/>
          <p:nvPr/>
        </p:nvCxnSpPr>
        <p:spPr>
          <a:xfrm>
            <a:off x="1193800" y="1738313"/>
            <a:ext cx="9966325" cy="0"/>
          </a:xfrm>
          <a:prstGeom prst="line">
            <a:avLst/>
          </a:prstGeom>
          <a:ln w="6350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53" r:id="rId1"/>
    <p:sldLayoutId id="2147483740" r:id="rId2"/>
    <p:sldLayoutId id="2147483754" r:id="rId3"/>
    <p:sldLayoutId id="2147483741" r:id="rId4"/>
    <p:sldLayoutId id="2147483742" r:id="rId5"/>
    <p:sldLayoutId id="2147483743" r:id="rId6"/>
    <p:sldLayoutId id="2147483755" r:id="rId7"/>
    <p:sldLayoutId id="2147483756" r:id="rId8"/>
    <p:sldLayoutId id="2147483757" r:id="rId9"/>
    <p:sldLayoutId id="2147483744" r:id="rId10"/>
    <p:sldLayoutId id="2147483758" r:id="rId11"/>
    <p:sldLayoutId id="2147483759" r:id="rId12"/>
  </p:sldLayoutIdLst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 kern="1200" spc="-50">
          <a:solidFill>
            <a:srgbClr val="404040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4800">
          <a:solidFill>
            <a:srgbClr val="404040"/>
          </a:solidFill>
          <a:latin typeface="Calibri Light" pitchFamily="34" charset="0"/>
        </a:defRPr>
      </a:lvl9pPr>
    </p:titleStyle>
    <p:bodyStyle>
      <a:lvl1pPr marL="90488" indent="-90488" algn="l" rtl="0" eaLnBrk="0" fontAlgn="base" hangingPunct="0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rgbClr val="404040"/>
          </a:solidFill>
          <a:latin typeface="+mn-lt"/>
          <a:ea typeface="+mn-ea"/>
          <a:cs typeface="+mn-cs"/>
        </a:defRPr>
      </a:lvl1pPr>
      <a:lvl2pPr marL="38258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kern="1200">
          <a:solidFill>
            <a:srgbClr val="404040"/>
          </a:solidFill>
          <a:latin typeface="+mn-lt"/>
          <a:ea typeface="+mn-ea"/>
          <a:cs typeface="+mn-cs"/>
        </a:defRPr>
      </a:lvl2pPr>
      <a:lvl3pPr marL="56673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3pPr>
      <a:lvl4pPr marL="749300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4pPr>
      <a:lvl5pPr marL="931863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+mn-lt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Title Placeholder 1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3075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079F8AE6-728A-4655-9C84-69F24AACE0E8}" type="datetime1">
              <a:rPr lang="en-GB"/>
              <a:pPr>
                <a:defRPr/>
              </a:pPr>
              <a:t>06/04/2022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/>
              <a:t>FMOF/FAAC REtreat 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>
              <a:defRPr/>
            </a:pPr>
            <a:fld id="{C7AFF435-70A5-4838-BCE9-0267AEA0174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60" r:id="rId3"/>
    <p:sldLayoutId id="2147483747" r:id="rId4"/>
    <p:sldLayoutId id="2147483761" r:id="rId5"/>
    <p:sldLayoutId id="2147483748" r:id="rId6"/>
    <p:sldLayoutId id="2147483749" r:id="rId7"/>
    <p:sldLayoutId id="2147483762" r:id="rId8"/>
    <p:sldLayoutId id="2147483750" r:id="rId9"/>
    <p:sldLayoutId id="2147483751" r:id="rId10"/>
    <p:sldLayoutId id="2147483752" r:id="rId11"/>
    <p:sldLayoutId id="2147483763" r:id="rId12"/>
  </p:sldLayoutIdLst>
  <p:hf hd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3175" y="6400800"/>
            <a:ext cx="12188825" cy="4572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NG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>
          <a:xfrm>
            <a:off x="0" y="6334125"/>
            <a:ext cx="12188825" cy="635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96963" y="631825"/>
            <a:ext cx="10058400" cy="7493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29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1096963" y="1625600"/>
            <a:ext cx="10058400" cy="42433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45720" rIns="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96963" y="6459538"/>
            <a:ext cx="24733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90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56CDD2D-2049-4F18-8789-3587339D5C84}" type="datetime1"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/6/2022</a:t>
            </a:fld>
            <a:endParaRPr kumimoji="0" lang="en-US" sz="9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686175" y="6459538"/>
            <a:ext cx="48228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900" cap="all" baseline="0">
                <a:solidFill>
                  <a:srgbClr val="FFFFFF"/>
                </a:solidFill>
                <a:latin typeface="+mn-lt"/>
              </a:defRPr>
            </a:lvl1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900" b="0" i="0" u="none" strike="noStrike" kern="1200" cap="all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Securities and exchange commission nigeria</a:t>
            </a:r>
            <a:endParaRPr kumimoji="0" lang="en-US" sz="900" b="0" i="0" u="none" strike="noStrike" kern="1200" cap="all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901238" y="6459538"/>
            <a:ext cx="13112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 smtClean="0">
                <a:solidFill>
                  <a:srgbClr val="FFFFFF"/>
                </a:solidFill>
              </a:defRPr>
            </a:lvl1pPr>
          </a:lstStyle>
          <a:p>
            <a:pPr marL="0" marR="0" lvl="0" indent="0" algn="r" defTabSz="4572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8D17B98F-BDBF-4106-A2ED-B8E1FCBE2D2D}" type="slidenum">
              <a:rPr kumimoji="0" lang="en-US" altLang="en-US" sz="1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pPr marL="0" marR="0" lvl="0" indent="0" algn="r" defTabSz="4572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en-US" sz="10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</p:txBody>
      </p:sp>
      <p:pic>
        <p:nvPicPr>
          <p:cNvPr id="1033" name="Picture 10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74138" y="174625"/>
            <a:ext cx="2362200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69172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5" r:id="rId1"/>
    <p:sldLayoutId id="2147483766" r:id="rId2"/>
    <p:sldLayoutId id="2147483767" r:id="rId3"/>
    <p:sldLayoutId id="2147483768" r:id="rId4"/>
    <p:sldLayoutId id="2147483769" r:id="rId5"/>
    <p:sldLayoutId id="2147483770" r:id="rId6"/>
    <p:sldLayoutId id="2147483771" r:id="rId7"/>
    <p:sldLayoutId id="2147483772" r:id="rId8"/>
    <p:sldLayoutId id="2147483773" r:id="rId9"/>
    <p:sldLayoutId id="2147483774" r:id="rId10"/>
    <p:sldLayoutId id="2147483775" r:id="rId11"/>
  </p:sldLayoutIdLst>
  <p:hf sldNum="0" hdr="0" dt="0"/>
  <p:txStyles>
    <p:titleStyle>
      <a:lvl1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 kern="1200" spc="-50">
          <a:solidFill>
            <a:srgbClr val="404040"/>
          </a:solidFill>
          <a:latin typeface="Tahoma" panose="020B0604030504040204" pitchFamily="34" charset="0"/>
          <a:ea typeface="+mj-ea"/>
          <a:cs typeface="+mj-cs"/>
        </a:defRPr>
      </a:lvl1pPr>
      <a:lvl2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2pPr>
      <a:lvl3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3pPr>
      <a:lvl4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4pPr>
      <a:lvl5pPr algn="l" rtl="0" eaLnBrk="0" fontAlgn="base" hangingPunct="0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5pPr>
      <a:lvl6pPr marL="4572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6pPr>
      <a:lvl7pPr marL="9144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7pPr>
      <a:lvl8pPr marL="13716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8pPr>
      <a:lvl9pPr marL="1828800" algn="l" rtl="0" fontAlgn="base">
        <a:lnSpc>
          <a:spcPct val="85000"/>
        </a:lnSpc>
        <a:spcBef>
          <a:spcPct val="0"/>
        </a:spcBef>
        <a:spcAft>
          <a:spcPct val="0"/>
        </a:spcAft>
        <a:defRPr sz="3000">
          <a:solidFill>
            <a:srgbClr val="404040"/>
          </a:solidFill>
          <a:latin typeface="Tahoma" panose="020B0604030504040204" pitchFamily="34" charset="0"/>
        </a:defRPr>
      </a:lvl9pPr>
    </p:titleStyle>
    <p:bodyStyle>
      <a:lvl1pPr marL="90488" indent="-90488" algn="l" rtl="0" eaLnBrk="0" fontAlgn="base" hangingPunct="0">
        <a:lnSpc>
          <a:spcPct val="90000"/>
        </a:lnSpc>
        <a:spcBef>
          <a:spcPts val="1200"/>
        </a:spcBef>
        <a:spcAft>
          <a:spcPts val="200"/>
        </a:spcAft>
        <a:buClr>
          <a:schemeClr val="accent1"/>
        </a:buClr>
        <a:buSzPct val="100000"/>
        <a:buFont typeface="Calibri" panose="020F0502020204030204" pitchFamily="34" charset="0"/>
        <a:buChar char=" "/>
        <a:defRPr sz="2000" kern="1200">
          <a:solidFill>
            <a:srgbClr val="404040"/>
          </a:solidFill>
          <a:latin typeface="Tahoma" panose="020B0604030504040204" pitchFamily="34" charset="0"/>
          <a:ea typeface="+mn-ea"/>
          <a:cs typeface="+mn-cs"/>
        </a:defRPr>
      </a:lvl1pPr>
      <a:lvl2pPr marL="38258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kern="1200">
          <a:solidFill>
            <a:srgbClr val="404040"/>
          </a:solidFill>
          <a:latin typeface="Tahoma" panose="020B0604030504040204" pitchFamily="34" charset="0"/>
          <a:ea typeface="+mn-ea"/>
          <a:cs typeface="+mn-cs"/>
        </a:defRPr>
      </a:lvl2pPr>
      <a:lvl3pPr marL="566738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Tahoma" panose="020B0604030504040204" pitchFamily="34" charset="0"/>
          <a:ea typeface="+mn-ea"/>
          <a:cs typeface="+mn-cs"/>
        </a:defRPr>
      </a:lvl3pPr>
      <a:lvl4pPr marL="749300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Tahoma" panose="020B0604030504040204" pitchFamily="34" charset="0"/>
          <a:ea typeface="+mn-ea"/>
          <a:cs typeface="+mn-cs"/>
        </a:defRPr>
      </a:lvl4pPr>
      <a:lvl5pPr marL="931863" indent="-182563" algn="l" rtl="0" eaLnBrk="0" fontAlgn="base" hangingPunct="0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anose="020F0502020204030204" pitchFamily="34" charset="0"/>
        <a:buChar char="◦"/>
        <a:defRPr sz="1400" kern="1200">
          <a:solidFill>
            <a:srgbClr val="404040"/>
          </a:solidFill>
          <a:latin typeface="Tahoma" panose="020B0604030504040204" pitchFamily="34" charset="0"/>
          <a:ea typeface="+mn-ea"/>
          <a:cs typeface="+mn-cs"/>
        </a:defRPr>
      </a:lvl5pPr>
      <a:lvl6pPr marL="11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13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15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1700000" indent="-228600" algn="l" defTabSz="914400" rtl="0" eaLnBrk="1" latinLnBrk="0" hangingPunct="1">
        <a:lnSpc>
          <a:spcPct val="90000"/>
        </a:lnSpc>
        <a:spcBef>
          <a:spcPts val="200"/>
        </a:spcBef>
        <a:spcAft>
          <a:spcPts val="400"/>
        </a:spcAft>
        <a:buClr>
          <a:schemeClr val="accent1"/>
        </a:buClr>
        <a:buFont typeface="Calibri" pitchFamily="34" charset="0"/>
        <a:buChar char="◦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10.jpe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image" Target="../media/image11.png"/><Relationship Id="rId7" Type="http://schemas.openxmlformats.org/officeDocument/2006/relationships/image" Target="../media/image15.jpeg"/><Relationship Id="rId12" Type="http://schemas.openxmlformats.org/officeDocument/2006/relationships/image" Target="../media/image17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11" Type="http://schemas.openxmlformats.org/officeDocument/2006/relationships/chart" Target="../charts/chart3.xml"/><Relationship Id="rId5" Type="http://schemas.openxmlformats.org/officeDocument/2006/relationships/image" Target="../media/image13.gif"/><Relationship Id="rId10" Type="http://schemas.openxmlformats.org/officeDocument/2006/relationships/chart" Target="../charts/chart2.xml"/><Relationship Id="rId4" Type="http://schemas.openxmlformats.org/officeDocument/2006/relationships/image" Target="../media/image12.png"/><Relationship Id="rId9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chart" Target="../charts/chart4.xml"/><Relationship Id="rId3" Type="http://schemas.openxmlformats.org/officeDocument/2006/relationships/image" Target="../media/image12.png"/><Relationship Id="rId7" Type="http://schemas.openxmlformats.org/officeDocument/2006/relationships/image" Target="../media/image2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10" Type="http://schemas.openxmlformats.org/officeDocument/2006/relationships/image" Target="../media/image21.png"/><Relationship Id="rId4" Type="http://schemas.openxmlformats.org/officeDocument/2006/relationships/image" Target="../media/image13.gif"/><Relationship Id="rId9" Type="http://schemas.openxmlformats.org/officeDocument/2006/relationships/chart" Target="../charts/char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.xml"/><Relationship Id="rId7" Type="http://schemas.openxmlformats.org/officeDocument/2006/relationships/image" Target="../media/image22.emf"/><Relationship Id="rId12" Type="http://schemas.openxmlformats.org/officeDocument/2006/relationships/image" Target="../media/image26.png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24.png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2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B944B97-2A38-461D-846A-623513EDA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4588" y="6484938"/>
            <a:ext cx="4822825" cy="365125"/>
          </a:xfrm>
        </p:spPr>
        <p:txBody>
          <a:bodyPr/>
          <a:lstStyle/>
          <a:p>
            <a:pPr defTabSz="457200">
              <a:defRPr/>
            </a:pPr>
            <a:r>
              <a:rPr lang="en-GB" dirty="0"/>
              <a:t>SECURITIES AND EXCHANGE COMMISSION, NIGERIA</a:t>
            </a:r>
            <a:endParaRPr lang="en-US" dirty="0"/>
          </a:p>
        </p:txBody>
      </p:sp>
      <p:sp>
        <p:nvSpPr>
          <p:cNvPr id="16387" name="TextBox 3"/>
          <p:cNvSpPr txBox="1">
            <a:spLocks noChangeArrowheads="1"/>
          </p:cNvSpPr>
          <p:nvPr/>
        </p:nvSpPr>
        <p:spPr bwMode="auto">
          <a:xfrm>
            <a:off x="1770063" y="4119563"/>
            <a:ext cx="8018462" cy="11079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en-US" b="1" dirty="0" smtClean="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Hassan H. Suleiman, Ph.D.</a:t>
            </a:r>
            <a:endParaRPr lang="en-US" altLang="en-US" b="1" dirty="0">
              <a:solidFill>
                <a:srgbClr val="00000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 algn="ctr" eaLnBrk="1" hangingPunct="1"/>
            <a:r>
              <a:rPr lang="en-US" altLang="en-US" sz="1200" dirty="0" smtClean="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Economic Research &amp; Policy Management Division,</a:t>
            </a:r>
          </a:p>
          <a:p>
            <a:pPr algn="ctr" eaLnBrk="1" hangingPunct="1"/>
            <a:r>
              <a:rPr lang="en-US" altLang="en-US" sz="1200" dirty="0" smtClean="0">
                <a:solidFill>
                  <a:srgbClr val="000000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Office of the Chief Economist, Securities and Exchange Commission, Nigeria</a:t>
            </a:r>
            <a:endParaRPr lang="en-US" altLang="en-US" sz="1200" dirty="0">
              <a:solidFill>
                <a:srgbClr val="000000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  <a:p>
            <a:pPr eaLnBrk="1" hangingPunct="1"/>
            <a:endParaRPr lang="en-US" altLang="en-US" sz="2400" dirty="0">
              <a:solidFill>
                <a:srgbClr val="000000"/>
              </a:solidFill>
              <a:ea typeface="Century Gothic" panose="020B0502020202020204" pitchFamily="34" charset="0"/>
              <a:cs typeface="Century Gothic" panose="020B0502020202020204" pitchFamily="34" charset="0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DB32699-247A-4FCB-94F6-3D69261FBA67}"/>
              </a:ext>
            </a:extLst>
          </p:cNvPr>
          <p:cNvSpPr/>
          <p:nvPr/>
        </p:nvSpPr>
        <p:spPr>
          <a:xfrm>
            <a:off x="0" y="-33338"/>
            <a:ext cx="12192000" cy="2000251"/>
          </a:xfrm>
          <a:prstGeom prst="rect">
            <a:avLst/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prstClr val="white"/>
              </a:solidFill>
            </a:endParaRPr>
          </a:p>
        </p:txBody>
      </p:sp>
      <p:pic>
        <p:nvPicPr>
          <p:cNvPr id="16389" name="Pictur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48038" y="179388"/>
            <a:ext cx="4864100" cy="1136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0" name="Title 1"/>
          <p:cNvSpPr txBox="1">
            <a:spLocks/>
          </p:cNvSpPr>
          <p:nvPr/>
        </p:nvSpPr>
        <p:spPr bwMode="auto">
          <a:xfrm>
            <a:off x="3465513" y="5594350"/>
            <a:ext cx="4627562" cy="890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2225" tIns="46112" rIns="92225" bIns="46112" anchor="ctr"/>
          <a:lstStyle>
            <a:lvl1pPr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en-US" sz="1400" smtClean="0">
                <a:solidFill>
                  <a:srgbClr val="17375E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April 6</a:t>
            </a:r>
            <a:r>
              <a:rPr lang="en-US" altLang="en-US" sz="1400" baseline="30000" smtClean="0">
                <a:solidFill>
                  <a:srgbClr val="17375E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TH</a:t>
            </a:r>
            <a:r>
              <a:rPr lang="en-US" altLang="en-US" sz="1400" smtClean="0">
                <a:solidFill>
                  <a:srgbClr val="17375E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 , 2022</a:t>
            </a:r>
            <a:endParaRPr lang="en-US" altLang="en-US" sz="1200">
              <a:solidFill>
                <a:srgbClr val="17375E"/>
              </a:solidFill>
              <a:latin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A8D7DDCD-0207-4ACA-BB3D-9FE099FB1382}"/>
              </a:ext>
            </a:extLst>
          </p:cNvPr>
          <p:cNvSpPr txBox="1">
            <a:spLocks/>
          </p:cNvSpPr>
          <p:nvPr/>
        </p:nvSpPr>
        <p:spPr>
          <a:xfrm>
            <a:off x="249238" y="3436938"/>
            <a:ext cx="11296650" cy="682625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 defTabSz="665001"/>
            <a:r>
              <a:rPr lang="en-US" sz="3200" b="1">
                <a:latin typeface="Century Gothic" panose="020B0502020202020204" pitchFamily="34" charset="0"/>
                <a:cs typeface="Century Gothic"/>
              </a:rPr>
              <a:t>Review of the Nigerian Economy and the Capital Market</a:t>
            </a:r>
            <a:endParaRPr lang="en-US" altLang="en-US" sz="3200" dirty="0">
              <a:solidFill>
                <a:srgbClr val="0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9" name="Straight Connector 8"/>
          <p:cNvCxnSpPr/>
          <p:nvPr/>
        </p:nvCxnSpPr>
        <p:spPr>
          <a:xfrm>
            <a:off x="614363" y="3989388"/>
            <a:ext cx="10567987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456363"/>
            <a:ext cx="12192000" cy="207962"/>
          </a:xfrm>
          <a:prstGeom prst="rect">
            <a:avLst/>
          </a:prstGeom>
          <a:solidFill>
            <a:srgbClr val="4197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36867" name="AutoShape 4" descr="blob:https://web.whatsapp.com/ab356c82-1460-49d7-8c6b-29b17a06b41e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FA3416-26F0-41EE-A3CD-9EC31267776C}"/>
              </a:ext>
            </a:extLst>
          </p:cNvPr>
          <p:cNvGrpSpPr/>
          <p:nvPr/>
        </p:nvGrpSpPr>
        <p:grpSpPr>
          <a:xfrm>
            <a:off x="170258" y="-66770"/>
            <a:ext cx="12021742" cy="759016"/>
            <a:chOff x="170258" y="-54185"/>
            <a:chExt cx="12021742" cy="759016"/>
          </a:xfrm>
          <a:solidFill>
            <a:srgbClr val="4197E6"/>
          </a:solidFill>
        </p:grpSpPr>
        <p:sp>
          <p:nvSpPr>
            <p:cNvPr id="8" name="Freeform 18">
              <a:extLst>
                <a:ext uri="{FF2B5EF4-FFF2-40B4-BE49-F238E27FC236}">
                  <a16:creationId xmlns:a16="http://schemas.microsoft.com/office/drawing/2014/main" id="{438A2AE4-EC51-48B4-91AF-F50BD2F61370}"/>
                </a:ext>
              </a:extLst>
            </p:cNvPr>
            <p:cNvSpPr/>
            <p:nvPr/>
          </p:nvSpPr>
          <p:spPr>
            <a:xfrm>
              <a:off x="348934" y="-1331"/>
              <a:ext cx="11843066" cy="536421"/>
            </a:xfrm>
            <a:custGeom>
              <a:avLst/>
              <a:gdLst>
                <a:gd name="connsiteX0" fmla="*/ 201392 w 11843066"/>
                <a:gd name="connsiteY0" fmla="*/ 0 h 536421"/>
                <a:gd name="connsiteX1" fmla="*/ 205399 w 11843066"/>
                <a:gd name="connsiteY1" fmla="*/ 3024 h 536421"/>
                <a:gd name="connsiteX2" fmla="*/ 206155 w 11843066"/>
                <a:gd name="connsiteY2" fmla="*/ 0 h 536421"/>
                <a:gd name="connsiteX3" fmla="*/ 11843066 w 11843066"/>
                <a:gd name="connsiteY3" fmla="*/ 0 h 536421"/>
                <a:gd name="connsiteX4" fmla="*/ 11843066 w 11843066"/>
                <a:gd name="connsiteY4" fmla="*/ 116114 h 536421"/>
                <a:gd name="connsiteX5" fmla="*/ 278246 w 11843066"/>
                <a:gd name="connsiteY5" fmla="*/ 116114 h 536421"/>
                <a:gd name="connsiteX6" fmla="*/ 99837 w 11843066"/>
                <a:gd name="connsiteY6" fmla="*/ 536421 h 536421"/>
                <a:gd name="connsiteX7" fmla="*/ 0 w 11843066"/>
                <a:gd name="connsiteY7" fmla="*/ 474451 h 53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3066" h="536421">
                  <a:moveTo>
                    <a:pt x="201392" y="0"/>
                  </a:moveTo>
                  <a:lnTo>
                    <a:pt x="205399" y="3024"/>
                  </a:lnTo>
                  <a:lnTo>
                    <a:pt x="206155" y="0"/>
                  </a:lnTo>
                  <a:lnTo>
                    <a:pt x="11843066" y="0"/>
                  </a:lnTo>
                  <a:lnTo>
                    <a:pt x="11843066" y="116114"/>
                  </a:lnTo>
                  <a:lnTo>
                    <a:pt x="278246" y="116114"/>
                  </a:lnTo>
                  <a:lnTo>
                    <a:pt x="99837" y="536421"/>
                  </a:lnTo>
                  <a:lnTo>
                    <a:pt x="0" y="47445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675E6922-883A-4531-A7B3-48549D4EB8A9}"/>
                </a:ext>
              </a:extLst>
            </p:cNvPr>
            <p:cNvSpPr/>
            <p:nvPr/>
          </p:nvSpPr>
          <p:spPr>
            <a:xfrm rot="6780000">
              <a:off x="-62883" y="267266"/>
              <a:ext cx="759016" cy="116114"/>
            </a:xfrm>
            <a:custGeom>
              <a:avLst/>
              <a:gdLst>
                <a:gd name="connsiteX0" fmla="*/ 49287 w 759016"/>
                <a:gd name="connsiteY0" fmla="*/ 116114 h 116114"/>
                <a:gd name="connsiteX1" fmla="*/ 0 w 759016"/>
                <a:gd name="connsiteY1" fmla="*/ 0 h 116114"/>
                <a:gd name="connsiteX2" fmla="*/ 753389 w 759016"/>
                <a:gd name="connsiteY2" fmla="*/ 0 h 116114"/>
                <a:gd name="connsiteX3" fmla="*/ 759016 w 759016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16" h="116114">
                  <a:moveTo>
                    <a:pt x="49287" y="116114"/>
                  </a:moveTo>
                  <a:lnTo>
                    <a:pt x="0" y="0"/>
                  </a:lnTo>
                  <a:lnTo>
                    <a:pt x="753389" y="0"/>
                  </a:lnTo>
                  <a:lnTo>
                    <a:pt x="759016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B9A5DFCF-02E2-4FA4-AF10-A6957CD1308B}"/>
                </a:ext>
              </a:extLst>
            </p:cNvPr>
            <p:cNvSpPr/>
            <p:nvPr/>
          </p:nvSpPr>
          <p:spPr>
            <a:xfrm rot="6780000">
              <a:off x="20614" y="109116"/>
              <a:ext cx="415402" cy="116114"/>
            </a:xfrm>
            <a:custGeom>
              <a:avLst/>
              <a:gdLst>
                <a:gd name="connsiteX0" fmla="*/ 49287 w 415402"/>
                <a:gd name="connsiteY0" fmla="*/ 116114 h 116114"/>
                <a:gd name="connsiteX1" fmla="*/ 0 w 415402"/>
                <a:gd name="connsiteY1" fmla="*/ 0 h 116114"/>
                <a:gd name="connsiteX2" fmla="*/ 415402 w 415402"/>
                <a:gd name="connsiteY2" fmla="*/ 0 h 116114"/>
                <a:gd name="connsiteX3" fmla="*/ 397368 w 415402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402" h="116114">
                  <a:moveTo>
                    <a:pt x="49287" y="116114"/>
                  </a:moveTo>
                  <a:lnTo>
                    <a:pt x="0" y="0"/>
                  </a:lnTo>
                  <a:lnTo>
                    <a:pt x="415402" y="0"/>
                  </a:lnTo>
                  <a:lnTo>
                    <a:pt x="397368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0" y="6545263"/>
            <a:ext cx="12192000" cy="3127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36870" name="Picture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04" b="-4883"/>
          <a:stretch>
            <a:fillRect/>
          </a:stretch>
        </p:blipFill>
        <p:spPr bwMode="auto">
          <a:xfrm>
            <a:off x="11147425" y="195263"/>
            <a:ext cx="69215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Arc 19">
            <a:extLst>
              <a:ext uri="{FF2B5EF4-FFF2-40B4-BE49-F238E27FC236}">
                <a16:creationId xmlns:a16="http://schemas.microsoft.com/office/drawing/2014/main" id="{C5A3826C-1458-4DF8-96A2-05D6E1FFE1CB}"/>
              </a:ext>
            </a:extLst>
          </p:cNvPr>
          <p:cNvSpPr/>
          <p:nvPr/>
        </p:nvSpPr>
        <p:spPr>
          <a:xfrm flipH="1">
            <a:off x="538163" y="3924300"/>
            <a:ext cx="1914525" cy="1914525"/>
          </a:xfrm>
          <a:prstGeom prst="arc">
            <a:avLst>
              <a:gd name="adj1" fmla="val 16200000"/>
              <a:gd name="adj2" fmla="val 520266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5" name="Arc 24">
            <a:extLst>
              <a:ext uri="{FF2B5EF4-FFF2-40B4-BE49-F238E27FC236}">
                <a16:creationId xmlns:a16="http://schemas.microsoft.com/office/drawing/2014/main" id="{7ED0A219-CDB1-4FA7-9274-636445B50838}"/>
              </a:ext>
            </a:extLst>
          </p:cNvPr>
          <p:cNvSpPr/>
          <p:nvPr/>
        </p:nvSpPr>
        <p:spPr>
          <a:xfrm>
            <a:off x="9648825" y="2038350"/>
            <a:ext cx="1914525" cy="1914525"/>
          </a:xfrm>
          <a:prstGeom prst="arc">
            <a:avLst>
              <a:gd name="adj1" fmla="val 16200000"/>
              <a:gd name="adj2" fmla="val 4591410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Oval 2068">
            <a:extLst>
              <a:ext uri="{FF2B5EF4-FFF2-40B4-BE49-F238E27FC236}">
                <a16:creationId xmlns:a16="http://schemas.microsoft.com/office/drawing/2014/main" id="{A5C51EC4-EB33-432A-8BA3-48C49EFE2A33}"/>
              </a:ext>
            </a:extLst>
          </p:cNvPr>
          <p:cNvSpPr/>
          <p:nvPr/>
        </p:nvSpPr>
        <p:spPr bwMode="auto">
          <a:xfrm flipV="1">
            <a:off x="1782763" y="1708150"/>
            <a:ext cx="681037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id-ID" kern="0">
              <a:latin typeface="Segoe UI Light"/>
            </a:endParaRPr>
          </a:p>
        </p:txBody>
      </p:sp>
      <p:sp>
        <p:nvSpPr>
          <p:cNvPr id="44" name="Oval 43">
            <a:extLst>
              <a:ext uri="{FF2B5EF4-FFF2-40B4-BE49-F238E27FC236}">
                <a16:creationId xmlns:a16="http://schemas.microsoft.com/office/drawing/2014/main" id="{573D6F05-094E-4E3A-ABE5-C15EF13E2026}"/>
              </a:ext>
            </a:extLst>
          </p:cNvPr>
          <p:cNvSpPr/>
          <p:nvPr/>
        </p:nvSpPr>
        <p:spPr bwMode="auto">
          <a:xfrm flipV="1">
            <a:off x="6697663" y="1708150"/>
            <a:ext cx="681037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id-ID" kern="0">
              <a:latin typeface="Segoe UI Light"/>
            </a:endParaRPr>
          </a:p>
        </p:txBody>
      </p:sp>
      <p:sp>
        <p:nvSpPr>
          <p:cNvPr id="78" name="Footer Placeholder 1">
            <a:extLst>
              <a:ext uri="{FF2B5EF4-FFF2-40B4-BE49-F238E27FC236}">
                <a16:creationId xmlns:a16="http://schemas.microsoft.com/office/drawing/2014/main" id="{4B944B97-2A38-461D-846A-623513EDA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4588" y="6484938"/>
            <a:ext cx="4822825" cy="365125"/>
          </a:xfrm>
        </p:spPr>
        <p:txBody>
          <a:bodyPr/>
          <a:lstStyle/>
          <a:p>
            <a:pPr defTabSz="457200">
              <a:defRPr/>
            </a:pPr>
            <a:r>
              <a:rPr lang="en-GB" sz="900" cap="all" dirty="0">
                <a:solidFill>
                  <a:srgbClr val="FFFFFF"/>
                </a:solidFill>
              </a:rPr>
              <a:t>SECURITIES AND EXCHANGE COMMISSION, NIGERIA</a:t>
            </a:r>
            <a:endParaRPr lang="en-US" sz="900" cap="all" dirty="0">
              <a:solidFill>
                <a:srgbClr val="FFFFFF"/>
              </a:solidFill>
            </a:endParaRPr>
          </a:p>
        </p:txBody>
      </p:sp>
      <p:sp>
        <p:nvSpPr>
          <p:cNvPr id="36876" name="Rectangle 22"/>
          <p:cNvSpPr>
            <a:spLocks noChangeArrowheads="1"/>
          </p:cNvSpPr>
          <p:nvPr/>
        </p:nvSpPr>
        <p:spPr bwMode="auto">
          <a:xfrm>
            <a:off x="8918575" y="1176338"/>
            <a:ext cx="2887663" cy="368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b="1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Headwinds &amp; Tailwinds</a:t>
            </a:r>
          </a:p>
        </p:txBody>
      </p:sp>
      <p:sp>
        <p:nvSpPr>
          <p:cNvPr id="22" name="Freeform 21">
            <a:extLst>
              <a:ext uri="{FF2B5EF4-FFF2-40B4-BE49-F238E27FC236}">
                <a16:creationId xmlns:a16="http://schemas.microsoft.com/office/drawing/2014/main" id="{F7B95B97-4D6E-DC4F-A072-89BAE3F6FAEF}"/>
              </a:ext>
            </a:extLst>
          </p:cNvPr>
          <p:cNvSpPr/>
          <p:nvPr/>
        </p:nvSpPr>
        <p:spPr>
          <a:xfrm>
            <a:off x="606425" y="98425"/>
            <a:ext cx="5562600" cy="5588000"/>
          </a:xfrm>
          <a:custGeom>
            <a:avLst/>
            <a:gdLst>
              <a:gd name="connsiteX0" fmla="*/ 0 w 5562600"/>
              <a:gd name="connsiteY0" fmla="*/ 0 h 5587999"/>
              <a:gd name="connsiteX1" fmla="*/ 5562600 w 5562600"/>
              <a:gd name="connsiteY1" fmla="*/ 0 h 5587999"/>
              <a:gd name="connsiteX2" fmla="*/ 5562600 w 5562600"/>
              <a:gd name="connsiteY2" fmla="*/ 5118071 h 5587999"/>
              <a:gd name="connsiteX3" fmla="*/ 5092672 w 5562600"/>
              <a:gd name="connsiteY3" fmla="*/ 5587999 h 5587999"/>
              <a:gd name="connsiteX4" fmla="*/ 469928 w 5562600"/>
              <a:gd name="connsiteY4" fmla="*/ 5587999 h 5587999"/>
              <a:gd name="connsiteX5" fmla="*/ 0 w 5562600"/>
              <a:gd name="connsiteY5" fmla="*/ 5118071 h 558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562600" h="5587999">
                <a:moveTo>
                  <a:pt x="0" y="0"/>
                </a:moveTo>
                <a:lnTo>
                  <a:pt x="5562600" y="0"/>
                </a:lnTo>
                <a:lnTo>
                  <a:pt x="5562600" y="5118071"/>
                </a:lnTo>
                <a:cubicBezTo>
                  <a:pt x="5562600" y="5377605"/>
                  <a:pt x="5352206" y="5587999"/>
                  <a:pt x="5092672" y="5587999"/>
                </a:cubicBezTo>
                <a:lnTo>
                  <a:pt x="469928" y="5587999"/>
                </a:lnTo>
                <a:cubicBezTo>
                  <a:pt x="210394" y="5587999"/>
                  <a:pt x="0" y="5377605"/>
                  <a:pt x="0" y="5118071"/>
                </a:cubicBezTo>
                <a:close/>
              </a:path>
            </a:pathLst>
          </a:custGeom>
          <a:solidFill>
            <a:srgbClr val="116FC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7B5A1987-BFF6-C140-86D0-0B8AC2E80103}"/>
              </a:ext>
            </a:extLst>
          </p:cNvPr>
          <p:cNvCxnSpPr>
            <a:cxnSpLocks/>
          </p:cNvCxnSpPr>
          <p:nvPr/>
        </p:nvCxnSpPr>
        <p:spPr>
          <a:xfrm flipH="1">
            <a:off x="1895475" y="3952875"/>
            <a:ext cx="77263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879" name="TextBox 5"/>
          <p:cNvSpPr txBox="1">
            <a:spLocks noChangeArrowheads="1"/>
          </p:cNvSpPr>
          <p:nvPr/>
        </p:nvSpPr>
        <p:spPr bwMode="auto">
          <a:xfrm>
            <a:off x="1831975" y="1524000"/>
            <a:ext cx="2965450" cy="2032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6600" b="1">
                <a:solidFill>
                  <a:schemeClr val="bg1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Thank You</a:t>
            </a:r>
          </a:p>
        </p:txBody>
      </p:sp>
      <p:cxnSp>
        <p:nvCxnSpPr>
          <p:cNvPr id="28" name="Straight Connector 27"/>
          <p:cNvCxnSpPr/>
          <p:nvPr/>
        </p:nvCxnSpPr>
        <p:spPr>
          <a:xfrm>
            <a:off x="6169025" y="3954463"/>
            <a:ext cx="3525838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4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45800" y="515938"/>
            <a:ext cx="400050" cy="347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Title 3"/>
          <p:cNvSpPr txBox="1">
            <a:spLocks/>
          </p:cNvSpPr>
          <p:nvPr/>
        </p:nvSpPr>
        <p:spPr>
          <a:xfrm>
            <a:off x="334963" y="511175"/>
            <a:ext cx="11522075" cy="552450"/>
          </a:xfrm>
          <a:prstGeom prst="rect">
            <a:avLst/>
          </a:prstGeom>
        </p:spPr>
        <p:txBody>
          <a:bodyPr>
            <a:normAutofit fontScale="85000" lnSpcReduction="20000"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1" i="0" u="none" strike="noStrike" kern="1200" cap="none" spc="0" normalizeH="0" baseline="0" noProof="0" smtClean="0">
                <a:ln w="3175" cmpd="sng">
                  <a:noFill/>
                </a:ln>
                <a:solidFill>
                  <a:prstClr val="black">
                    <a:lumMod val="85000"/>
                    <a:lumOff val="15000"/>
                  </a:prstClr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utline</a:t>
            </a:r>
            <a:endParaRPr kumimoji="0" lang="en-US" sz="4400" b="1" i="0" u="none" strike="noStrike" kern="1200" cap="none" spc="0" normalizeH="0" baseline="0" noProof="0" dirty="0">
              <a:ln w="3175" cmpd="sng">
                <a:noFill/>
              </a:ln>
              <a:solidFill>
                <a:prstClr val="black">
                  <a:lumMod val="85000"/>
                  <a:lumOff val="15000"/>
                </a:prstClr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3" name="Oval 12"/>
          <p:cNvSpPr/>
          <p:nvPr/>
        </p:nvSpPr>
        <p:spPr>
          <a:xfrm>
            <a:off x="1466850" y="1906588"/>
            <a:ext cx="568325" cy="568325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1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341" name="TextBox 13"/>
          <p:cNvSpPr txBox="1">
            <a:spLocks noChangeArrowheads="1"/>
          </p:cNvSpPr>
          <p:nvPr/>
        </p:nvSpPr>
        <p:spPr bwMode="auto">
          <a:xfrm>
            <a:off x="2238375" y="1990725"/>
            <a:ext cx="4146550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Global Economic Developments</a:t>
            </a:r>
            <a:endParaRPr kumimoji="0" lang="en-US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5" name="Oval 14"/>
          <p:cNvSpPr/>
          <p:nvPr/>
        </p:nvSpPr>
        <p:spPr>
          <a:xfrm>
            <a:off x="1466850" y="3517900"/>
            <a:ext cx="568325" cy="568325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3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343" name="TextBox 15"/>
          <p:cNvSpPr txBox="1">
            <a:spLocks noChangeArrowheads="1"/>
          </p:cNvSpPr>
          <p:nvPr/>
        </p:nvSpPr>
        <p:spPr bwMode="auto">
          <a:xfrm>
            <a:off x="2238375" y="3589338"/>
            <a:ext cx="45164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Market Metrics</a:t>
            </a:r>
            <a:endParaRPr kumimoji="0" lang="en-US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17" name="Oval 16"/>
          <p:cNvSpPr/>
          <p:nvPr/>
        </p:nvSpPr>
        <p:spPr>
          <a:xfrm>
            <a:off x="1466850" y="4471988"/>
            <a:ext cx="568325" cy="568325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4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345" name="TextBox 17"/>
          <p:cNvSpPr txBox="1">
            <a:spLocks noChangeArrowheads="1"/>
          </p:cNvSpPr>
          <p:nvPr/>
        </p:nvSpPr>
        <p:spPr bwMode="auto">
          <a:xfrm>
            <a:off x="2238375" y="4543425"/>
            <a:ext cx="5965825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Outlook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1" name="Straight Connector 20"/>
          <p:cNvCxnSpPr/>
          <p:nvPr/>
        </p:nvCxnSpPr>
        <p:spPr>
          <a:xfrm>
            <a:off x="1466850" y="2668588"/>
            <a:ext cx="36576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/>
        </p:nvCxnSpPr>
        <p:spPr>
          <a:xfrm>
            <a:off x="1466850" y="4278313"/>
            <a:ext cx="36576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>
            <a:off x="1466850" y="5233988"/>
            <a:ext cx="36576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Oval 23"/>
          <p:cNvSpPr/>
          <p:nvPr/>
        </p:nvSpPr>
        <p:spPr>
          <a:xfrm>
            <a:off x="1466850" y="2705100"/>
            <a:ext cx="568325" cy="568325"/>
          </a:xfrm>
          <a:prstGeom prst="ellipse">
            <a:avLst/>
          </a:prstGeom>
          <a:gradFill>
            <a:gsLst>
              <a:gs pos="100000">
                <a:schemeClr val="accent1"/>
              </a:gs>
              <a:gs pos="0">
                <a:schemeClr val="accent4"/>
              </a:gs>
            </a:gsLst>
            <a:lin ang="24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anchor="ctr"/>
          <a:lstStyle/>
          <a:p>
            <a:pPr marL="0" marR="0" lvl="0" indent="0" algn="ctr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ID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02</a:t>
            </a:r>
            <a:endParaRPr kumimoji="0" lang="en-US" sz="1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4352" name="TextBox 24"/>
          <p:cNvSpPr txBox="1">
            <a:spLocks noChangeArrowheads="1"/>
          </p:cNvSpPr>
          <p:nvPr/>
        </p:nvSpPr>
        <p:spPr bwMode="auto">
          <a:xfrm>
            <a:off x="2238375" y="2789238"/>
            <a:ext cx="46720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marL="0" marR="0" lvl="0" indent="0" algn="l" defTabSz="4572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Domestic Economy</a:t>
            </a:r>
            <a:endParaRPr kumimoji="0" lang="en-US" altLang="en-US" sz="2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cxnSp>
        <p:nvCxnSpPr>
          <p:cNvPr id="26" name="Straight Connector 25"/>
          <p:cNvCxnSpPr/>
          <p:nvPr/>
        </p:nvCxnSpPr>
        <p:spPr>
          <a:xfrm>
            <a:off x="1466850" y="3467100"/>
            <a:ext cx="3657600" cy="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97922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9EE08873-CEF4-4640-B29D-C06265446073}"/>
              </a:ext>
            </a:extLst>
          </p:cNvPr>
          <p:cNvGrpSpPr/>
          <p:nvPr/>
        </p:nvGrpSpPr>
        <p:grpSpPr>
          <a:xfrm>
            <a:off x="264032" y="771875"/>
            <a:ext cx="5152030" cy="1436753"/>
            <a:chOff x="1504597" y="2399471"/>
            <a:chExt cx="6134807" cy="3202478"/>
          </a:xfrm>
          <a:solidFill>
            <a:schemeClr val="accent1"/>
          </a:solidFill>
        </p:grpSpPr>
        <p:sp>
          <p:nvSpPr>
            <p:cNvPr id="30" name="Freeform 5962">
              <a:extLst>
                <a:ext uri="{FF2B5EF4-FFF2-40B4-BE49-F238E27FC236}">
                  <a16:creationId xmlns:a16="http://schemas.microsoft.com/office/drawing/2014/main" id="{CAE67FFA-56A8-4B66-AE84-D0B3486F0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3972" y="4165973"/>
              <a:ext cx="836057" cy="1435976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6151">
              <a:extLst>
                <a:ext uri="{FF2B5EF4-FFF2-40B4-BE49-F238E27FC236}">
                  <a16:creationId xmlns:a16="http://schemas.microsoft.com/office/drawing/2014/main" id="{381EDDF4-C7FF-41A4-B9F4-DE9B5B67B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6439" y="4430998"/>
              <a:ext cx="1201064" cy="96840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6153">
              <a:extLst>
                <a:ext uri="{FF2B5EF4-FFF2-40B4-BE49-F238E27FC236}">
                  <a16:creationId xmlns:a16="http://schemas.microsoft.com/office/drawing/2014/main" id="{72BD7EF7-29E4-4DF5-8769-FFB255E8C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5668" y="3671184"/>
              <a:ext cx="1239013" cy="1462182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6155">
              <a:extLst>
                <a:ext uri="{FF2B5EF4-FFF2-40B4-BE49-F238E27FC236}">
                  <a16:creationId xmlns:a16="http://schemas.microsoft.com/office/drawing/2014/main" id="{5DCC3A9C-16F0-469E-851D-49E3E81D1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675" y="2527450"/>
              <a:ext cx="1264689" cy="1655655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6156">
              <a:extLst>
                <a:ext uri="{FF2B5EF4-FFF2-40B4-BE49-F238E27FC236}">
                  <a16:creationId xmlns:a16="http://schemas.microsoft.com/office/drawing/2014/main" id="{B66CE326-B6DD-404A-93C9-0DADDBACD2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4074" y="2480087"/>
              <a:ext cx="2615330" cy="2204852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6004">
              <a:extLst>
                <a:ext uri="{FF2B5EF4-FFF2-40B4-BE49-F238E27FC236}">
                  <a16:creationId xmlns:a16="http://schemas.microsoft.com/office/drawing/2014/main" id="{15B901FE-6347-4E9E-AFFA-42C861915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8495" y="4209922"/>
              <a:ext cx="3572" cy="403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" name="Gruppe 224">
              <a:extLst>
                <a:ext uri="{FF2B5EF4-FFF2-40B4-BE49-F238E27FC236}">
                  <a16:creationId xmlns:a16="http://schemas.microsoft.com/office/drawing/2014/main" id="{81FF3371-DB30-452F-BA80-9CC25747D3FF}"/>
                </a:ext>
              </a:extLst>
            </p:cNvPr>
            <p:cNvGrpSpPr/>
            <p:nvPr/>
          </p:nvGrpSpPr>
          <p:grpSpPr bwMode="auto">
            <a:xfrm>
              <a:off x="1504597" y="2399471"/>
              <a:ext cx="2802847" cy="1873326"/>
              <a:chOff x="93979" y="699453"/>
              <a:chExt cx="3986530" cy="2951480"/>
            </a:xfrm>
            <a:grpFill/>
          </p:grpSpPr>
          <p:sp>
            <p:nvSpPr>
              <p:cNvPr id="44" name="Freeform 6016">
                <a:extLst>
                  <a:ext uri="{FF2B5EF4-FFF2-40B4-BE49-F238E27FC236}">
                    <a16:creationId xmlns:a16="http://schemas.microsoft.com/office/drawing/2014/main" id="{E772B527-9051-4E12-B723-55AA52779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Freeform 6017">
                <a:extLst>
                  <a:ext uri="{FF2B5EF4-FFF2-40B4-BE49-F238E27FC236}">
                    <a16:creationId xmlns:a16="http://schemas.microsoft.com/office/drawing/2014/main" id="{2331B535-58CB-4371-9FF8-1D2079B06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6018">
                <a:extLst>
                  <a:ext uri="{FF2B5EF4-FFF2-40B4-BE49-F238E27FC236}">
                    <a16:creationId xmlns:a16="http://schemas.microsoft.com/office/drawing/2014/main" id="{927D6FF0-0743-4A1A-B7DB-7B87C3E9B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6019">
                <a:extLst>
                  <a:ext uri="{FF2B5EF4-FFF2-40B4-BE49-F238E27FC236}">
                    <a16:creationId xmlns:a16="http://schemas.microsoft.com/office/drawing/2014/main" id="{121433AC-5C33-4F98-9C32-65970333A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Freeform 6020">
                <a:extLst>
                  <a:ext uri="{FF2B5EF4-FFF2-40B4-BE49-F238E27FC236}">
                    <a16:creationId xmlns:a16="http://schemas.microsoft.com/office/drawing/2014/main" id="{B658DF8B-DDE4-4B66-960F-B7FEFC8EE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Freeform 6021">
                <a:extLst>
                  <a:ext uri="{FF2B5EF4-FFF2-40B4-BE49-F238E27FC236}">
                    <a16:creationId xmlns:a16="http://schemas.microsoft.com/office/drawing/2014/main" id="{5C8312D8-418E-4236-87A8-9F813F1D6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" name="Freeform 6022">
                <a:extLst>
                  <a:ext uri="{FF2B5EF4-FFF2-40B4-BE49-F238E27FC236}">
                    <a16:creationId xmlns:a16="http://schemas.microsoft.com/office/drawing/2014/main" id="{0188874E-4B04-4BE2-986B-220C901DE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" name="Freeform 6023">
                <a:extLst>
                  <a:ext uri="{FF2B5EF4-FFF2-40B4-BE49-F238E27FC236}">
                    <a16:creationId xmlns:a16="http://schemas.microsoft.com/office/drawing/2014/main" id="{0C27FB5A-4B1B-4915-955A-A44E51B31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Freeform 6024">
                <a:extLst>
                  <a:ext uri="{FF2B5EF4-FFF2-40B4-BE49-F238E27FC236}">
                    <a16:creationId xmlns:a16="http://schemas.microsoft.com/office/drawing/2014/main" id="{33B42EC0-9F9C-4B2E-864F-50B8BC7E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" name="Freeform 6025">
                <a:extLst>
                  <a:ext uri="{FF2B5EF4-FFF2-40B4-BE49-F238E27FC236}">
                    <a16:creationId xmlns:a16="http://schemas.microsoft.com/office/drawing/2014/main" id="{8E90E95E-B576-4225-8B3C-4BBB349BE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Freeform 6026">
                <a:extLst>
                  <a:ext uri="{FF2B5EF4-FFF2-40B4-BE49-F238E27FC236}">
                    <a16:creationId xmlns:a16="http://schemas.microsoft.com/office/drawing/2014/main" id="{0F1BA0BC-C695-4A03-B47B-197A143AF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" name="Freeform 6027">
                <a:extLst>
                  <a:ext uri="{FF2B5EF4-FFF2-40B4-BE49-F238E27FC236}">
                    <a16:creationId xmlns:a16="http://schemas.microsoft.com/office/drawing/2014/main" id="{67D6E9B1-3ACD-4252-AB59-1179B9AF9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" name="Freeform 6033">
                <a:extLst>
                  <a:ext uri="{FF2B5EF4-FFF2-40B4-BE49-F238E27FC236}">
                    <a16:creationId xmlns:a16="http://schemas.microsoft.com/office/drawing/2014/main" id="{D17E79E5-B659-4C53-9AC2-16DCC31E9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" name="Freeform 6037">
                <a:extLst>
                  <a:ext uri="{FF2B5EF4-FFF2-40B4-BE49-F238E27FC236}">
                    <a16:creationId xmlns:a16="http://schemas.microsoft.com/office/drawing/2014/main" id="{D4DBCB97-C4C7-48DD-ACD3-76EDE31CFE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Freeform 6054">
                <a:extLst>
                  <a:ext uri="{FF2B5EF4-FFF2-40B4-BE49-F238E27FC236}">
                    <a16:creationId xmlns:a16="http://schemas.microsoft.com/office/drawing/2014/main" id="{B4EE5FF2-1F63-48BF-9EA1-90D960403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Freeform 6074">
                <a:extLst>
                  <a:ext uri="{FF2B5EF4-FFF2-40B4-BE49-F238E27FC236}">
                    <a16:creationId xmlns:a16="http://schemas.microsoft.com/office/drawing/2014/main" id="{CCB3CA67-B218-4EB9-8F12-5AC04ACCA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Freeform 6084">
                <a:extLst>
                  <a:ext uri="{FF2B5EF4-FFF2-40B4-BE49-F238E27FC236}">
                    <a16:creationId xmlns:a16="http://schemas.microsoft.com/office/drawing/2014/main" id="{3F489A7D-FB78-4AAD-A7D5-443003708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Freeform 6086">
                <a:extLst>
                  <a:ext uri="{FF2B5EF4-FFF2-40B4-BE49-F238E27FC236}">
                    <a16:creationId xmlns:a16="http://schemas.microsoft.com/office/drawing/2014/main" id="{9EF3FAAE-F909-438E-B740-6D93203EBD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Freeform 6087">
                <a:extLst>
                  <a:ext uri="{FF2B5EF4-FFF2-40B4-BE49-F238E27FC236}">
                    <a16:creationId xmlns:a16="http://schemas.microsoft.com/office/drawing/2014/main" id="{3DDF8171-F9A8-446A-BA26-75F45C549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Freeform 6088">
                <a:extLst>
                  <a:ext uri="{FF2B5EF4-FFF2-40B4-BE49-F238E27FC236}">
                    <a16:creationId xmlns:a16="http://schemas.microsoft.com/office/drawing/2014/main" id="{B5981DB6-9ECD-477E-99B8-36C9BBA39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Freeform 6089">
                <a:extLst>
                  <a:ext uri="{FF2B5EF4-FFF2-40B4-BE49-F238E27FC236}">
                    <a16:creationId xmlns:a16="http://schemas.microsoft.com/office/drawing/2014/main" id="{7BEF790C-65B8-4BDE-87E2-42BF01627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Freeform 6091">
                <a:extLst>
                  <a:ext uri="{FF2B5EF4-FFF2-40B4-BE49-F238E27FC236}">
                    <a16:creationId xmlns:a16="http://schemas.microsoft.com/office/drawing/2014/main" id="{4C478AE1-3BE9-41D3-87E1-16290B36E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6092">
                <a:extLst>
                  <a:ext uri="{FF2B5EF4-FFF2-40B4-BE49-F238E27FC236}">
                    <a16:creationId xmlns:a16="http://schemas.microsoft.com/office/drawing/2014/main" id="{336FC8B4-180A-4C51-804D-57138286E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6094">
                <a:extLst>
                  <a:ext uri="{FF2B5EF4-FFF2-40B4-BE49-F238E27FC236}">
                    <a16:creationId xmlns:a16="http://schemas.microsoft.com/office/drawing/2014/main" id="{129E02CD-F46C-4295-A8B9-764C304A6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6098">
                <a:extLst>
                  <a:ext uri="{FF2B5EF4-FFF2-40B4-BE49-F238E27FC236}">
                    <a16:creationId xmlns:a16="http://schemas.microsoft.com/office/drawing/2014/main" id="{3EB65C1C-F5C2-4F21-8948-43633138E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6099">
                <a:extLst>
                  <a:ext uri="{FF2B5EF4-FFF2-40B4-BE49-F238E27FC236}">
                    <a16:creationId xmlns:a16="http://schemas.microsoft.com/office/drawing/2014/main" id="{C1AC7F51-2A2D-45FB-A1C3-0615B5F6F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6100">
                <a:extLst>
                  <a:ext uri="{FF2B5EF4-FFF2-40B4-BE49-F238E27FC236}">
                    <a16:creationId xmlns:a16="http://schemas.microsoft.com/office/drawing/2014/main" id="{4D819A71-D015-4825-B34E-DBB06217E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6101">
                <a:extLst>
                  <a:ext uri="{FF2B5EF4-FFF2-40B4-BE49-F238E27FC236}">
                    <a16:creationId xmlns:a16="http://schemas.microsoft.com/office/drawing/2014/main" id="{197CCFAB-2077-4DE0-A786-A66A8529A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6102">
                <a:extLst>
                  <a:ext uri="{FF2B5EF4-FFF2-40B4-BE49-F238E27FC236}">
                    <a16:creationId xmlns:a16="http://schemas.microsoft.com/office/drawing/2014/main" id="{9BEA097C-01F3-46F5-911A-3807DEFD68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Freeform 6103">
                <a:extLst>
                  <a:ext uri="{FF2B5EF4-FFF2-40B4-BE49-F238E27FC236}">
                    <a16:creationId xmlns:a16="http://schemas.microsoft.com/office/drawing/2014/main" id="{A1890D90-5390-4545-93A3-827C74573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Freeform 6104">
                <a:extLst>
                  <a:ext uri="{FF2B5EF4-FFF2-40B4-BE49-F238E27FC236}">
                    <a16:creationId xmlns:a16="http://schemas.microsoft.com/office/drawing/2014/main" id="{0C666610-3D8B-49C5-9A52-68FEA6778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Freeform 6105">
                <a:extLst>
                  <a:ext uri="{FF2B5EF4-FFF2-40B4-BE49-F238E27FC236}">
                    <a16:creationId xmlns:a16="http://schemas.microsoft.com/office/drawing/2014/main" id="{08BBF72D-A3DA-4E66-8C87-52DB2E916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Freeform 6106">
                <a:extLst>
                  <a:ext uri="{FF2B5EF4-FFF2-40B4-BE49-F238E27FC236}">
                    <a16:creationId xmlns:a16="http://schemas.microsoft.com/office/drawing/2014/main" id="{BFD46560-BA1E-4F04-9C4C-44744C2478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Freeform 6107">
                <a:extLst>
                  <a:ext uri="{FF2B5EF4-FFF2-40B4-BE49-F238E27FC236}">
                    <a16:creationId xmlns:a16="http://schemas.microsoft.com/office/drawing/2014/main" id="{8C9F764B-D13F-46E7-A93E-15AEEE66F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" name="Freeform 6108">
                <a:extLst>
                  <a:ext uri="{FF2B5EF4-FFF2-40B4-BE49-F238E27FC236}">
                    <a16:creationId xmlns:a16="http://schemas.microsoft.com/office/drawing/2014/main" id="{9A2AB3D4-34AD-4023-94F4-A827B1C8B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" name="Freeform 6109">
                <a:extLst>
                  <a:ext uri="{FF2B5EF4-FFF2-40B4-BE49-F238E27FC236}">
                    <a16:creationId xmlns:a16="http://schemas.microsoft.com/office/drawing/2014/main" id="{0FB1DF29-DB12-473C-928A-81F8260C6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Freeform 6110">
                <a:extLst>
                  <a:ext uri="{FF2B5EF4-FFF2-40B4-BE49-F238E27FC236}">
                    <a16:creationId xmlns:a16="http://schemas.microsoft.com/office/drawing/2014/main" id="{6C30B8F7-E6E5-445B-A129-3198ADB9D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Freeform 6111">
                <a:extLst>
                  <a:ext uri="{FF2B5EF4-FFF2-40B4-BE49-F238E27FC236}">
                    <a16:creationId xmlns:a16="http://schemas.microsoft.com/office/drawing/2014/main" id="{D74CA9DB-9244-494E-ADA7-9A2CA308F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" name="Freeform 6112">
                <a:extLst>
                  <a:ext uri="{FF2B5EF4-FFF2-40B4-BE49-F238E27FC236}">
                    <a16:creationId xmlns:a16="http://schemas.microsoft.com/office/drawing/2014/main" id="{CBBA8C44-C397-483F-87D3-88E2D85F9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Freeform 6113">
                <a:extLst>
                  <a:ext uri="{FF2B5EF4-FFF2-40B4-BE49-F238E27FC236}">
                    <a16:creationId xmlns:a16="http://schemas.microsoft.com/office/drawing/2014/main" id="{307DD4C5-0482-4C5C-B669-64F87C9FC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Freeform 6115">
                <a:extLst>
                  <a:ext uri="{FF2B5EF4-FFF2-40B4-BE49-F238E27FC236}">
                    <a16:creationId xmlns:a16="http://schemas.microsoft.com/office/drawing/2014/main" id="{8208B4FD-952C-4115-A2ED-3453284050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" name="Freeform 6116">
                <a:extLst>
                  <a:ext uri="{FF2B5EF4-FFF2-40B4-BE49-F238E27FC236}">
                    <a16:creationId xmlns:a16="http://schemas.microsoft.com/office/drawing/2014/main" id="{7B35B91B-8550-4ECA-878B-57D7C8D69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" name="Freeform 6117">
                <a:extLst>
                  <a:ext uri="{FF2B5EF4-FFF2-40B4-BE49-F238E27FC236}">
                    <a16:creationId xmlns:a16="http://schemas.microsoft.com/office/drawing/2014/main" id="{6634932E-04AE-4EF8-B91A-1883F9AF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Freeform 6118">
                <a:extLst>
                  <a:ext uri="{FF2B5EF4-FFF2-40B4-BE49-F238E27FC236}">
                    <a16:creationId xmlns:a16="http://schemas.microsoft.com/office/drawing/2014/main" id="{139A6041-20D3-46D2-BF47-323801247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7" name="Freeform 6134">
              <a:extLst>
                <a:ext uri="{FF2B5EF4-FFF2-40B4-BE49-F238E27FC236}">
                  <a16:creationId xmlns:a16="http://schemas.microsoft.com/office/drawing/2014/main" id="{B4C562D5-E6EF-48AE-8F81-B547CC6C4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6532" y="4207503"/>
              <a:ext cx="2678" cy="3224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6135">
              <a:extLst>
                <a:ext uri="{FF2B5EF4-FFF2-40B4-BE49-F238E27FC236}">
                  <a16:creationId xmlns:a16="http://schemas.microsoft.com/office/drawing/2014/main" id="{B61B3D10-CD21-48FC-9F00-8DD29E9EE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208" y="4202250"/>
              <a:ext cx="1116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6136">
              <a:extLst>
                <a:ext uri="{FF2B5EF4-FFF2-40B4-BE49-F238E27FC236}">
                  <a16:creationId xmlns:a16="http://schemas.microsoft.com/office/drawing/2014/main" id="{F1438CEE-5BD9-459D-A9EF-9BAFBE3F1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969" y="4201861"/>
              <a:ext cx="2678" cy="3224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6138">
              <a:extLst>
                <a:ext uri="{FF2B5EF4-FFF2-40B4-BE49-F238E27FC236}">
                  <a16:creationId xmlns:a16="http://schemas.microsoft.com/office/drawing/2014/main" id="{C03BDF90-B9E7-4411-B2C5-2395E1AC5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965" y="4209874"/>
              <a:ext cx="1785" cy="24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6144">
              <a:extLst>
                <a:ext uri="{FF2B5EF4-FFF2-40B4-BE49-F238E27FC236}">
                  <a16:creationId xmlns:a16="http://schemas.microsoft.com/office/drawing/2014/main" id="{CB57B6DE-3FB1-48DE-BF21-0AF652DCC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141" y="4196164"/>
              <a:ext cx="3572" cy="2418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6149">
              <a:extLst>
                <a:ext uri="{FF2B5EF4-FFF2-40B4-BE49-F238E27FC236}">
                  <a16:creationId xmlns:a16="http://schemas.microsoft.com/office/drawing/2014/main" id="{EA7BD8C3-4F76-43D3-B721-4ED1A7A6F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656" y="4202169"/>
              <a:ext cx="2232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6150">
              <a:extLst>
                <a:ext uri="{FF2B5EF4-FFF2-40B4-BE49-F238E27FC236}">
                  <a16:creationId xmlns:a16="http://schemas.microsoft.com/office/drawing/2014/main" id="{2D2F9FD6-6BEB-4EB6-B33E-141227A53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487" y="4207726"/>
              <a:ext cx="2678" cy="161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6" name="Title 1">
            <a:extLst>
              <a:ext uri="{FF2B5EF4-FFF2-40B4-BE49-F238E27FC236}">
                <a16:creationId xmlns:a16="http://schemas.microsoft.com/office/drawing/2014/main" id="{E954B635-60C4-664E-BE64-117AEA1D1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925"/>
            <a:ext cx="12192000" cy="697850"/>
          </a:xfrm>
          <a:solidFill>
            <a:schemeClr val="tx2">
              <a:lumMod val="7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>
            <a:normAutofit/>
          </a:bodyPr>
          <a:lstStyle/>
          <a:p>
            <a:pPr lvl="0"/>
            <a:r>
              <a:rPr lang="en-GB" sz="3600" b="1" dirty="0">
                <a:solidFill>
                  <a:srgbClr val="0070C0"/>
                </a:solidFill>
              </a:rPr>
              <a:t>The Global Economy</a:t>
            </a:r>
            <a:r>
              <a:rPr lang="en-GB" sz="3000" b="1" dirty="0">
                <a:solidFill>
                  <a:srgbClr val="0070C0"/>
                </a:solidFill>
              </a:rPr>
              <a:t> (IMF, </a:t>
            </a:r>
            <a:r>
              <a:rPr lang="en-GB" sz="3000" b="1" dirty="0" smtClean="0">
                <a:solidFill>
                  <a:srgbClr val="0070C0"/>
                </a:solidFill>
              </a:rPr>
              <a:t>WEO-JAN 2022)</a:t>
            </a:r>
            <a:endParaRPr lang="en-GB" sz="3000" b="1" dirty="0">
              <a:solidFill>
                <a:srgbClr val="0070C0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BAEAF70-446A-6D41-BC88-61C7D306B6AA}"/>
              </a:ext>
            </a:extLst>
          </p:cNvPr>
          <p:cNvSpPr/>
          <p:nvPr/>
        </p:nvSpPr>
        <p:spPr>
          <a:xfrm>
            <a:off x="6205357" y="988309"/>
            <a:ext cx="5475014" cy="6001643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lobal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growth weakened (-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3.1%)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 2020 due to: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Impact of COVID-19 pandemic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Disruptions in global supply chains</a:t>
            </a:r>
            <a:endParaRPr kumimoji="0" lang="en-US" sz="16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Falling global aggregate demand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1600" dirty="0">
                <a:solidFill>
                  <a:schemeClr val="tx1"/>
                </a:solidFill>
                <a:latin typeface="Century Gothic" panose="020B0502020202020204" pitchFamily="34" charset="0"/>
              </a:rPr>
              <a:t>Increasing unemployment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6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Rising sovereign and corporate </a:t>
            </a:r>
            <a:r>
              <a:rPr kumimoji="0" lang="en-US" sz="16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debt</a:t>
            </a:r>
          </a:p>
          <a:p>
            <a:pPr marR="0" lvl="1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</a:endParaRPr>
          </a:p>
          <a:p>
            <a:pPr marL="285750" indent="-285750" algn="just" defTabSz="457200">
              <a:buFont typeface="Arial" panose="020B0604020202020204" pitchFamily="34" charset="0"/>
              <a:buChar char="•"/>
            </a:pPr>
            <a:r>
              <a:rPr lang="en-US" dirty="0">
                <a:latin typeface="Century Gothic" panose="020B0502020202020204" pitchFamily="34" charset="0"/>
              </a:rPr>
              <a:t>The global economy </a:t>
            </a:r>
            <a:r>
              <a:rPr lang="en-US" dirty="0" smtClean="0">
                <a:latin typeface="Century Gothic" panose="020B0502020202020204" pitchFamily="34" charset="0"/>
              </a:rPr>
              <a:t>grew </a:t>
            </a:r>
            <a:r>
              <a:rPr lang="en-US" dirty="0">
                <a:latin typeface="Century Gothic" panose="020B0502020202020204" pitchFamily="34" charset="0"/>
              </a:rPr>
              <a:t>5.9 percent in </a:t>
            </a:r>
            <a:r>
              <a:rPr lang="en-US" dirty="0" smtClean="0">
                <a:latin typeface="Century Gothic" panose="020B0502020202020204" pitchFamily="34" charset="0"/>
              </a:rPr>
              <a:t>2021</a:t>
            </a:r>
          </a:p>
          <a:p>
            <a:pPr algn="just" defTabSz="457200"/>
            <a:endParaRPr lang="en-US" dirty="0" smtClean="0">
              <a:latin typeface="Century Gothic" panose="020B0502020202020204" pitchFamily="34" charset="0"/>
            </a:endParaRPr>
          </a:p>
          <a:p>
            <a:pPr marL="285750" indent="-285750" algn="just" defTabSz="457200">
              <a:buFont typeface="Arial" panose="020B0604020202020204" pitchFamily="34" charset="0"/>
              <a:buChar char="•"/>
            </a:pPr>
            <a:r>
              <a:rPr lang="en-US" dirty="0" smtClean="0">
                <a:latin typeface="Century Gothic" panose="020B0502020202020204" pitchFamily="34" charset="0"/>
              </a:rPr>
              <a:t>The </a:t>
            </a:r>
            <a:r>
              <a:rPr lang="en-US" dirty="0">
                <a:latin typeface="Century Gothic" panose="020B0502020202020204" pitchFamily="34" charset="0"/>
              </a:rPr>
              <a:t>International Monetary Fund (IMF)’s global growth projection is put at </a:t>
            </a:r>
            <a:r>
              <a:rPr lang="en-US" dirty="0" smtClean="0">
                <a:latin typeface="Century Gothic" panose="020B0502020202020204" pitchFamily="34" charset="0"/>
              </a:rPr>
              <a:t>4.4% </a:t>
            </a:r>
            <a:r>
              <a:rPr lang="en-US" dirty="0">
                <a:latin typeface="Century Gothic" panose="020B0502020202020204" pitchFamily="34" charset="0"/>
              </a:rPr>
              <a:t>in </a:t>
            </a:r>
            <a:r>
              <a:rPr lang="en-US" dirty="0" smtClean="0">
                <a:latin typeface="Century Gothic" panose="020B0502020202020204" pitchFamily="34" charset="0"/>
              </a:rPr>
              <a:t>2022.</a:t>
            </a:r>
            <a:endParaRPr lang="en-US" dirty="0">
              <a:latin typeface="Century Gothic" panose="020B0502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SSA </a:t>
            </a:r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countries – had contracted at </a:t>
            </a:r>
            <a:r>
              <a:rPr lang="en-US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1.7% </a:t>
            </a:r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in 2020. we expect the SSA economy to grow by </a:t>
            </a:r>
            <a:r>
              <a:rPr lang="en-US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3.7% </a:t>
            </a:r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in </a:t>
            </a:r>
            <a:r>
              <a:rPr lang="en-US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2022.</a:t>
            </a:r>
          </a:p>
          <a:p>
            <a:pPr marR="0" lvl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dirty="0" smtClean="0">
              <a:solidFill>
                <a:schemeClr val="tx1"/>
              </a:solidFill>
              <a:latin typeface="Century Gothic" panose="020B0502020202020204" pitchFamily="34" charset="0"/>
            </a:endParaRP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Nigeria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–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contraction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in 2020 </a:t>
            </a:r>
            <a:r>
              <a:rPr lang="en-US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  <a:r>
              <a:rPr lang="en-US" dirty="0" smtClean="0">
                <a:solidFill>
                  <a:schemeClr val="tx1"/>
                </a:solidFill>
                <a:latin typeface="Century Gothic" panose="020B0502020202020204" pitchFamily="34" charset="0"/>
              </a:rPr>
              <a:t>was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1.8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% but is projected to grow</a:t>
            </a:r>
            <a:r>
              <a:rPr kumimoji="0" lang="en-US" sz="1800" b="0" i="0" u="none" strike="noStrike" kern="1200" cap="none" spc="0" normalizeH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 </a:t>
            </a:r>
            <a:r>
              <a:rPr kumimoji="0" lang="en-US" sz="18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ea typeface="+mn-ea"/>
                <a:cs typeface="+mn-cs"/>
              </a:rPr>
              <a:t>2.7% in 2022.</a:t>
            </a:r>
          </a:p>
          <a:p>
            <a:pPr marL="285750" marR="0" lvl="0" indent="-28575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  <a:ea typeface="+mn-ea"/>
              <a:cs typeface="+mn-cs"/>
            </a:endParaRPr>
          </a:p>
        </p:txBody>
      </p:sp>
      <p:graphicFrame>
        <p:nvGraphicFramePr>
          <p:cNvPr id="100" name="Table 99">
            <a:extLst>
              <a:ext uri="{FF2B5EF4-FFF2-40B4-BE49-F238E27FC236}">
                <a16:creationId xmlns:a16="http://schemas.microsoft.com/office/drawing/2014/main" id="{1EAB7025-2533-4B4A-A100-1FF6128D25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3386480"/>
              </p:ext>
            </p:extLst>
          </p:nvPr>
        </p:nvGraphicFramePr>
        <p:xfrm>
          <a:off x="144274" y="2185272"/>
          <a:ext cx="5635029" cy="450749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616609">
                  <a:extLst>
                    <a:ext uri="{9D8B030D-6E8A-4147-A177-3AD203B41FA5}">
                      <a16:colId xmlns:a16="http://schemas.microsoft.com/office/drawing/2014/main" val="1326324597"/>
                    </a:ext>
                  </a:extLst>
                </a:gridCol>
                <a:gridCol w="1004605">
                  <a:extLst>
                    <a:ext uri="{9D8B030D-6E8A-4147-A177-3AD203B41FA5}">
                      <a16:colId xmlns:a16="http://schemas.microsoft.com/office/drawing/2014/main" val="574270479"/>
                    </a:ext>
                  </a:extLst>
                </a:gridCol>
                <a:gridCol w="1004605">
                  <a:extLst>
                    <a:ext uri="{9D8B030D-6E8A-4147-A177-3AD203B41FA5}">
                      <a16:colId xmlns:a16="http://schemas.microsoft.com/office/drawing/2014/main" val="3096542348"/>
                    </a:ext>
                  </a:extLst>
                </a:gridCol>
                <a:gridCol w="1004605">
                  <a:extLst>
                    <a:ext uri="{9D8B030D-6E8A-4147-A177-3AD203B41FA5}">
                      <a16:colId xmlns:a16="http://schemas.microsoft.com/office/drawing/2014/main" val="1442352119"/>
                    </a:ext>
                  </a:extLst>
                </a:gridCol>
                <a:gridCol w="1004605">
                  <a:extLst>
                    <a:ext uri="{9D8B030D-6E8A-4147-A177-3AD203B41FA5}">
                      <a16:colId xmlns:a16="http://schemas.microsoft.com/office/drawing/2014/main" val="1611985382"/>
                    </a:ext>
                  </a:extLst>
                </a:gridCol>
              </a:tblGrid>
              <a:tr h="276244">
                <a:tc gridSpan="5">
                  <a:txBody>
                    <a:bodyPr/>
                    <a:lstStyle/>
                    <a:p>
                      <a:pPr algn="l" rtl="0" fontAlgn="ctr"/>
                      <a:r>
                        <a:rPr lang="en-AU" sz="14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Century Gothic" panose="020B0502020202020204" pitchFamily="34" charset="0"/>
                        </a:rPr>
                        <a:t>                                              </a:t>
                      </a:r>
                      <a:r>
                        <a:rPr lang="en-AU" sz="14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stimate</a:t>
                      </a:r>
                      <a:r>
                        <a:rPr lang="en-AU" sz="14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                          Projections</a:t>
                      </a:r>
                      <a:endParaRPr lang="en-AU" sz="14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A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A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algn="ctr" rtl="0" fontAlgn="ctr"/>
                      <a:endParaRPr lang="en-A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AU" sz="1400" b="1" i="0" u="none" strike="noStrike" dirty="0">
                        <a:solidFill>
                          <a:srgbClr val="FFFFFF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441103444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b="1" u="none" strike="noStrike" dirty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 Country/Region</a:t>
                      </a:r>
                      <a:endParaRPr lang="en-A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0</a:t>
                      </a:r>
                      <a:endParaRPr lang="en-A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1</a:t>
                      </a:r>
                      <a:endParaRPr lang="en-A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2</a:t>
                      </a:r>
                      <a:endParaRPr lang="en-A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4572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sz="14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Century Gothic" panose="020B0502020202020204" pitchFamily="34" charset="0"/>
                        </a:rPr>
                        <a:t>2023</a:t>
                      </a:r>
                      <a:endParaRPr lang="en-AU" sz="1400" b="1" i="0" u="none" strike="noStrike" dirty="0">
                        <a:solidFill>
                          <a:schemeClr val="bg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911869253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World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3.1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9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4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8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75340295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Advanced  Eco.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4.5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0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9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6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784024012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Euro Area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-3.4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6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0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,6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23146093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EMs &amp; Developing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2.0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6.5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8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,7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22376432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Sub-</a:t>
                      </a:r>
                      <a:r>
                        <a:rPr lang="en-AU" sz="1400" b="1" u="none" strike="noStrike" dirty="0" err="1">
                          <a:effectLst/>
                          <a:latin typeface="Century Gothic" panose="020B0502020202020204" pitchFamily="34" charset="0"/>
                        </a:rPr>
                        <a:t>Sah</a:t>
                      </a:r>
                      <a:r>
                        <a:rPr lang="en-AU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. Africa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1.7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0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7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0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3462072687"/>
                  </a:ext>
                </a:extLst>
              </a:tr>
              <a:tr h="203886">
                <a:tc gridSpan="5">
                  <a:txBody>
                    <a:bodyPr/>
                    <a:lstStyle/>
                    <a:p>
                      <a:pPr algn="l" fontAlgn="t"/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11564932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 United States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4.5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0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,9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,5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0445209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 United Kingdom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u="none" strike="noStrike" dirty="0" smtClean="0">
                          <a:effectLst/>
                          <a:latin typeface="Century Gothic" panose="020B0502020202020204" pitchFamily="34" charset="0"/>
                        </a:rPr>
                        <a:t>-9.4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.2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7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3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524570273"/>
                  </a:ext>
                </a:extLst>
              </a:tr>
              <a:tr h="203886">
                <a:tc gridSpan="5">
                  <a:txBody>
                    <a:bodyPr/>
                    <a:lstStyle/>
                    <a:p>
                      <a:pPr algn="l" fontAlgn="t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 ..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02750951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 China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3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8.1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8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5.2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960145549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 India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7.3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.0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9.0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7.1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424202013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 Brazil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3.9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7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0.3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6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300915902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u="none" strike="noStrike" dirty="0">
                          <a:effectLst/>
                          <a:latin typeface="Century Gothic" panose="020B0502020202020204" pitchFamily="34" charset="0"/>
                        </a:rPr>
                        <a:t> South Africa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6.4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4.6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9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1.4</a:t>
                      </a:r>
                      <a:endParaRPr lang="en-AU" sz="1400" b="0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221982126"/>
                  </a:ext>
                </a:extLst>
              </a:tr>
              <a:tr h="203886">
                <a:tc gridSpan="5">
                  <a:txBody>
                    <a:bodyPr/>
                    <a:lstStyle/>
                    <a:p>
                      <a:pPr algn="l" fontAlgn="t"/>
                      <a:endParaRPr lang="en-AU" sz="1400" b="0" i="0" u="none" strike="noStrike" dirty="0">
                        <a:solidFill>
                          <a:schemeClr val="dk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tx2">
                        <a:lumMod val="7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06622454"/>
                  </a:ext>
                </a:extLst>
              </a:tr>
              <a:tr h="276244">
                <a:tc>
                  <a:txBody>
                    <a:bodyPr/>
                    <a:lstStyle/>
                    <a:p>
                      <a:pPr algn="l" rtl="0" fontAlgn="ctr"/>
                      <a:r>
                        <a:rPr lang="en-AU" sz="1400" b="1" u="none" strike="noStrike" dirty="0">
                          <a:effectLst/>
                          <a:latin typeface="Century Gothic" panose="020B0502020202020204" pitchFamily="34" charset="0"/>
                        </a:rPr>
                        <a:t> Nigeria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-1.8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3.0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7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AU" sz="1400" b="1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entury Gothic" panose="020B0502020202020204" pitchFamily="34" charset="0"/>
                        </a:rPr>
                        <a:t>2.7</a:t>
                      </a:r>
                      <a:endParaRPr lang="en-AU" sz="1400" b="1" i="0" u="none" strike="noStrike" dirty="0">
                        <a:solidFill>
                          <a:srgbClr val="000000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03766694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06573D5B-AF09-AD48-A8ED-C303FE6A5039}"/>
              </a:ext>
            </a:extLst>
          </p:cNvPr>
          <p:cNvSpPr txBox="1"/>
          <p:nvPr/>
        </p:nvSpPr>
        <p:spPr>
          <a:xfrm>
            <a:off x="7695028" y="143490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40738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9" name="Group 28">
            <a:extLst>
              <a:ext uri="{FF2B5EF4-FFF2-40B4-BE49-F238E27FC236}">
                <a16:creationId xmlns:a16="http://schemas.microsoft.com/office/drawing/2014/main" id="{9EE08873-CEF4-4640-B29D-C06265446073}"/>
              </a:ext>
            </a:extLst>
          </p:cNvPr>
          <p:cNvGrpSpPr/>
          <p:nvPr/>
        </p:nvGrpSpPr>
        <p:grpSpPr>
          <a:xfrm>
            <a:off x="264032" y="771875"/>
            <a:ext cx="5152030" cy="1436753"/>
            <a:chOff x="1504597" y="2399471"/>
            <a:chExt cx="6134807" cy="3202478"/>
          </a:xfrm>
          <a:solidFill>
            <a:schemeClr val="accent1"/>
          </a:solidFill>
        </p:grpSpPr>
        <p:sp>
          <p:nvSpPr>
            <p:cNvPr id="30" name="Freeform 5962">
              <a:extLst>
                <a:ext uri="{FF2B5EF4-FFF2-40B4-BE49-F238E27FC236}">
                  <a16:creationId xmlns:a16="http://schemas.microsoft.com/office/drawing/2014/main" id="{CAE67FFA-56A8-4B66-AE84-D0B3486F072F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063972" y="4165973"/>
              <a:ext cx="836057" cy="1435976"/>
            </a:xfrm>
            <a:custGeom>
              <a:avLst/>
              <a:gdLst>
                <a:gd name="T0" fmla="*/ 168775 w 1874"/>
                <a:gd name="T1" fmla="*/ 2086902 h 3562"/>
                <a:gd name="T2" fmla="*/ 147202 w 1874"/>
                <a:gd name="T3" fmla="*/ 1968776 h 3562"/>
                <a:gd name="T4" fmla="*/ 184003 w 1874"/>
                <a:gd name="T5" fmla="*/ 1976397 h 3562"/>
                <a:gd name="T6" fmla="*/ 161161 w 1874"/>
                <a:gd name="T7" fmla="*/ 1982748 h 3562"/>
                <a:gd name="T8" fmla="*/ 154816 w 1874"/>
                <a:gd name="T9" fmla="*/ 2042446 h 3562"/>
                <a:gd name="T10" fmla="*/ 156085 w 1874"/>
                <a:gd name="T11" fmla="*/ 1997990 h 3562"/>
                <a:gd name="T12" fmla="*/ 147202 w 1874"/>
                <a:gd name="T13" fmla="*/ 2006881 h 3562"/>
                <a:gd name="T14" fmla="*/ 184003 w 1874"/>
                <a:gd name="T15" fmla="*/ 2086902 h 3562"/>
                <a:gd name="T16" fmla="*/ 153547 w 1874"/>
                <a:gd name="T17" fmla="*/ 1999260 h 3562"/>
                <a:gd name="T18" fmla="*/ 185272 w 1874"/>
                <a:gd name="T19" fmla="*/ 1850649 h 3562"/>
                <a:gd name="T20" fmla="*/ 192886 w 1874"/>
                <a:gd name="T21" fmla="*/ 1841758 h 3562"/>
                <a:gd name="T22" fmla="*/ 166237 w 1874"/>
                <a:gd name="T23" fmla="*/ 1884944 h 3562"/>
                <a:gd name="T24" fmla="*/ 348971 w 1874"/>
                <a:gd name="T25" fmla="*/ 2235513 h 3562"/>
                <a:gd name="T26" fmla="*/ 304556 w 1874"/>
                <a:gd name="T27" fmla="*/ 2245675 h 3562"/>
                <a:gd name="T28" fmla="*/ 284252 w 1874"/>
                <a:gd name="T29" fmla="*/ 2227892 h 3562"/>
                <a:gd name="T30" fmla="*/ 323591 w 1874"/>
                <a:gd name="T31" fmla="*/ 2224082 h 3562"/>
                <a:gd name="T32" fmla="*/ 277907 w 1874"/>
                <a:gd name="T33" fmla="*/ 2230433 h 3562"/>
                <a:gd name="T34" fmla="*/ 170044 w 1874"/>
                <a:gd name="T35" fmla="*/ 2140250 h 3562"/>
                <a:gd name="T36" fmla="*/ 180196 w 1874"/>
                <a:gd name="T37" fmla="*/ 2163113 h 3562"/>
                <a:gd name="T38" fmla="*/ 157354 w 1874"/>
                <a:gd name="T39" fmla="*/ 2090713 h 3562"/>
                <a:gd name="T40" fmla="*/ 247452 w 1874"/>
                <a:gd name="T41" fmla="*/ 2198678 h 3562"/>
                <a:gd name="T42" fmla="*/ 214458 w 1874"/>
                <a:gd name="T43" fmla="*/ 2170734 h 3562"/>
                <a:gd name="T44" fmla="*/ 224610 w 1874"/>
                <a:gd name="T45" fmla="*/ 2189787 h 3562"/>
                <a:gd name="T46" fmla="*/ 300749 w 1874"/>
                <a:gd name="T47" fmla="*/ 2198678 h 3562"/>
                <a:gd name="T48" fmla="*/ 237300 w 1874"/>
                <a:gd name="T49" fmla="*/ 2207569 h 3562"/>
                <a:gd name="T50" fmla="*/ 319784 w 1874"/>
                <a:gd name="T51" fmla="*/ 2224082 h 3562"/>
                <a:gd name="T52" fmla="*/ 184003 w 1874"/>
                <a:gd name="T53" fmla="*/ 1738874 h 3562"/>
                <a:gd name="T54" fmla="*/ 166237 w 1874"/>
                <a:gd name="T55" fmla="*/ 1802383 h 3562"/>
                <a:gd name="T56" fmla="*/ 187810 w 1874"/>
                <a:gd name="T57" fmla="*/ 1807463 h 3562"/>
                <a:gd name="T58" fmla="*/ 176389 w 1874"/>
                <a:gd name="T59" fmla="*/ 1878593 h 3562"/>
                <a:gd name="T60" fmla="*/ 939048 w 1874"/>
                <a:gd name="T61" fmla="*/ 443292 h 3562"/>
                <a:gd name="T62" fmla="*/ 767735 w 1874"/>
                <a:gd name="T63" fmla="*/ 403917 h 3562"/>
                <a:gd name="T64" fmla="*/ 761390 w 1874"/>
                <a:gd name="T65" fmla="*/ 248955 h 3562"/>
                <a:gd name="T66" fmla="*/ 611650 w 1874"/>
                <a:gd name="T67" fmla="*/ 190527 h 3562"/>
                <a:gd name="T68" fmla="*/ 474600 w 1874"/>
                <a:gd name="T69" fmla="*/ 59698 h 3562"/>
                <a:gd name="T70" fmla="*/ 281714 w 1874"/>
                <a:gd name="T71" fmla="*/ 21593 h 3562"/>
                <a:gd name="T72" fmla="*/ 157354 w 1874"/>
                <a:gd name="T73" fmla="*/ 45726 h 3562"/>
                <a:gd name="T74" fmla="*/ 91367 w 1874"/>
                <a:gd name="T75" fmla="*/ 299762 h 3562"/>
                <a:gd name="T76" fmla="*/ 35532 w 1874"/>
                <a:gd name="T77" fmla="*/ 461075 h 3562"/>
                <a:gd name="T78" fmla="*/ 109133 w 1874"/>
                <a:gd name="T79" fmla="*/ 768458 h 3562"/>
                <a:gd name="T80" fmla="*/ 275370 w 1874"/>
                <a:gd name="T81" fmla="*/ 1108865 h 3562"/>
                <a:gd name="T82" fmla="*/ 252528 w 1874"/>
                <a:gd name="T83" fmla="*/ 1420059 h 3562"/>
                <a:gd name="T84" fmla="*/ 196693 w 1874"/>
                <a:gd name="T85" fmla="*/ 1667744 h 3562"/>
                <a:gd name="T86" fmla="*/ 209382 w 1874"/>
                <a:gd name="T87" fmla="*/ 1797302 h 3562"/>
                <a:gd name="T88" fmla="*/ 171313 w 1874"/>
                <a:gd name="T89" fmla="*/ 1882404 h 3562"/>
                <a:gd name="T90" fmla="*/ 170044 w 1874"/>
                <a:gd name="T91" fmla="*/ 1947183 h 3562"/>
                <a:gd name="T92" fmla="*/ 176389 w 1874"/>
                <a:gd name="T93" fmla="*/ 2011962 h 3562"/>
                <a:gd name="T94" fmla="*/ 185272 w 1874"/>
                <a:gd name="T95" fmla="*/ 2053878 h 3562"/>
                <a:gd name="T96" fmla="*/ 196693 w 1874"/>
                <a:gd name="T97" fmla="*/ 2100874 h 3562"/>
                <a:gd name="T98" fmla="*/ 194155 w 1874"/>
                <a:gd name="T99" fmla="*/ 2113576 h 3562"/>
                <a:gd name="T100" fmla="*/ 233493 w 1874"/>
                <a:gd name="T101" fmla="*/ 2131359 h 3562"/>
                <a:gd name="T102" fmla="*/ 255066 w 1874"/>
                <a:gd name="T103" fmla="*/ 2141520 h 3562"/>
                <a:gd name="T104" fmla="*/ 314708 w 1874"/>
                <a:gd name="T105" fmla="*/ 2122467 h 3562"/>
                <a:gd name="T106" fmla="*/ 348971 w 1874"/>
                <a:gd name="T107" fmla="*/ 1890025 h 3562"/>
                <a:gd name="T108" fmla="*/ 453027 w 1874"/>
                <a:gd name="T109" fmla="*/ 1764277 h 3562"/>
                <a:gd name="T110" fmla="*/ 491097 w 1874"/>
                <a:gd name="T111" fmla="*/ 1635989 h 3562"/>
                <a:gd name="T112" fmla="*/ 629416 w 1874"/>
                <a:gd name="T113" fmla="*/ 1491189 h 3562"/>
                <a:gd name="T114" fmla="*/ 865447 w 1874"/>
                <a:gd name="T115" fmla="*/ 1158402 h 3562"/>
                <a:gd name="T116" fmla="*/ 1079905 w 1874"/>
                <a:gd name="T117" fmla="*/ 900556 h 3562"/>
                <a:gd name="T118" fmla="*/ 426379 w 1874"/>
                <a:gd name="T119" fmla="*/ 2222811 h 3562"/>
                <a:gd name="T120" fmla="*/ 184003 w 1874"/>
                <a:gd name="T121" fmla="*/ 1928130 h 3562"/>
                <a:gd name="T122" fmla="*/ 159892 w 1874"/>
                <a:gd name="T123" fmla="*/ 1994179 h 3562"/>
                <a:gd name="T124" fmla="*/ 175120 w 1874"/>
                <a:gd name="T125" fmla="*/ 2027204 h 356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874"/>
                <a:gd name="T190" fmla="*/ 0 h 3562"/>
                <a:gd name="T191" fmla="*/ 1874 w 1874"/>
                <a:gd name="T192" fmla="*/ 3562 h 356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874" h="3562">
                  <a:moveTo>
                    <a:pt x="282" y="3320"/>
                  </a:moveTo>
                  <a:lnTo>
                    <a:pt x="282" y="3320"/>
                  </a:lnTo>
                  <a:lnTo>
                    <a:pt x="286" y="3322"/>
                  </a:lnTo>
                  <a:lnTo>
                    <a:pt x="286" y="3320"/>
                  </a:lnTo>
                  <a:lnTo>
                    <a:pt x="284" y="3316"/>
                  </a:lnTo>
                  <a:lnTo>
                    <a:pt x="282" y="3312"/>
                  </a:lnTo>
                  <a:lnTo>
                    <a:pt x="278" y="3308"/>
                  </a:lnTo>
                  <a:lnTo>
                    <a:pt x="274" y="3308"/>
                  </a:lnTo>
                  <a:lnTo>
                    <a:pt x="274" y="3310"/>
                  </a:lnTo>
                  <a:lnTo>
                    <a:pt x="276" y="3314"/>
                  </a:lnTo>
                  <a:lnTo>
                    <a:pt x="276" y="3316"/>
                  </a:lnTo>
                  <a:lnTo>
                    <a:pt x="282" y="3320"/>
                  </a:lnTo>
                  <a:close/>
                  <a:moveTo>
                    <a:pt x="286" y="3348"/>
                  </a:moveTo>
                  <a:lnTo>
                    <a:pt x="286" y="3348"/>
                  </a:lnTo>
                  <a:lnTo>
                    <a:pt x="288" y="3348"/>
                  </a:lnTo>
                  <a:lnTo>
                    <a:pt x="290" y="3348"/>
                  </a:lnTo>
                  <a:lnTo>
                    <a:pt x="296" y="3344"/>
                  </a:lnTo>
                  <a:lnTo>
                    <a:pt x="294" y="3340"/>
                  </a:lnTo>
                  <a:lnTo>
                    <a:pt x="286" y="3334"/>
                  </a:lnTo>
                  <a:lnTo>
                    <a:pt x="282" y="3330"/>
                  </a:lnTo>
                  <a:lnTo>
                    <a:pt x="278" y="3330"/>
                  </a:lnTo>
                  <a:lnTo>
                    <a:pt x="276" y="3332"/>
                  </a:lnTo>
                  <a:lnTo>
                    <a:pt x="278" y="3334"/>
                  </a:lnTo>
                  <a:lnTo>
                    <a:pt x="278" y="3336"/>
                  </a:lnTo>
                  <a:lnTo>
                    <a:pt x="280" y="3336"/>
                  </a:lnTo>
                  <a:lnTo>
                    <a:pt x="282" y="3336"/>
                  </a:lnTo>
                  <a:lnTo>
                    <a:pt x="284" y="3336"/>
                  </a:lnTo>
                  <a:lnTo>
                    <a:pt x="284" y="3338"/>
                  </a:lnTo>
                  <a:lnTo>
                    <a:pt x="284" y="3340"/>
                  </a:lnTo>
                  <a:lnTo>
                    <a:pt x="284" y="3342"/>
                  </a:lnTo>
                  <a:lnTo>
                    <a:pt x="286" y="3348"/>
                  </a:lnTo>
                  <a:close/>
                  <a:moveTo>
                    <a:pt x="270" y="3286"/>
                  </a:moveTo>
                  <a:lnTo>
                    <a:pt x="270" y="3286"/>
                  </a:lnTo>
                  <a:lnTo>
                    <a:pt x="270" y="3280"/>
                  </a:lnTo>
                  <a:lnTo>
                    <a:pt x="268" y="3278"/>
                  </a:lnTo>
                  <a:lnTo>
                    <a:pt x="266" y="3278"/>
                  </a:lnTo>
                  <a:lnTo>
                    <a:pt x="262" y="3278"/>
                  </a:lnTo>
                  <a:lnTo>
                    <a:pt x="260" y="3280"/>
                  </a:lnTo>
                  <a:lnTo>
                    <a:pt x="256" y="3286"/>
                  </a:lnTo>
                  <a:lnTo>
                    <a:pt x="252" y="3292"/>
                  </a:lnTo>
                  <a:lnTo>
                    <a:pt x="254" y="3292"/>
                  </a:lnTo>
                  <a:lnTo>
                    <a:pt x="258" y="3292"/>
                  </a:lnTo>
                  <a:lnTo>
                    <a:pt x="262" y="3290"/>
                  </a:lnTo>
                  <a:lnTo>
                    <a:pt x="262" y="3288"/>
                  </a:lnTo>
                  <a:lnTo>
                    <a:pt x="264" y="3286"/>
                  </a:lnTo>
                  <a:lnTo>
                    <a:pt x="266" y="3286"/>
                  </a:lnTo>
                  <a:lnTo>
                    <a:pt x="266" y="3288"/>
                  </a:lnTo>
                  <a:lnTo>
                    <a:pt x="268" y="3290"/>
                  </a:lnTo>
                  <a:lnTo>
                    <a:pt x="270" y="3288"/>
                  </a:lnTo>
                  <a:lnTo>
                    <a:pt x="270" y="3286"/>
                  </a:lnTo>
                  <a:close/>
                  <a:moveTo>
                    <a:pt x="262" y="3260"/>
                  </a:moveTo>
                  <a:lnTo>
                    <a:pt x="262" y="3260"/>
                  </a:lnTo>
                  <a:lnTo>
                    <a:pt x="256" y="3260"/>
                  </a:lnTo>
                  <a:lnTo>
                    <a:pt x="254" y="3260"/>
                  </a:lnTo>
                  <a:lnTo>
                    <a:pt x="254" y="3262"/>
                  </a:lnTo>
                  <a:lnTo>
                    <a:pt x="256" y="3264"/>
                  </a:lnTo>
                  <a:lnTo>
                    <a:pt x="258" y="3266"/>
                  </a:lnTo>
                  <a:lnTo>
                    <a:pt x="260" y="3270"/>
                  </a:lnTo>
                  <a:lnTo>
                    <a:pt x="264" y="3272"/>
                  </a:lnTo>
                  <a:lnTo>
                    <a:pt x="266" y="3270"/>
                  </a:lnTo>
                  <a:lnTo>
                    <a:pt x="268" y="3268"/>
                  </a:lnTo>
                  <a:lnTo>
                    <a:pt x="270" y="3266"/>
                  </a:lnTo>
                  <a:lnTo>
                    <a:pt x="274" y="3266"/>
                  </a:lnTo>
                  <a:lnTo>
                    <a:pt x="276" y="3266"/>
                  </a:lnTo>
                  <a:lnTo>
                    <a:pt x="276" y="3258"/>
                  </a:lnTo>
                  <a:lnTo>
                    <a:pt x="274" y="3254"/>
                  </a:lnTo>
                  <a:lnTo>
                    <a:pt x="270" y="3250"/>
                  </a:lnTo>
                  <a:lnTo>
                    <a:pt x="268" y="3250"/>
                  </a:lnTo>
                  <a:lnTo>
                    <a:pt x="266" y="3252"/>
                  </a:lnTo>
                  <a:lnTo>
                    <a:pt x="268" y="3258"/>
                  </a:lnTo>
                  <a:lnTo>
                    <a:pt x="266" y="3260"/>
                  </a:lnTo>
                  <a:lnTo>
                    <a:pt x="262" y="3260"/>
                  </a:lnTo>
                  <a:close/>
                  <a:moveTo>
                    <a:pt x="236" y="3110"/>
                  </a:moveTo>
                  <a:lnTo>
                    <a:pt x="236" y="3110"/>
                  </a:lnTo>
                  <a:lnTo>
                    <a:pt x="238" y="3110"/>
                  </a:lnTo>
                  <a:lnTo>
                    <a:pt x="240" y="3112"/>
                  </a:lnTo>
                  <a:lnTo>
                    <a:pt x="240" y="3118"/>
                  </a:lnTo>
                  <a:lnTo>
                    <a:pt x="240" y="3126"/>
                  </a:lnTo>
                  <a:lnTo>
                    <a:pt x="242" y="3128"/>
                  </a:lnTo>
                  <a:lnTo>
                    <a:pt x="244" y="3128"/>
                  </a:lnTo>
                  <a:lnTo>
                    <a:pt x="248" y="3124"/>
                  </a:lnTo>
                  <a:lnTo>
                    <a:pt x="250" y="3120"/>
                  </a:lnTo>
                  <a:lnTo>
                    <a:pt x="244" y="3108"/>
                  </a:lnTo>
                  <a:lnTo>
                    <a:pt x="240" y="3102"/>
                  </a:lnTo>
                  <a:lnTo>
                    <a:pt x="240" y="3096"/>
                  </a:lnTo>
                  <a:lnTo>
                    <a:pt x="238" y="3090"/>
                  </a:lnTo>
                  <a:lnTo>
                    <a:pt x="236" y="3088"/>
                  </a:lnTo>
                  <a:lnTo>
                    <a:pt x="232" y="3090"/>
                  </a:lnTo>
                  <a:lnTo>
                    <a:pt x="230" y="3094"/>
                  </a:lnTo>
                  <a:lnTo>
                    <a:pt x="230" y="3098"/>
                  </a:lnTo>
                  <a:lnTo>
                    <a:pt x="232" y="3100"/>
                  </a:lnTo>
                  <a:lnTo>
                    <a:pt x="232" y="3104"/>
                  </a:lnTo>
                  <a:lnTo>
                    <a:pt x="230" y="3108"/>
                  </a:lnTo>
                  <a:lnTo>
                    <a:pt x="230" y="3110"/>
                  </a:lnTo>
                  <a:lnTo>
                    <a:pt x="232" y="3110"/>
                  </a:lnTo>
                  <a:lnTo>
                    <a:pt x="236" y="3110"/>
                  </a:lnTo>
                  <a:close/>
                  <a:moveTo>
                    <a:pt x="284" y="3278"/>
                  </a:moveTo>
                  <a:lnTo>
                    <a:pt x="284" y="3278"/>
                  </a:lnTo>
                  <a:lnTo>
                    <a:pt x="284" y="3276"/>
                  </a:lnTo>
                  <a:lnTo>
                    <a:pt x="284" y="3270"/>
                  </a:lnTo>
                  <a:lnTo>
                    <a:pt x="282" y="3264"/>
                  </a:lnTo>
                  <a:lnTo>
                    <a:pt x="280" y="3260"/>
                  </a:lnTo>
                  <a:lnTo>
                    <a:pt x="278" y="3264"/>
                  </a:lnTo>
                  <a:lnTo>
                    <a:pt x="278" y="3270"/>
                  </a:lnTo>
                  <a:lnTo>
                    <a:pt x="280" y="3276"/>
                  </a:lnTo>
                  <a:lnTo>
                    <a:pt x="282" y="3278"/>
                  </a:lnTo>
                  <a:lnTo>
                    <a:pt x="284" y="3278"/>
                  </a:lnTo>
                  <a:close/>
                  <a:moveTo>
                    <a:pt x="304" y="3362"/>
                  </a:moveTo>
                  <a:lnTo>
                    <a:pt x="304" y="3362"/>
                  </a:lnTo>
                  <a:lnTo>
                    <a:pt x="304" y="3358"/>
                  </a:lnTo>
                  <a:lnTo>
                    <a:pt x="304" y="3356"/>
                  </a:lnTo>
                  <a:lnTo>
                    <a:pt x="306" y="3354"/>
                  </a:lnTo>
                  <a:lnTo>
                    <a:pt x="304" y="3352"/>
                  </a:lnTo>
                  <a:lnTo>
                    <a:pt x="302" y="3350"/>
                  </a:lnTo>
                  <a:lnTo>
                    <a:pt x="300" y="3350"/>
                  </a:lnTo>
                  <a:lnTo>
                    <a:pt x="294" y="3356"/>
                  </a:lnTo>
                  <a:lnTo>
                    <a:pt x="292" y="3360"/>
                  </a:lnTo>
                  <a:lnTo>
                    <a:pt x="292" y="3362"/>
                  </a:lnTo>
                  <a:lnTo>
                    <a:pt x="296" y="3368"/>
                  </a:lnTo>
                  <a:lnTo>
                    <a:pt x="298" y="3368"/>
                  </a:lnTo>
                  <a:lnTo>
                    <a:pt x="300" y="3368"/>
                  </a:lnTo>
                  <a:lnTo>
                    <a:pt x="302" y="3366"/>
                  </a:lnTo>
                  <a:lnTo>
                    <a:pt x="304" y="3362"/>
                  </a:lnTo>
                  <a:close/>
                  <a:moveTo>
                    <a:pt x="262" y="3320"/>
                  </a:moveTo>
                  <a:lnTo>
                    <a:pt x="262" y="3320"/>
                  </a:lnTo>
                  <a:lnTo>
                    <a:pt x="260" y="3330"/>
                  </a:lnTo>
                  <a:lnTo>
                    <a:pt x="258" y="3332"/>
                  </a:lnTo>
                  <a:lnTo>
                    <a:pt x="260" y="3330"/>
                  </a:lnTo>
                  <a:lnTo>
                    <a:pt x="264" y="3328"/>
                  </a:lnTo>
                  <a:lnTo>
                    <a:pt x="268" y="3320"/>
                  </a:lnTo>
                  <a:lnTo>
                    <a:pt x="268" y="3316"/>
                  </a:lnTo>
                  <a:lnTo>
                    <a:pt x="266" y="3314"/>
                  </a:lnTo>
                  <a:lnTo>
                    <a:pt x="264" y="3314"/>
                  </a:lnTo>
                  <a:lnTo>
                    <a:pt x="262" y="3320"/>
                  </a:lnTo>
                  <a:close/>
                  <a:moveTo>
                    <a:pt x="276" y="3112"/>
                  </a:moveTo>
                  <a:lnTo>
                    <a:pt x="276" y="3112"/>
                  </a:lnTo>
                  <a:lnTo>
                    <a:pt x="286" y="3114"/>
                  </a:lnTo>
                  <a:lnTo>
                    <a:pt x="288" y="3114"/>
                  </a:lnTo>
                  <a:lnTo>
                    <a:pt x="290" y="3112"/>
                  </a:lnTo>
                  <a:lnTo>
                    <a:pt x="284" y="3110"/>
                  </a:lnTo>
                  <a:lnTo>
                    <a:pt x="276" y="3102"/>
                  </a:lnTo>
                  <a:lnTo>
                    <a:pt x="270" y="3096"/>
                  </a:lnTo>
                  <a:lnTo>
                    <a:pt x="270" y="3098"/>
                  </a:lnTo>
                  <a:lnTo>
                    <a:pt x="270" y="3102"/>
                  </a:lnTo>
                  <a:lnTo>
                    <a:pt x="272" y="3108"/>
                  </a:lnTo>
                  <a:lnTo>
                    <a:pt x="276" y="3112"/>
                  </a:lnTo>
                  <a:close/>
                  <a:moveTo>
                    <a:pt x="274" y="3270"/>
                  </a:moveTo>
                  <a:lnTo>
                    <a:pt x="274" y="3270"/>
                  </a:lnTo>
                  <a:lnTo>
                    <a:pt x="272" y="3270"/>
                  </a:lnTo>
                  <a:lnTo>
                    <a:pt x="270" y="3272"/>
                  </a:lnTo>
                  <a:lnTo>
                    <a:pt x="270" y="3274"/>
                  </a:lnTo>
                  <a:lnTo>
                    <a:pt x="272" y="3276"/>
                  </a:lnTo>
                  <a:lnTo>
                    <a:pt x="274" y="3278"/>
                  </a:lnTo>
                  <a:lnTo>
                    <a:pt x="276" y="3276"/>
                  </a:lnTo>
                  <a:lnTo>
                    <a:pt x="276" y="3272"/>
                  </a:lnTo>
                  <a:lnTo>
                    <a:pt x="274" y="3270"/>
                  </a:lnTo>
                  <a:close/>
                  <a:moveTo>
                    <a:pt x="246" y="3090"/>
                  </a:moveTo>
                  <a:lnTo>
                    <a:pt x="246" y="3090"/>
                  </a:lnTo>
                  <a:lnTo>
                    <a:pt x="250" y="3090"/>
                  </a:lnTo>
                  <a:lnTo>
                    <a:pt x="252" y="3090"/>
                  </a:lnTo>
                  <a:lnTo>
                    <a:pt x="254" y="3092"/>
                  </a:lnTo>
                  <a:lnTo>
                    <a:pt x="258" y="3092"/>
                  </a:lnTo>
                  <a:lnTo>
                    <a:pt x="260" y="3090"/>
                  </a:lnTo>
                  <a:lnTo>
                    <a:pt x="260" y="3084"/>
                  </a:lnTo>
                  <a:lnTo>
                    <a:pt x="260" y="3080"/>
                  </a:lnTo>
                  <a:lnTo>
                    <a:pt x="260" y="3076"/>
                  </a:lnTo>
                  <a:lnTo>
                    <a:pt x="258" y="3078"/>
                  </a:lnTo>
                  <a:lnTo>
                    <a:pt x="256" y="3080"/>
                  </a:lnTo>
                  <a:lnTo>
                    <a:pt x="252" y="3084"/>
                  </a:lnTo>
                  <a:lnTo>
                    <a:pt x="248" y="3086"/>
                  </a:lnTo>
                  <a:lnTo>
                    <a:pt x="244" y="3086"/>
                  </a:lnTo>
                  <a:lnTo>
                    <a:pt x="242" y="3088"/>
                  </a:lnTo>
                  <a:lnTo>
                    <a:pt x="242" y="3090"/>
                  </a:lnTo>
                  <a:lnTo>
                    <a:pt x="246" y="3090"/>
                  </a:lnTo>
                  <a:close/>
                  <a:moveTo>
                    <a:pt x="248" y="3074"/>
                  </a:moveTo>
                  <a:lnTo>
                    <a:pt x="248" y="3074"/>
                  </a:lnTo>
                  <a:lnTo>
                    <a:pt x="246" y="3072"/>
                  </a:lnTo>
                  <a:lnTo>
                    <a:pt x="244" y="3072"/>
                  </a:lnTo>
                  <a:lnTo>
                    <a:pt x="242" y="3074"/>
                  </a:lnTo>
                  <a:lnTo>
                    <a:pt x="244" y="3078"/>
                  </a:lnTo>
                  <a:lnTo>
                    <a:pt x="246" y="3080"/>
                  </a:lnTo>
                  <a:lnTo>
                    <a:pt x="248" y="3078"/>
                  </a:lnTo>
                  <a:lnTo>
                    <a:pt x="250" y="3076"/>
                  </a:lnTo>
                  <a:lnTo>
                    <a:pt x="248" y="3074"/>
                  </a:lnTo>
                  <a:close/>
                  <a:moveTo>
                    <a:pt x="252" y="3118"/>
                  </a:moveTo>
                  <a:lnTo>
                    <a:pt x="252" y="3118"/>
                  </a:lnTo>
                  <a:lnTo>
                    <a:pt x="252" y="3120"/>
                  </a:lnTo>
                  <a:lnTo>
                    <a:pt x="254" y="3122"/>
                  </a:lnTo>
                  <a:lnTo>
                    <a:pt x="266" y="3128"/>
                  </a:lnTo>
                  <a:lnTo>
                    <a:pt x="272" y="3128"/>
                  </a:lnTo>
                  <a:lnTo>
                    <a:pt x="274" y="3124"/>
                  </a:lnTo>
                  <a:lnTo>
                    <a:pt x="272" y="3124"/>
                  </a:lnTo>
                  <a:lnTo>
                    <a:pt x="270" y="3122"/>
                  </a:lnTo>
                  <a:lnTo>
                    <a:pt x="268" y="3118"/>
                  </a:lnTo>
                  <a:lnTo>
                    <a:pt x="270" y="3116"/>
                  </a:lnTo>
                  <a:lnTo>
                    <a:pt x="270" y="3114"/>
                  </a:lnTo>
                  <a:lnTo>
                    <a:pt x="270" y="3108"/>
                  </a:lnTo>
                  <a:lnTo>
                    <a:pt x="266" y="3100"/>
                  </a:lnTo>
                  <a:lnTo>
                    <a:pt x="264" y="3098"/>
                  </a:lnTo>
                  <a:lnTo>
                    <a:pt x="262" y="3102"/>
                  </a:lnTo>
                  <a:lnTo>
                    <a:pt x="262" y="3106"/>
                  </a:lnTo>
                  <a:lnTo>
                    <a:pt x="262" y="3108"/>
                  </a:lnTo>
                  <a:lnTo>
                    <a:pt x="262" y="3114"/>
                  </a:lnTo>
                  <a:lnTo>
                    <a:pt x="262" y="3116"/>
                  </a:lnTo>
                  <a:lnTo>
                    <a:pt x="260" y="3114"/>
                  </a:lnTo>
                  <a:lnTo>
                    <a:pt x="258" y="3114"/>
                  </a:lnTo>
                  <a:lnTo>
                    <a:pt x="252" y="3118"/>
                  </a:lnTo>
                  <a:close/>
                  <a:moveTo>
                    <a:pt x="246" y="3228"/>
                  </a:moveTo>
                  <a:lnTo>
                    <a:pt x="246" y="3228"/>
                  </a:lnTo>
                  <a:lnTo>
                    <a:pt x="248" y="3228"/>
                  </a:lnTo>
                  <a:lnTo>
                    <a:pt x="250" y="3228"/>
                  </a:lnTo>
                  <a:lnTo>
                    <a:pt x="252" y="3228"/>
                  </a:lnTo>
                  <a:lnTo>
                    <a:pt x="254" y="3228"/>
                  </a:lnTo>
                  <a:lnTo>
                    <a:pt x="256" y="3224"/>
                  </a:lnTo>
                  <a:lnTo>
                    <a:pt x="256" y="3222"/>
                  </a:lnTo>
                  <a:lnTo>
                    <a:pt x="258" y="3218"/>
                  </a:lnTo>
                  <a:lnTo>
                    <a:pt x="262" y="3216"/>
                  </a:lnTo>
                  <a:lnTo>
                    <a:pt x="262" y="3214"/>
                  </a:lnTo>
                  <a:lnTo>
                    <a:pt x="260" y="3214"/>
                  </a:lnTo>
                  <a:lnTo>
                    <a:pt x="256" y="3216"/>
                  </a:lnTo>
                  <a:lnTo>
                    <a:pt x="254" y="3216"/>
                  </a:lnTo>
                  <a:lnTo>
                    <a:pt x="254" y="3214"/>
                  </a:lnTo>
                  <a:lnTo>
                    <a:pt x="254" y="3212"/>
                  </a:lnTo>
                  <a:lnTo>
                    <a:pt x="252" y="3212"/>
                  </a:lnTo>
                  <a:lnTo>
                    <a:pt x="248" y="3210"/>
                  </a:lnTo>
                  <a:lnTo>
                    <a:pt x="246" y="3210"/>
                  </a:lnTo>
                  <a:lnTo>
                    <a:pt x="242" y="3208"/>
                  </a:lnTo>
                  <a:lnTo>
                    <a:pt x="238" y="3208"/>
                  </a:lnTo>
                  <a:lnTo>
                    <a:pt x="236" y="3208"/>
                  </a:lnTo>
                  <a:lnTo>
                    <a:pt x="236" y="3210"/>
                  </a:lnTo>
                  <a:lnTo>
                    <a:pt x="240" y="3212"/>
                  </a:lnTo>
                  <a:lnTo>
                    <a:pt x="244" y="3216"/>
                  </a:lnTo>
                  <a:lnTo>
                    <a:pt x="244" y="3218"/>
                  </a:lnTo>
                  <a:lnTo>
                    <a:pt x="242" y="3218"/>
                  </a:lnTo>
                  <a:lnTo>
                    <a:pt x="240" y="3218"/>
                  </a:lnTo>
                  <a:lnTo>
                    <a:pt x="236" y="3218"/>
                  </a:lnTo>
                  <a:lnTo>
                    <a:pt x="232" y="3222"/>
                  </a:lnTo>
                  <a:lnTo>
                    <a:pt x="232" y="3224"/>
                  </a:lnTo>
                  <a:lnTo>
                    <a:pt x="234" y="3226"/>
                  </a:lnTo>
                  <a:lnTo>
                    <a:pt x="238" y="3226"/>
                  </a:lnTo>
                  <a:lnTo>
                    <a:pt x="242" y="3226"/>
                  </a:lnTo>
                  <a:lnTo>
                    <a:pt x="240" y="3230"/>
                  </a:lnTo>
                  <a:lnTo>
                    <a:pt x="240" y="3232"/>
                  </a:lnTo>
                  <a:lnTo>
                    <a:pt x="242" y="3232"/>
                  </a:lnTo>
                  <a:lnTo>
                    <a:pt x="246" y="3228"/>
                  </a:lnTo>
                  <a:close/>
                  <a:moveTo>
                    <a:pt x="256" y="3248"/>
                  </a:moveTo>
                  <a:lnTo>
                    <a:pt x="256" y="3248"/>
                  </a:lnTo>
                  <a:lnTo>
                    <a:pt x="254" y="3250"/>
                  </a:lnTo>
                  <a:lnTo>
                    <a:pt x="254" y="3252"/>
                  </a:lnTo>
                  <a:lnTo>
                    <a:pt x="258" y="3256"/>
                  </a:lnTo>
                  <a:lnTo>
                    <a:pt x="262" y="3258"/>
                  </a:lnTo>
                  <a:lnTo>
                    <a:pt x="264" y="3258"/>
                  </a:lnTo>
                  <a:lnTo>
                    <a:pt x="264" y="3256"/>
                  </a:lnTo>
                  <a:lnTo>
                    <a:pt x="262" y="3252"/>
                  </a:lnTo>
                  <a:lnTo>
                    <a:pt x="260" y="3248"/>
                  </a:lnTo>
                  <a:lnTo>
                    <a:pt x="258" y="3248"/>
                  </a:lnTo>
                  <a:lnTo>
                    <a:pt x="256" y="3248"/>
                  </a:lnTo>
                  <a:close/>
                  <a:moveTo>
                    <a:pt x="254" y="3160"/>
                  </a:moveTo>
                  <a:lnTo>
                    <a:pt x="254" y="3160"/>
                  </a:lnTo>
                  <a:lnTo>
                    <a:pt x="256" y="3160"/>
                  </a:lnTo>
                  <a:lnTo>
                    <a:pt x="256" y="3154"/>
                  </a:lnTo>
                  <a:lnTo>
                    <a:pt x="254" y="3150"/>
                  </a:lnTo>
                  <a:lnTo>
                    <a:pt x="250" y="3150"/>
                  </a:lnTo>
                  <a:lnTo>
                    <a:pt x="246" y="3152"/>
                  </a:lnTo>
                  <a:lnTo>
                    <a:pt x="242" y="3154"/>
                  </a:lnTo>
                  <a:lnTo>
                    <a:pt x="242" y="3156"/>
                  </a:lnTo>
                  <a:lnTo>
                    <a:pt x="246" y="3156"/>
                  </a:lnTo>
                  <a:lnTo>
                    <a:pt x="248" y="3158"/>
                  </a:lnTo>
                  <a:lnTo>
                    <a:pt x="254" y="3160"/>
                  </a:lnTo>
                  <a:close/>
                  <a:moveTo>
                    <a:pt x="248" y="3146"/>
                  </a:moveTo>
                  <a:lnTo>
                    <a:pt x="248" y="3146"/>
                  </a:lnTo>
                  <a:lnTo>
                    <a:pt x="250" y="3144"/>
                  </a:lnTo>
                  <a:lnTo>
                    <a:pt x="250" y="3142"/>
                  </a:lnTo>
                  <a:lnTo>
                    <a:pt x="244" y="3136"/>
                  </a:lnTo>
                  <a:lnTo>
                    <a:pt x="242" y="3136"/>
                  </a:lnTo>
                  <a:lnTo>
                    <a:pt x="244" y="3142"/>
                  </a:lnTo>
                  <a:lnTo>
                    <a:pt x="246" y="3146"/>
                  </a:lnTo>
                  <a:lnTo>
                    <a:pt x="248" y="3146"/>
                  </a:lnTo>
                  <a:close/>
                  <a:moveTo>
                    <a:pt x="282" y="3246"/>
                  </a:moveTo>
                  <a:lnTo>
                    <a:pt x="282" y="3246"/>
                  </a:lnTo>
                  <a:lnTo>
                    <a:pt x="280" y="3242"/>
                  </a:lnTo>
                  <a:lnTo>
                    <a:pt x="278" y="3238"/>
                  </a:lnTo>
                  <a:lnTo>
                    <a:pt x="278" y="3236"/>
                  </a:lnTo>
                  <a:lnTo>
                    <a:pt x="276" y="3234"/>
                  </a:lnTo>
                  <a:lnTo>
                    <a:pt x="272" y="3232"/>
                  </a:lnTo>
                  <a:lnTo>
                    <a:pt x="270" y="3232"/>
                  </a:lnTo>
                  <a:lnTo>
                    <a:pt x="270" y="3234"/>
                  </a:lnTo>
                  <a:lnTo>
                    <a:pt x="272" y="3238"/>
                  </a:lnTo>
                  <a:lnTo>
                    <a:pt x="274" y="3240"/>
                  </a:lnTo>
                  <a:lnTo>
                    <a:pt x="272" y="3242"/>
                  </a:lnTo>
                  <a:lnTo>
                    <a:pt x="272" y="3244"/>
                  </a:lnTo>
                  <a:lnTo>
                    <a:pt x="276" y="3252"/>
                  </a:lnTo>
                  <a:lnTo>
                    <a:pt x="280" y="3256"/>
                  </a:lnTo>
                  <a:lnTo>
                    <a:pt x="284" y="3256"/>
                  </a:lnTo>
                  <a:lnTo>
                    <a:pt x="286" y="3254"/>
                  </a:lnTo>
                  <a:lnTo>
                    <a:pt x="286" y="3252"/>
                  </a:lnTo>
                  <a:lnTo>
                    <a:pt x="282" y="3246"/>
                  </a:lnTo>
                  <a:close/>
                  <a:moveTo>
                    <a:pt x="234" y="3130"/>
                  </a:moveTo>
                  <a:lnTo>
                    <a:pt x="234" y="3130"/>
                  </a:lnTo>
                  <a:lnTo>
                    <a:pt x="228" y="3130"/>
                  </a:lnTo>
                  <a:lnTo>
                    <a:pt x="226" y="3132"/>
                  </a:lnTo>
                  <a:lnTo>
                    <a:pt x="226" y="3134"/>
                  </a:lnTo>
                  <a:lnTo>
                    <a:pt x="228" y="3134"/>
                  </a:lnTo>
                  <a:lnTo>
                    <a:pt x="236" y="3132"/>
                  </a:lnTo>
                  <a:lnTo>
                    <a:pt x="240" y="3132"/>
                  </a:lnTo>
                  <a:lnTo>
                    <a:pt x="240" y="3130"/>
                  </a:lnTo>
                  <a:lnTo>
                    <a:pt x="238" y="3128"/>
                  </a:lnTo>
                  <a:lnTo>
                    <a:pt x="234" y="3130"/>
                  </a:lnTo>
                  <a:close/>
                  <a:moveTo>
                    <a:pt x="224" y="3120"/>
                  </a:moveTo>
                  <a:lnTo>
                    <a:pt x="224" y="3120"/>
                  </a:lnTo>
                  <a:lnTo>
                    <a:pt x="226" y="3124"/>
                  </a:lnTo>
                  <a:lnTo>
                    <a:pt x="228" y="3126"/>
                  </a:lnTo>
                  <a:lnTo>
                    <a:pt x="230" y="3128"/>
                  </a:lnTo>
                  <a:lnTo>
                    <a:pt x="236" y="3126"/>
                  </a:lnTo>
                  <a:lnTo>
                    <a:pt x="238" y="3124"/>
                  </a:lnTo>
                  <a:lnTo>
                    <a:pt x="236" y="3120"/>
                  </a:lnTo>
                  <a:lnTo>
                    <a:pt x="236" y="3116"/>
                  </a:lnTo>
                  <a:lnTo>
                    <a:pt x="234" y="3114"/>
                  </a:lnTo>
                  <a:lnTo>
                    <a:pt x="230" y="3116"/>
                  </a:lnTo>
                  <a:lnTo>
                    <a:pt x="228" y="3116"/>
                  </a:lnTo>
                  <a:lnTo>
                    <a:pt x="226" y="3116"/>
                  </a:lnTo>
                  <a:lnTo>
                    <a:pt x="224" y="3120"/>
                  </a:lnTo>
                  <a:close/>
                  <a:moveTo>
                    <a:pt x="232" y="3160"/>
                  </a:moveTo>
                  <a:lnTo>
                    <a:pt x="232" y="3160"/>
                  </a:lnTo>
                  <a:lnTo>
                    <a:pt x="234" y="3158"/>
                  </a:lnTo>
                  <a:lnTo>
                    <a:pt x="236" y="3156"/>
                  </a:lnTo>
                  <a:lnTo>
                    <a:pt x="238" y="3154"/>
                  </a:lnTo>
                  <a:lnTo>
                    <a:pt x="238" y="3152"/>
                  </a:lnTo>
                  <a:lnTo>
                    <a:pt x="236" y="3148"/>
                  </a:lnTo>
                  <a:lnTo>
                    <a:pt x="236" y="3150"/>
                  </a:lnTo>
                  <a:lnTo>
                    <a:pt x="234" y="3152"/>
                  </a:lnTo>
                  <a:lnTo>
                    <a:pt x="230" y="3154"/>
                  </a:lnTo>
                  <a:lnTo>
                    <a:pt x="228" y="3156"/>
                  </a:lnTo>
                  <a:lnTo>
                    <a:pt x="226" y="3158"/>
                  </a:lnTo>
                  <a:lnTo>
                    <a:pt x="226" y="3160"/>
                  </a:lnTo>
                  <a:lnTo>
                    <a:pt x="228" y="3162"/>
                  </a:lnTo>
                  <a:lnTo>
                    <a:pt x="232" y="3164"/>
                  </a:lnTo>
                  <a:lnTo>
                    <a:pt x="232" y="3160"/>
                  </a:lnTo>
                  <a:close/>
                  <a:moveTo>
                    <a:pt x="290" y="3322"/>
                  </a:moveTo>
                  <a:lnTo>
                    <a:pt x="290" y="3322"/>
                  </a:lnTo>
                  <a:lnTo>
                    <a:pt x="290" y="3324"/>
                  </a:lnTo>
                  <a:lnTo>
                    <a:pt x="292" y="3326"/>
                  </a:lnTo>
                  <a:lnTo>
                    <a:pt x="300" y="3334"/>
                  </a:lnTo>
                  <a:lnTo>
                    <a:pt x="304" y="3338"/>
                  </a:lnTo>
                  <a:lnTo>
                    <a:pt x="302" y="3332"/>
                  </a:lnTo>
                  <a:lnTo>
                    <a:pt x="296" y="3324"/>
                  </a:lnTo>
                  <a:lnTo>
                    <a:pt x="292" y="3322"/>
                  </a:lnTo>
                  <a:lnTo>
                    <a:pt x="290" y="3322"/>
                  </a:lnTo>
                  <a:close/>
                  <a:moveTo>
                    <a:pt x="246" y="3094"/>
                  </a:moveTo>
                  <a:lnTo>
                    <a:pt x="246" y="3094"/>
                  </a:lnTo>
                  <a:lnTo>
                    <a:pt x="244" y="3094"/>
                  </a:lnTo>
                  <a:lnTo>
                    <a:pt x="242" y="3094"/>
                  </a:lnTo>
                  <a:lnTo>
                    <a:pt x="242" y="3098"/>
                  </a:lnTo>
                  <a:lnTo>
                    <a:pt x="250" y="3112"/>
                  </a:lnTo>
                  <a:lnTo>
                    <a:pt x="252" y="3114"/>
                  </a:lnTo>
                  <a:lnTo>
                    <a:pt x="254" y="3112"/>
                  </a:lnTo>
                  <a:lnTo>
                    <a:pt x="256" y="3110"/>
                  </a:lnTo>
                  <a:lnTo>
                    <a:pt x="258" y="3110"/>
                  </a:lnTo>
                  <a:lnTo>
                    <a:pt x="258" y="3108"/>
                  </a:lnTo>
                  <a:lnTo>
                    <a:pt x="258" y="3102"/>
                  </a:lnTo>
                  <a:lnTo>
                    <a:pt x="258" y="3098"/>
                  </a:lnTo>
                  <a:lnTo>
                    <a:pt x="256" y="3096"/>
                  </a:lnTo>
                  <a:lnTo>
                    <a:pt x="246" y="3094"/>
                  </a:lnTo>
                  <a:close/>
                  <a:moveTo>
                    <a:pt x="294" y="3282"/>
                  </a:moveTo>
                  <a:lnTo>
                    <a:pt x="294" y="3282"/>
                  </a:lnTo>
                  <a:lnTo>
                    <a:pt x="294" y="3280"/>
                  </a:lnTo>
                  <a:lnTo>
                    <a:pt x="290" y="3278"/>
                  </a:lnTo>
                  <a:lnTo>
                    <a:pt x="288" y="3280"/>
                  </a:lnTo>
                  <a:lnTo>
                    <a:pt x="288" y="3284"/>
                  </a:lnTo>
                  <a:lnTo>
                    <a:pt x="290" y="3286"/>
                  </a:lnTo>
                  <a:lnTo>
                    <a:pt x="292" y="3286"/>
                  </a:lnTo>
                  <a:lnTo>
                    <a:pt x="294" y="3284"/>
                  </a:lnTo>
                  <a:lnTo>
                    <a:pt x="294" y="3282"/>
                  </a:lnTo>
                  <a:close/>
                  <a:moveTo>
                    <a:pt x="284" y="3284"/>
                  </a:moveTo>
                  <a:lnTo>
                    <a:pt x="284" y="3284"/>
                  </a:lnTo>
                  <a:lnTo>
                    <a:pt x="282" y="3284"/>
                  </a:lnTo>
                  <a:lnTo>
                    <a:pt x="282" y="3286"/>
                  </a:lnTo>
                  <a:lnTo>
                    <a:pt x="282" y="3288"/>
                  </a:lnTo>
                  <a:lnTo>
                    <a:pt x="286" y="3292"/>
                  </a:lnTo>
                  <a:lnTo>
                    <a:pt x="286" y="3288"/>
                  </a:lnTo>
                  <a:lnTo>
                    <a:pt x="286" y="3286"/>
                  </a:lnTo>
                  <a:lnTo>
                    <a:pt x="284" y="3284"/>
                  </a:lnTo>
                  <a:close/>
                  <a:moveTo>
                    <a:pt x="294" y="3312"/>
                  </a:moveTo>
                  <a:lnTo>
                    <a:pt x="294" y="3312"/>
                  </a:lnTo>
                  <a:lnTo>
                    <a:pt x="294" y="3310"/>
                  </a:lnTo>
                  <a:lnTo>
                    <a:pt x="294" y="3306"/>
                  </a:lnTo>
                  <a:lnTo>
                    <a:pt x="290" y="3298"/>
                  </a:lnTo>
                  <a:lnTo>
                    <a:pt x="288" y="3296"/>
                  </a:lnTo>
                  <a:lnTo>
                    <a:pt x="288" y="3298"/>
                  </a:lnTo>
                  <a:lnTo>
                    <a:pt x="288" y="3302"/>
                  </a:lnTo>
                  <a:lnTo>
                    <a:pt x="286" y="3306"/>
                  </a:lnTo>
                  <a:lnTo>
                    <a:pt x="284" y="3308"/>
                  </a:lnTo>
                  <a:lnTo>
                    <a:pt x="286" y="3312"/>
                  </a:lnTo>
                  <a:lnTo>
                    <a:pt x="290" y="3314"/>
                  </a:lnTo>
                  <a:lnTo>
                    <a:pt x="294" y="3312"/>
                  </a:lnTo>
                  <a:close/>
                  <a:moveTo>
                    <a:pt x="240" y="3200"/>
                  </a:moveTo>
                  <a:lnTo>
                    <a:pt x="240" y="3200"/>
                  </a:lnTo>
                  <a:lnTo>
                    <a:pt x="242" y="3200"/>
                  </a:lnTo>
                  <a:lnTo>
                    <a:pt x="242" y="3192"/>
                  </a:lnTo>
                  <a:lnTo>
                    <a:pt x="238" y="3184"/>
                  </a:lnTo>
                  <a:lnTo>
                    <a:pt x="236" y="3184"/>
                  </a:lnTo>
                  <a:lnTo>
                    <a:pt x="234" y="3184"/>
                  </a:lnTo>
                  <a:lnTo>
                    <a:pt x="230" y="3184"/>
                  </a:lnTo>
                  <a:lnTo>
                    <a:pt x="230" y="3186"/>
                  </a:lnTo>
                  <a:lnTo>
                    <a:pt x="230" y="3196"/>
                  </a:lnTo>
                  <a:lnTo>
                    <a:pt x="236" y="3194"/>
                  </a:lnTo>
                  <a:lnTo>
                    <a:pt x="238" y="3192"/>
                  </a:lnTo>
                  <a:lnTo>
                    <a:pt x="238" y="3194"/>
                  </a:lnTo>
                  <a:lnTo>
                    <a:pt x="238" y="3198"/>
                  </a:lnTo>
                  <a:lnTo>
                    <a:pt x="240" y="3200"/>
                  </a:lnTo>
                  <a:close/>
                  <a:moveTo>
                    <a:pt x="236" y="3146"/>
                  </a:moveTo>
                  <a:lnTo>
                    <a:pt x="236" y="3146"/>
                  </a:lnTo>
                  <a:lnTo>
                    <a:pt x="238" y="3146"/>
                  </a:lnTo>
                  <a:lnTo>
                    <a:pt x="240" y="3148"/>
                  </a:lnTo>
                  <a:lnTo>
                    <a:pt x="242" y="3148"/>
                  </a:lnTo>
                  <a:lnTo>
                    <a:pt x="242" y="3146"/>
                  </a:lnTo>
                  <a:lnTo>
                    <a:pt x="240" y="3142"/>
                  </a:lnTo>
                  <a:lnTo>
                    <a:pt x="236" y="3138"/>
                  </a:lnTo>
                  <a:lnTo>
                    <a:pt x="232" y="3138"/>
                  </a:lnTo>
                  <a:lnTo>
                    <a:pt x="228" y="3138"/>
                  </a:lnTo>
                  <a:lnTo>
                    <a:pt x="224" y="3140"/>
                  </a:lnTo>
                  <a:lnTo>
                    <a:pt x="224" y="3144"/>
                  </a:lnTo>
                  <a:lnTo>
                    <a:pt x="226" y="3146"/>
                  </a:lnTo>
                  <a:lnTo>
                    <a:pt x="230" y="3146"/>
                  </a:lnTo>
                  <a:lnTo>
                    <a:pt x="236" y="3146"/>
                  </a:lnTo>
                  <a:close/>
                  <a:moveTo>
                    <a:pt x="292" y="2928"/>
                  </a:moveTo>
                  <a:lnTo>
                    <a:pt x="292" y="2928"/>
                  </a:lnTo>
                  <a:lnTo>
                    <a:pt x="294" y="2930"/>
                  </a:lnTo>
                  <a:lnTo>
                    <a:pt x="296" y="2930"/>
                  </a:lnTo>
                  <a:lnTo>
                    <a:pt x="298" y="2930"/>
                  </a:lnTo>
                  <a:lnTo>
                    <a:pt x="302" y="2930"/>
                  </a:lnTo>
                  <a:lnTo>
                    <a:pt x="304" y="2930"/>
                  </a:lnTo>
                  <a:lnTo>
                    <a:pt x="306" y="2928"/>
                  </a:lnTo>
                  <a:lnTo>
                    <a:pt x="302" y="2918"/>
                  </a:lnTo>
                  <a:lnTo>
                    <a:pt x="300" y="2916"/>
                  </a:lnTo>
                  <a:lnTo>
                    <a:pt x="298" y="2916"/>
                  </a:lnTo>
                  <a:lnTo>
                    <a:pt x="294" y="2918"/>
                  </a:lnTo>
                  <a:lnTo>
                    <a:pt x="290" y="2918"/>
                  </a:lnTo>
                  <a:lnTo>
                    <a:pt x="286" y="2918"/>
                  </a:lnTo>
                  <a:lnTo>
                    <a:pt x="284" y="2920"/>
                  </a:lnTo>
                  <a:lnTo>
                    <a:pt x="284" y="2922"/>
                  </a:lnTo>
                  <a:lnTo>
                    <a:pt x="288" y="2924"/>
                  </a:lnTo>
                  <a:lnTo>
                    <a:pt x="290" y="2924"/>
                  </a:lnTo>
                  <a:lnTo>
                    <a:pt x="292" y="2928"/>
                  </a:lnTo>
                  <a:close/>
                  <a:moveTo>
                    <a:pt x="294" y="2944"/>
                  </a:moveTo>
                  <a:lnTo>
                    <a:pt x="294" y="2944"/>
                  </a:lnTo>
                  <a:lnTo>
                    <a:pt x="296" y="2944"/>
                  </a:lnTo>
                  <a:lnTo>
                    <a:pt x="298" y="2942"/>
                  </a:lnTo>
                  <a:lnTo>
                    <a:pt x="300" y="2940"/>
                  </a:lnTo>
                  <a:lnTo>
                    <a:pt x="298" y="2940"/>
                  </a:lnTo>
                  <a:lnTo>
                    <a:pt x="292" y="2940"/>
                  </a:lnTo>
                  <a:lnTo>
                    <a:pt x="290" y="2940"/>
                  </a:lnTo>
                  <a:lnTo>
                    <a:pt x="290" y="2942"/>
                  </a:lnTo>
                  <a:lnTo>
                    <a:pt x="288" y="2944"/>
                  </a:lnTo>
                  <a:lnTo>
                    <a:pt x="290" y="2944"/>
                  </a:lnTo>
                  <a:lnTo>
                    <a:pt x="294" y="2944"/>
                  </a:lnTo>
                  <a:close/>
                  <a:moveTo>
                    <a:pt x="278" y="2914"/>
                  </a:moveTo>
                  <a:lnTo>
                    <a:pt x="278" y="2914"/>
                  </a:lnTo>
                  <a:lnTo>
                    <a:pt x="278" y="2916"/>
                  </a:lnTo>
                  <a:lnTo>
                    <a:pt x="282" y="2916"/>
                  </a:lnTo>
                  <a:lnTo>
                    <a:pt x="286" y="2914"/>
                  </a:lnTo>
                  <a:lnTo>
                    <a:pt x="292" y="2914"/>
                  </a:lnTo>
                  <a:lnTo>
                    <a:pt x="294" y="2914"/>
                  </a:lnTo>
                  <a:lnTo>
                    <a:pt x="294" y="2912"/>
                  </a:lnTo>
                  <a:lnTo>
                    <a:pt x="288" y="2908"/>
                  </a:lnTo>
                  <a:lnTo>
                    <a:pt x="286" y="2908"/>
                  </a:lnTo>
                  <a:lnTo>
                    <a:pt x="282" y="2908"/>
                  </a:lnTo>
                  <a:lnTo>
                    <a:pt x="278" y="2914"/>
                  </a:lnTo>
                  <a:close/>
                  <a:moveTo>
                    <a:pt x="276" y="2888"/>
                  </a:moveTo>
                  <a:lnTo>
                    <a:pt x="276" y="2888"/>
                  </a:lnTo>
                  <a:lnTo>
                    <a:pt x="280" y="2886"/>
                  </a:lnTo>
                  <a:lnTo>
                    <a:pt x="282" y="2884"/>
                  </a:lnTo>
                  <a:lnTo>
                    <a:pt x="282" y="2882"/>
                  </a:lnTo>
                  <a:lnTo>
                    <a:pt x="282" y="2880"/>
                  </a:lnTo>
                  <a:lnTo>
                    <a:pt x="278" y="2880"/>
                  </a:lnTo>
                  <a:lnTo>
                    <a:pt x="272" y="2884"/>
                  </a:lnTo>
                  <a:lnTo>
                    <a:pt x="270" y="2884"/>
                  </a:lnTo>
                  <a:lnTo>
                    <a:pt x="270" y="2886"/>
                  </a:lnTo>
                  <a:lnTo>
                    <a:pt x="272" y="2888"/>
                  </a:lnTo>
                  <a:lnTo>
                    <a:pt x="276" y="2888"/>
                  </a:lnTo>
                  <a:close/>
                  <a:moveTo>
                    <a:pt x="282" y="2902"/>
                  </a:moveTo>
                  <a:lnTo>
                    <a:pt x="282" y="2902"/>
                  </a:lnTo>
                  <a:lnTo>
                    <a:pt x="284" y="2902"/>
                  </a:lnTo>
                  <a:lnTo>
                    <a:pt x="290" y="2900"/>
                  </a:lnTo>
                  <a:lnTo>
                    <a:pt x="296" y="2898"/>
                  </a:lnTo>
                  <a:lnTo>
                    <a:pt x="296" y="2896"/>
                  </a:lnTo>
                  <a:lnTo>
                    <a:pt x="294" y="2894"/>
                  </a:lnTo>
                  <a:lnTo>
                    <a:pt x="292" y="2894"/>
                  </a:lnTo>
                  <a:lnTo>
                    <a:pt x="282" y="2894"/>
                  </a:lnTo>
                  <a:lnTo>
                    <a:pt x="276" y="2894"/>
                  </a:lnTo>
                  <a:lnTo>
                    <a:pt x="276" y="2896"/>
                  </a:lnTo>
                  <a:lnTo>
                    <a:pt x="278" y="2900"/>
                  </a:lnTo>
                  <a:lnTo>
                    <a:pt x="282" y="2902"/>
                  </a:lnTo>
                  <a:close/>
                  <a:moveTo>
                    <a:pt x="296" y="2950"/>
                  </a:moveTo>
                  <a:lnTo>
                    <a:pt x="296" y="2950"/>
                  </a:lnTo>
                  <a:lnTo>
                    <a:pt x="294" y="2948"/>
                  </a:lnTo>
                  <a:lnTo>
                    <a:pt x="290" y="2950"/>
                  </a:lnTo>
                  <a:lnTo>
                    <a:pt x="290" y="2952"/>
                  </a:lnTo>
                  <a:lnTo>
                    <a:pt x="290" y="2954"/>
                  </a:lnTo>
                  <a:lnTo>
                    <a:pt x="292" y="2956"/>
                  </a:lnTo>
                  <a:lnTo>
                    <a:pt x="294" y="2954"/>
                  </a:lnTo>
                  <a:lnTo>
                    <a:pt x="296" y="2952"/>
                  </a:lnTo>
                  <a:lnTo>
                    <a:pt x="296" y="2950"/>
                  </a:lnTo>
                  <a:close/>
                  <a:moveTo>
                    <a:pt x="302" y="2888"/>
                  </a:moveTo>
                  <a:lnTo>
                    <a:pt x="302" y="2888"/>
                  </a:lnTo>
                  <a:lnTo>
                    <a:pt x="300" y="2890"/>
                  </a:lnTo>
                  <a:lnTo>
                    <a:pt x="300" y="2892"/>
                  </a:lnTo>
                  <a:lnTo>
                    <a:pt x="302" y="2898"/>
                  </a:lnTo>
                  <a:lnTo>
                    <a:pt x="304" y="2900"/>
                  </a:lnTo>
                  <a:lnTo>
                    <a:pt x="308" y="2898"/>
                  </a:lnTo>
                  <a:lnTo>
                    <a:pt x="310" y="2896"/>
                  </a:lnTo>
                  <a:lnTo>
                    <a:pt x="308" y="2894"/>
                  </a:lnTo>
                  <a:lnTo>
                    <a:pt x="306" y="2890"/>
                  </a:lnTo>
                  <a:lnTo>
                    <a:pt x="302" y="2888"/>
                  </a:lnTo>
                  <a:close/>
                  <a:moveTo>
                    <a:pt x="304" y="2856"/>
                  </a:moveTo>
                  <a:lnTo>
                    <a:pt x="304" y="2856"/>
                  </a:lnTo>
                  <a:lnTo>
                    <a:pt x="304" y="2858"/>
                  </a:lnTo>
                  <a:lnTo>
                    <a:pt x="304" y="2862"/>
                  </a:lnTo>
                  <a:lnTo>
                    <a:pt x="306" y="2864"/>
                  </a:lnTo>
                  <a:lnTo>
                    <a:pt x="308" y="2864"/>
                  </a:lnTo>
                  <a:lnTo>
                    <a:pt x="310" y="2862"/>
                  </a:lnTo>
                  <a:lnTo>
                    <a:pt x="308" y="2860"/>
                  </a:lnTo>
                  <a:lnTo>
                    <a:pt x="306" y="2856"/>
                  </a:lnTo>
                  <a:lnTo>
                    <a:pt x="304" y="2856"/>
                  </a:lnTo>
                  <a:close/>
                  <a:moveTo>
                    <a:pt x="300" y="2968"/>
                  </a:moveTo>
                  <a:lnTo>
                    <a:pt x="300" y="2968"/>
                  </a:lnTo>
                  <a:lnTo>
                    <a:pt x="304" y="2964"/>
                  </a:lnTo>
                  <a:lnTo>
                    <a:pt x="304" y="2962"/>
                  </a:lnTo>
                  <a:lnTo>
                    <a:pt x="304" y="2960"/>
                  </a:lnTo>
                  <a:lnTo>
                    <a:pt x="300" y="2962"/>
                  </a:lnTo>
                  <a:lnTo>
                    <a:pt x="298" y="2964"/>
                  </a:lnTo>
                  <a:lnTo>
                    <a:pt x="296" y="2968"/>
                  </a:lnTo>
                  <a:lnTo>
                    <a:pt x="296" y="2970"/>
                  </a:lnTo>
                  <a:lnTo>
                    <a:pt x="300" y="2968"/>
                  </a:lnTo>
                  <a:close/>
                  <a:moveTo>
                    <a:pt x="290" y="2888"/>
                  </a:moveTo>
                  <a:lnTo>
                    <a:pt x="290" y="2888"/>
                  </a:lnTo>
                  <a:lnTo>
                    <a:pt x="294" y="2888"/>
                  </a:lnTo>
                  <a:lnTo>
                    <a:pt x="294" y="2886"/>
                  </a:lnTo>
                  <a:lnTo>
                    <a:pt x="292" y="2884"/>
                  </a:lnTo>
                  <a:lnTo>
                    <a:pt x="290" y="2884"/>
                  </a:lnTo>
                  <a:lnTo>
                    <a:pt x="282" y="2888"/>
                  </a:lnTo>
                  <a:lnTo>
                    <a:pt x="280" y="2888"/>
                  </a:lnTo>
                  <a:lnTo>
                    <a:pt x="282" y="2890"/>
                  </a:lnTo>
                  <a:lnTo>
                    <a:pt x="290" y="2888"/>
                  </a:lnTo>
                  <a:close/>
                  <a:moveTo>
                    <a:pt x="250" y="2970"/>
                  </a:moveTo>
                  <a:lnTo>
                    <a:pt x="250" y="2970"/>
                  </a:lnTo>
                  <a:lnTo>
                    <a:pt x="250" y="2972"/>
                  </a:lnTo>
                  <a:lnTo>
                    <a:pt x="248" y="2974"/>
                  </a:lnTo>
                  <a:lnTo>
                    <a:pt x="248" y="2978"/>
                  </a:lnTo>
                  <a:lnTo>
                    <a:pt x="252" y="2980"/>
                  </a:lnTo>
                  <a:lnTo>
                    <a:pt x="254" y="2980"/>
                  </a:lnTo>
                  <a:lnTo>
                    <a:pt x="260" y="2974"/>
                  </a:lnTo>
                  <a:lnTo>
                    <a:pt x="262" y="2972"/>
                  </a:lnTo>
                  <a:lnTo>
                    <a:pt x="262" y="2968"/>
                  </a:lnTo>
                  <a:lnTo>
                    <a:pt x="262" y="2964"/>
                  </a:lnTo>
                  <a:lnTo>
                    <a:pt x="260" y="2962"/>
                  </a:lnTo>
                  <a:lnTo>
                    <a:pt x="256" y="2962"/>
                  </a:lnTo>
                  <a:lnTo>
                    <a:pt x="250" y="2966"/>
                  </a:lnTo>
                  <a:lnTo>
                    <a:pt x="248" y="2966"/>
                  </a:lnTo>
                  <a:lnTo>
                    <a:pt x="250" y="2970"/>
                  </a:lnTo>
                  <a:close/>
                  <a:moveTo>
                    <a:pt x="540" y="3562"/>
                  </a:moveTo>
                  <a:lnTo>
                    <a:pt x="540" y="3562"/>
                  </a:lnTo>
                  <a:lnTo>
                    <a:pt x="544" y="3562"/>
                  </a:lnTo>
                  <a:lnTo>
                    <a:pt x="548" y="3562"/>
                  </a:lnTo>
                  <a:lnTo>
                    <a:pt x="554" y="3560"/>
                  </a:lnTo>
                  <a:lnTo>
                    <a:pt x="554" y="3558"/>
                  </a:lnTo>
                  <a:lnTo>
                    <a:pt x="552" y="3558"/>
                  </a:lnTo>
                  <a:lnTo>
                    <a:pt x="546" y="3558"/>
                  </a:lnTo>
                  <a:lnTo>
                    <a:pt x="542" y="3560"/>
                  </a:lnTo>
                  <a:lnTo>
                    <a:pt x="540" y="3562"/>
                  </a:lnTo>
                  <a:close/>
                  <a:moveTo>
                    <a:pt x="560" y="3548"/>
                  </a:moveTo>
                  <a:lnTo>
                    <a:pt x="560" y="3548"/>
                  </a:lnTo>
                  <a:lnTo>
                    <a:pt x="558" y="3550"/>
                  </a:lnTo>
                  <a:lnTo>
                    <a:pt x="556" y="3548"/>
                  </a:lnTo>
                  <a:lnTo>
                    <a:pt x="554" y="3550"/>
                  </a:lnTo>
                  <a:lnTo>
                    <a:pt x="552" y="3552"/>
                  </a:lnTo>
                  <a:lnTo>
                    <a:pt x="554" y="3554"/>
                  </a:lnTo>
                  <a:lnTo>
                    <a:pt x="560" y="3556"/>
                  </a:lnTo>
                  <a:lnTo>
                    <a:pt x="562" y="3556"/>
                  </a:lnTo>
                  <a:lnTo>
                    <a:pt x="564" y="3556"/>
                  </a:lnTo>
                  <a:lnTo>
                    <a:pt x="562" y="3548"/>
                  </a:lnTo>
                  <a:lnTo>
                    <a:pt x="560" y="3544"/>
                  </a:lnTo>
                  <a:lnTo>
                    <a:pt x="560" y="3546"/>
                  </a:lnTo>
                  <a:lnTo>
                    <a:pt x="560" y="3548"/>
                  </a:lnTo>
                  <a:close/>
                  <a:moveTo>
                    <a:pt x="556" y="3506"/>
                  </a:moveTo>
                  <a:lnTo>
                    <a:pt x="556" y="3506"/>
                  </a:lnTo>
                  <a:lnTo>
                    <a:pt x="530" y="3504"/>
                  </a:lnTo>
                  <a:lnTo>
                    <a:pt x="522" y="3504"/>
                  </a:lnTo>
                  <a:lnTo>
                    <a:pt x="522" y="3506"/>
                  </a:lnTo>
                  <a:lnTo>
                    <a:pt x="526" y="3508"/>
                  </a:lnTo>
                  <a:lnTo>
                    <a:pt x="528" y="3510"/>
                  </a:lnTo>
                  <a:lnTo>
                    <a:pt x="528" y="3512"/>
                  </a:lnTo>
                  <a:lnTo>
                    <a:pt x="528" y="3516"/>
                  </a:lnTo>
                  <a:lnTo>
                    <a:pt x="530" y="3522"/>
                  </a:lnTo>
                  <a:lnTo>
                    <a:pt x="532" y="3524"/>
                  </a:lnTo>
                  <a:lnTo>
                    <a:pt x="536" y="3524"/>
                  </a:lnTo>
                  <a:lnTo>
                    <a:pt x="546" y="3524"/>
                  </a:lnTo>
                  <a:lnTo>
                    <a:pt x="550" y="3524"/>
                  </a:lnTo>
                  <a:lnTo>
                    <a:pt x="550" y="3522"/>
                  </a:lnTo>
                  <a:lnTo>
                    <a:pt x="550" y="3520"/>
                  </a:lnTo>
                  <a:lnTo>
                    <a:pt x="554" y="3518"/>
                  </a:lnTo>
                  <a:lnTo>
                    <a:pt x="556" y="3520"/>
                  </a:lnTo>
                  <a:lnTo>
                    <a:pt x="558" y="3524"/>
                  </a:lnTo>
                  <a:lnTo>
                    <a:pt x="558" y="3526"/>
                  </a:lnTo>
                  <a:lnTo>
                    <a:pt x="562" y="3528"/>
                  </a:lnTo>
                  <a:lnTo>
                    <a:pt x="566" y="3526"/>
                  </a:lnTo>
                  <a:lnTo>
                    <a:pt x="568" y="3524"/>
                  </a:lnTo>
                  <a:lnTo>
                    <a:pt x="572" y="3514"/>
                  </a:lnTo>
                  <a:lnTo>
                    <a:pt x="572" y="3512"/>
                  </a:lnTo>
                  <a:lnTo>
                    <a:pt x="572" y="3508"/>
                  </a:lnTo>
                  <a:lnTo>
                    <a:pt x="568" y="3506"/>
                  </a:lnTo>
                  <a:lnTo>
                    <a:pt x="562" y="3506"/>
                  </a:lnTo>
                  <a:lnTo>
                    <a:pt x="556" y="3506"/>
                  </a:lnTo>
                  <a:close/>
                  <a:moveTo>
                    <a:pt x="522" y="3532"/>
                  </a:moveTo>
                  <a:lnTo>
                    <a:pt x="522" y="3532"/>
                  </a:lnTo>
                  <a:lnTo>
                    <a:pt x="516" y="3528"/>
                  </a:lnTo>
                  <a:lnTo>
                    <a:pt x="520" y="3528"/>
                  </a:lnTo>
                  <a:lnTo>
                    <a:pt x="524" y="3526"/>
                  </a:lnTo>
                  <a:lnTo>
                    <a:pt x="524" y="3524"/>
                  </a:lnTo>
                  <a:lnTo>
                    <a:pt x="518" y="3520"/>
                  </a:lnTo>
                  <a:lnTo>
                    <a:pt x="510" y="3520"/>
                  </a:lnTo>
                  <a:lnTo>
                    <a:pt x="506" y="3520"/>
                  </a:lnTo>
                  <a:lnTo>
                    <a:pt x="506" y="3518"/>
                  </a:lnTo>
                  <a:lnTo>
                    <a:pt x="514" y="3516"/>
                  </a:lnTo>
                  <a:lnTo>
                    <a:pt x="520" y="3514"/>
                  </a:lnTo>
                  <a:lnTo>
                    <a:pt x="520" y="3512"/>
                  </a:lnTo>
                  <a:lnTo>
                    <a:pt x="520" y="3510"/>
                  </a:lnTo>
                  <a:lnTo>
                    <a:pt x="518" y="3508"/>
                  </a:lnTo>
                  <a:lnTo>
                    <a:pt x="512" y="3506"/>
                  </a:lnTo>
                  <a:lnTo>
                    <a:pt x="504" y="3506"/>
                  </a:lnTo>
                  <a:lnTo>
                    <a:pt x="498" y="3508"/>
                  </a:lnTo>
                  <a:lnTo>
                    <a:pt x="490" y="3508"/>
                  </a:lnTo>
                  <a:lnTo>
                    <a:pt x="486" y="3508"/>
                  </a:lnTo>
                  <a:lnTo>
                    <a:pt x="478" y="3510"/>
                  </a:lnTo>
                  <a:lnTo>
                    <a:pt x="462" y="3514"/>
                  </a:lnTo>
                  <a:lnTo>
                    <a:pt x="454" y="3516"/>
                  </a:lnTo>
                  <a:lnTo>
                    <a:pt x="454" y="3518"/>
                  </a:lnTo>
                  <a:lnTo>
                    <a:pt x="464" y="3524"/>
                  </a:lnTo>
                  <a:lnTo>
                    <a:pt x="466" y="3526"/>
                  </a:lnTo>
                  <a:lnTo>
                    <a:pt x="462" y="3528"/>
                  </a:lnTo>
                  <a:lnTo>
                    <a:pt x="470" y="3532"/>
                  </a:lnTo>
                  <a:lnTo>
                    <a:pt x="476" y="3534"/>
                  </a:lnTo>
                  <a:lnTo>
                    <a:pt x="480" y="3536"/>
                  </a:lnTo>
                  <a:lnTo>
                    <a:pt x="486" y="3540"/>
                  </a:lnTo>
                  <a:lnTo>
                    <a:pt x="490" y="3540"/>
                  </a:lnTo>
                  <a:lnTo>
                    <a:pt x="490" y="3538"/>
                  </a:lnTo>
                  <a:lnTo>
                    <a:pt x="482" y="3530"/>
                  </a:lnTo>
                  <a:lnTo>
                    <a:pt x="480" y="3526"/>
                  </a:lnTo>
                  <a:lnTo>
                    <a:pt x="482" y="3524"/>
                  </a:lnTo>
                  <a:lnTo>
                    <a:pt x="486" y="3524"/>
                  </a:lnTo>
                  <a:lnTo>
                    <a:pt x="490" y="3524"/>
                  </a:lnTo>
                  <a:lnTo>
                    <a:pt x="494" y="3524"/>
                  </a:lnTo>
                  <a:lnTo>
                    <a:pt x="498" y="3524"/>
                  </a:lnTo>
                  <a:lnTo>
                    <a:pt x="500" y="3524"/>
                  </a:lnTo>
                  <a:lnTo>
                    <a:pt x="496" y="3532"/>
                  </a:lnTo>
                  <a:lnTo>
                    <a:pt x="496" y="3536"/>
                  </a:lnTo>
                  <a:lnTo>
                    <a:pt x="500" y="3540"/>
                  </a:lnTo>
                  <a:lnTo>
                    <a:pt x="502" y="3540"/>
                  </a:lnTo>
                  <a:lnTo>
                    <a:pt x="506" y="3538"/>
                  </a:lnTo>
                  <a:lnTo>
                    <a:pt x="510" y="3536"/>
                  </a:lnTo>
                  <a:lnTo>
                    <a:pt x="512" y="3538"/>
                  </a:lnTo>
                  <a:lnTo>
                    <a:pt x="514" y="3540"/>
                  </a:lnTo>
                  <a:lnTo>
                    <a:pt x="518" y="3540"/>
                  </a:lnTo>
                  <a:lnTo>
                    <a:pt x="522" y="3542"/>
                  </a:lnTo>
                  <a:lnTo>
                    <a:pt x="522" y="3544"/>
                  </a:lnTo>
                  <a:lnTo>
                    <a:pt x="524" y="3548"/>
                  </a:lnTo>
                  <a:lnTo>
                    <a:pt x="526" y="3548"/>
                  </a:lnTo>
                  <a:lnTo>
                    <a:pt x="528" y="3550"/>
                  </a:lnTo>
                  <a:lnTo>
                    <a:pt x="532" y="3554"/>
                  </a:lnTo>
                  <a:lnTo>
                    <a:pt x="534" y="3552"/>
                  </a:lnTo>
                  <a:lnTo>
                    <a:pt x="534" y="3548"/>
                  </a:lnTo>
                  <a:lnTo>
                    <a:pt x="534" y="3544"/>
                  </a:lnTo>
                  <a:lnTo>
                    <a:pt x="532" y="3542"/>
                  </a:lnTo>
                  <a:lnTo>
                    <a:pt x="532" y="3538"/>
                  </a:lnTo>
                  <a:lnTo>
                    <a:pt x="530" y="3536"/>
                  </a:lnTo>
                  <a:lnTo>
                    <a:pt x="522" y="3532"/>
                  </a:lnTo>
                  <a:close/>
                  <a:moveTo>
                    <a:pt x="476" y="3508"/>
                  </a:moveTo>
                  <a:lnTo>
                    <a:pt x="476" y="3508"/>
                  </a:lnTo>
                  <a:lnTo>
                    <a:pt x="484" y="3506"/>
                  </a:lnTo>
                  <a:lnTo>
                    <a:pt x="484" y="3504"/>
                  </a:lnTo>
                  <a:lnTo>
                    <a:pt x="472" y="3502"/>
                  </a:lnTo>
                  <a:lnTo>
                    <a:pt x="464" y="3502"/>
                  </a:lnTo>
                  <a:lnTo>
                    <a:pt x="458" y="3502"/>
                  </a:lnTo>
                  <a:lnTo>
                    <a:pt x="450" y="3506"/>
                  </a:lnTo>
                  <a:lnTo>
                    <a:pt x="448" y="3508"/>
                  </a:lnTo>
                  <a:lnTo>
                    <a:pt x="456" y="3510"/>
                  </a:lnTo>
                  <a:lnTo>
                    <a:pt x="462" y="3510"/>
                  </a:lnTo>
                  <a:lnTo>
                    <a:pt x="476" y="3508"/>
                  </a:lnTo>
                  <a:close/>
                  <a:moveTo>
                    <a:pt x="572" y="3528"/>
                  </a:moveTo>
                  <a:lnTo>
                    <a:pt x="572" y="3528"/>
                  </a:lnTo>
                  <a:lnTo>
                    <a:pt x="574" y="3530"/>
                  </a:lnTo>
                  <a:lnTo>
                    <a:pt x="578" y="3530"/>
                  </a:lnTo>
                  <a:lnTo>
                    <a:pt x="580" y="3528"/>
                  </a:lnTo>
                  <a:lnTo>
                    <a:pt x="582" y="3524"/>
                  </a:lnTo>
                  <a:lnTo>
                    <a:pt x="580" y="3522"/>
                  </a:lnTo>
                  <a:lnTo>
                    <a:pt x="578" y="3522"/>
                  </a:lnTo>
                  <a:lnTo>
                    <a:pt x="574" y="3524"/>
                  </a:lnTo>
                  <a:lnTo>
                    <a:pt x="572" y="3528"/>
                  </a:lnTo>
                  <a:close/>
                  <a:moveTo>
                    <a:pt x="636" y="3486"/>
                  </a:moveTo>
                  <a:lnTo>
                    <a:pt x="636" y="3486"/>
                  </a:lnTo>
                  <a:lnTo>
                    <a:pt x="628" y="3488"/>
                  </a:lnTo>
                  <a:lnTo>
                    <a:pt x="622" y="3486"/>
                  </a:lnTo>
                  <a:lnTo>
                    <a:pt x="616" y="3484"/>
                  </a:lnTo>
                  <a:lnTo>
                    <a:pt x="610" y="3482"/>
                  </a:lnTo>
                  <a:lnTo>
                    <a:pt x="602" y="3478"/>
                  </a:lnTo>
                  <a:lnTo>
                    <a:pt x="594" y="3470"/>
                  </a:lnTo>
                  <a:lnTo>
                    <a:pt x="584" y="3462"/>
                  </a:lnTo>
                  <a:lnTo>
                    <a:pt x="574" y="3456"/>
                  </a:lnTo>
                  <a:lnTo>
                    <a:pt x="562" y="3448"/>
                  </a:lnTo>
                  <a:lnTo>
                    <a:pt x="548" y="3436"/>
                  </a:lnTo>
                  <a:lnTo>
                    <a:pt x="538" y="3424"/>
                  </a:lnTo>
                  <a:lnTo>
                    <a:pt x="532" y="3414"/>
                  </a:lnTo>
                  <a:lnTo>
                    <a:pt x="530" y="3404"/>
                  </a:lnTo>
                  <a:lnTo>
                    <a:pt x="528" y="3404"/>
                  </a:lnTo>
                  <a:lnTo>
                    <a:pt x="522" y="3402"/>
                  </a:lnTo>
                  <a:lnTo>
                    <a:pt x="516" y="3402"/>
                  </a:lnTo>
                  <a:lnTo>
                    <a:pt x="514" y="3400"/>
                  </a:lnTo>
                  <a:lnTo>
                    <a:pt x="512" y="3396"/>
                  </a:lnTo>
                  <a:lnTo>
                    <a:pt x="516" y="3390"/>
                  </a:lnTo>
                  <a:lnTo>
                    <a:pt x="520" y="3386"/>
                  </a:lnTo>
                  <a:lnTo>
                    <a:pt x="522" y="3386"/>
                  </a:lnTo>
                  <a:lnTo>
                    <a:pt x="524" y="3390"/>
                  </a:lnTo>
                  <a:lnTo>
                    <a:pt x="524" y="3392"/>
                  </a:lnTo>
                  <a:lnTo>
                    <a:pt x="526" y="3394"/>
                  </a:lnTo>
                  <a:lnTo>
                    <a:pt x="528" y="3392"/>
                  </a:lnTo>
                  <a:lnTo>
                    <a:pt x="528" y="3388"/>
                  </a:lnTo>
                  <a:lnTo>
                    <a:pt x="524" y="3380"/>
                  </a:lnTo>
                  <a:lnTo>
                    <a:pt x="510" y="3364"/>
                  </a:lnTo>
                  <a:lnTo>
                    <a:pt x="510" y="3502"/>
                  </a:lnTo>
                  <a:lnTo>
                    <a:pt x="518" y="3498"/>
                  </a:lnTo>
                  <a:lnTo>
                    <a:pt x="520" y="3496"/>
                  </a:lnTo>
                  <a:lnTo>
                    <a:pt x="522" y="3496"/>
                  </a:lnTo>
                  <a:lnTo>
                    <a:pt x="530" y="3498"/>
                  </a:lnTo>
                  <a:lnTo>
                    <a:pt x="544" y="3500"/>
                  </a:lnTo>
                  <a:lnTo>
                    <a:pt x="560" y="3502"/>
                  </a:lnTo>
                  <a:lnTo>
                    <a:pt x="576" y="3504"/>
                  </a:lnTo>
                  <a:lnTo>
                    <a:pt x="584" y="3506"/>
                  </a:lnTo>
                  <a:lnTo>
                    <a:pt x="588" y="3508"/>
                  </a:lnTo>
                  <a:lnTo>
                    <a:pt x="596" y="3512"/>
                  </a:lnTo>
                  <a:lnTo>
                    <a:pt x="598" y="3510"/>
                  </a:lnTo>
                  <a:lnTo>
                    <a:pt x="602" y="3508"/>
                  </a:lnTo>
                  <a:lnTo>
                    <a:pt x="606" y="3506"/>
                  </a:lnTo>
                  <a:lnTo>
                    <a:pt x="614" y="3506"/>
                  </a:lnTo>
                  <a:lnTo>
                    <a:pt x="620" y="3502"/>
                  </a:lnTo>
                  <a:lnTo>
                    <a:pt x="624" y="3500"/>
                  </a:lnTo>
                  <a:lnTo>
                    <a:pt x="626" y="3502"/>
                  </a:lnTo>
                  <a:lnTo>
                    <a:pt x="630" y="3506"/>
                  </a:lnTo>
                  <a:lnTo>
                    <a:pt x="632" y="3504"/>
                  </a:lnTo>
                  <a:lnTo>
                    <a:pt x="634" y="3502"/>
                  </a:lnTo>
                  <a:lnTo>
                    <a:pt x="638" y="3502"/>
                  </a:lnTo>
                  <a:lnTo>
                    <a:pt x="640" y="3502"/>
                  </a:lnTo>
                  <a:lnTo>
                    <a:pt x="642" y="3502"/>
                  </a:lnTo>
                  <a:lnTo>
                    <a:pt x="646" y="3494"/>
                  </a:lnTo>
                  <a:lnTo>
                    <a:pt x="648" y="3488"/>
                  </a:lnTo>
                  <a:lnTo>
                    <a:pt x="648" y="3486"/>
                  </a:lnTo>
                  <a:lnTo>
                    <a:pt x="642" y="3486"/>
                  </a:lnTo>
                  <a:lnTo>
                    <a:pt x="636" y="3486"/>
                  </a:lnTo>
                  <a:close/>
                  <a:moveTo>
                    <a:pt x="436" y="3502"/>
                  </a:moveTo>
                  <a:lnTo>
                    <a:pt x="436" y="3502"/>
                  </a:lnTo>
                  <a:lnTo>
                    <a:pt x="428" y="3504"/>
                  </a:lnTo>
                  <a:lnTo>
                    <a:pt x="426" y="3506"/>
                  </a:lnTo>
                  <a:lnTo>
                    <a:pt x="420" y="3506"/>
                  </a:lnTo>
                  <a:lnTo>
                    <a:pt x="414" y="3506"/>
                  </a:lnTo>
                  <a:lnTo>
                    <a:pt x="414" y="3508"/>
                  </a:lnTo>
                  <a:lnTo>
                    <a:pt x="414" y="3510"/>
                  </a:lnTo>
                  <a:lnTo>
                    <a:pt x="416" y="3514"/>
                  </a:lnTo>
                  <a:lnTo>
                    <a:pt x="418" y="3514"/>
                  </a:lnTo>
                  <a:lnTo>
                    <a:pt x="428" y="3516"/>
                  </a:lnTo>
                  <a:lnTo>
                    <a:pt x="430" y="3516"/>
                  </a:lnTo>
                  <a:lnTo>
                    <a:pt x="432" y="3518"/>
                  </a:lnTo>
                  <a:lnTo>
                    <a:pt x="432" y="3520"/>
                  </a:lnTo>
                  <a:lnTo>
                    <a:pt x="432" y="3522"/>
                  </a:lnTo>
                  <a:lnTo>
                    <a:pt x="436" y="3522"/>
                  </a:lnTo>
                  <a:lnTo>
                    <a:pt x="442" y="3518"/>
                  </a:lnTo>
                  <a:lnTo>
                    <a:pt x="442" y="3516"/>
                  </a:lnTo>
                  <a:lnTo>
                    <a:pt x="442" y="3512"/>
                  </a:lnTo>
                  <a:lnTo>
                    <a:pt x="438" y="3512"/>
                  </a:lnTo>
                  <a:lnTo>
                    <a:pt x="432" y="3510"/>
                  </a:lnTo>
                  <a:lnTo>
                    <a:pt x="434" y="3508"/>
                  </a:lnTo>
                  <a:lnTo>
                    <a:pt x="438" y="3508"/>
                  </a:lnTo>
                  <a:lnTo>
                    <a:pt x="442" y="3506"/>
                  </a:lnTo>
                  <a:lnTo>
                    <a:pt x="444" y="3504"/>
                  </a:lnTo>
                  <a:lnTo>
                    <a:pt x="440" y="3504"/>
                  </a:lnTo>
                  <a:lnTo>
                    <a:pt x="436" y="3502"/>
                  </a:lnTo>
                  <a:close/>
                  <a:moveTo>
                    <a:pt x="290" y="2874"/>
                  </a:moveTo>
                  <a:lnTo>
                    <a:pt x="290" y="2874"/>
                  </a:lnTo>
                  <a:lnTo>
                    <a:pt x="292" y="2876"/>
                  </a:lnTo>
                  <a:lnTo>
                    <a:pt x="294" y="2874"/>
                  </a:lnTo>
                  <a:lnTo>
                    <a:pt x="294" y="2872"/>
                  </a:lnTo>
                  <a:lnTo>
                    <a:pt x="294" y="2870"/>
                  </a:lnTo>
                  <a:lnTo>
                    <a:pt x="290" y="2868"/>
                  </a:lnTo>
                  <a:lnTo>
                    <a:pt x="290" y="2874"/>
                  </a:lnTo>
                  <a:close/>
                  <a:moveTo>
                    <a:pt x="592" y="3524"/>
                  </a:moveTo>
                  <a:lnTo>
                    <a:pt x="592" y="3524"/>
                  </a:lnTo>
                  <a:lnTo>
                    <a:pt x="596" y="3524"/>
                  </a:lnTo>
                  <a:lnTo>
                    <a:pt x="598" y="3524"/>
                  </a:lnTo>
                  <a:lnTo>
                    <a:pt x="598" y="3522"/>
                  </a:lnTo>
                  <a:lnTo>
                    <a:pt x="596" y="3518"/>
                  </a:lnTo>
                  <a:lnTo>
                    <a:pt x="594" y="3518"/>
                  </a:lnTo>
                  <a:lnTo>
                    <a:pt x="590" y="3520"/>
                  </a:lnTo>
                  <a:lnTo>
                    <a:pt x="590" y="3522"/>
                  </a:lnTo>
                  <a:lnTo>
                    <a:pt x="592" y="3524"/>
                  </a:lnTo>
                  <a:close/>
                  <a:moveTo>
                    <a:pt x="310" y="3406"/>
                  </a:moveTo>
                  <a:lnTo>
                    <a:pt x="310" y="3406"/>
                  </a:lnTo>
                  <a:lnTo>
                    <a:pt x="314" y="3406"/>
                  </a:lnTo>
                  <a:lnTo>
                    <a:pt x="318" y="3406"/>
                  </a:lnTo>
                  <a:lnTo>
                    <a:pt x="322" y="3406"/>
                  </a:lnTo>
                  <a:lnTo>
                    <a:pt x="326" y="3408"/>
                  </a:lnTo>
                  <a:lnTo>
                    <a:pt x="328" y="3408"/>
                  </a:lnTo>
                  <a:lnTo>
                    <a:pt x="324" y="3402"/>
                  </a:lnTo>
                  <a:lnTo>
                    <a:pt x="318" y="3396"/>
                  </a:lnTo>
                  <a:lnTo>
                    <a:pt x="316" y="3394"/>
                  </a:lnTo>
                  <a:lnTo>
                    <a:pt x="314" y="3394"/>
                  </a:lnTo>
                  <a:lnTo>
                    <a:pt x="312" y="3394"/>
                  </a:lnTo>
                  <a:lnTo>
                    <a:pt x="310" y="3392"/>
                  </a:lnTo>
                  <a:lnTo>
                    <a:pt x="308" y="3390"/>
                  </a:lnTo>
                  <a:lnTo>
                    <a:pt x="306" y="3392"/>
                  </a:lnTo>
                  <a:lnTo>
                    <a:pt x="304" y="3390"/>
                  </a:lnTo>
                  <a:lnTo>
                    <a:pt x="294" y="3384"/>
                  </a:lnTo>
                  <a:lnTo>
                    <a:pt x="284" y="3382"/>
                  </a:lnTo>
                  <a:lnTo>
                    <a:pt x="280" y="3378"/>
                  </a:lnTo>
                  <a:lnTo>
                    <a:pt x="274" y="3374"/>
                  </a:lnTo>
                  <a:lnTo>
                    <a:pt x="268" y="3370"/>
                  </a:lnTo>
                  <a:lnTo>
                    <a:pt x="264" y="3368"/>
                  </a:lnTo>
                  <a:lnTo>
                    <a:pt x="262" y="3370"/>
                  </a:lnTo>
                  <a:lnTo>
                    <a:pt x="266" y="3374"/>
                  </a:lnTo>
                  <a:lnTo>
                    <a:pt x="270" y="3376"/>
                  </a:lnTo>
                  <a:lnTo>
                    <a:pt x="270" y="3380"/>
                  </a:lnTo>
                  <a:lnTo>
                    <a:pt x="268" y="3380"/>
                  </a:lnTo>
                  <a:lnTo>
                    <a:pt x="272" y="3382"/>
                  </a:lnTo>
                  <a:lnTo>
                    <a:pt x="276" y="3384"/>
                  </a:lnTo>
                  <a:lnTo>
                    <a:pt x="278" y="3388"/>
                  </a:lnTo>
                  <a:lnTo>
                    <a:pt x="282" y="3390"/>
                  </a:lnTo>
                  <a:lnTo>
                    <a:pt x="288" y="3392"/>
                  </a:lnTo>
                  <a:lnTo>
                    <a:pt x="294" y="3392"/>
                  </a:lnTo>
                  <a:lnTo>
                    <a:pt x="296" y="3394"/>
                  </a:lnTo>
                  <a:lnTo>
                    <a:pt x="300" y="3396"/>
                  </a:lnTo>
                  <a:lnTo>
                    <a:pt x="302" y="3398"/>
                  </a:lnTo>
                  <a:lnTo>
                    <a:pt x="304" y="3398"/>
                  </a:lnTo>
                  <a:lnTo>
                    <a:pt x="308" y="3398"/>
                  </a:lnTo>
                  <a:lnTo>
                    <a:pt x="310" y="3400"/>
                  </a:lnTo>
                  <a:lnTo>
                    <a:pt x="310" y="3402"/>
                  </a:lnTo>
                  <a:lnTo>
                    <a:pt x="310" y="3404"/>
                  </a:lnTo>
                  <a:lnTo>
                    <a:pt x="310" y="3406"/>
                  </a:lnTo>
                  <a:close/>
                  <a:moveTo>
                    <a:pt x="262" y="3306"/>
                  </a:moveTo>
                  <a:lnTo>
                    <a:pt x="262" y="3306"/>
                  </a:lnTo>
                  <a:lnTo>
                    <a:pt x="260" y="3302"/>
                  </a:lnTo>
                  <a:lnTo>
                    <a:pt x="258" y="3302"/>
                  </a:lnTo>
                  <a:lnTo>
                    <a:pt x="258" y="3304"/>
                  </a:lnTo>
                  <a:lnTo>
                    <a:pt x="258" y="3310"/>
                  </a:lnTo>
                  <a:lnTo>
                    <a:pt x="258" y="3314"/>
                  </a:lnTo>
                  <a:lnTo>
                    <a:pt x="254" y="3308"/>
                  </a:lnTo>
                  <a:lnTo>
                    <a:pt x="252" y="3308"/>
                  </a:lnTo>
                  <a:lnTo>
                    <a:pt x="250" y="3310"/>
                  </a:lnTo>
                  <a:lnTo>
                    <a:pt x="248" y="3314"/>
                  </a:lnTo>
                  <a:lnTo>
                    <a:pt x="250" y="3318"/>
                  </a:lnTo>
                  <a:lnTo>
                    <a:pt x="252" y="3320"/>
                  </a:lnTo>
                  <a:lnTo>
                    <a:pt x="252" y="3322"/>
                  </a:lnTo>
                  <a:lnTo>
                    <a:pt x="250" y="3324"/>
                  </a:lnTo>
                  <a:lnTo>
                    <a:pt x="252" y="3328"/>
                  </a:lnTo>
                  <a:lnTo>
                    <a:pt x="252" y="3332"/>
                  </a:lnTo>
                  <a:lnTo>
                    <a:pt x="254" y="3332"/>
                  </a:lnTo>
                  <a:lnTo>
                    <a:pt x="258" y="3324"/>
                  </a:lnTo>
                  <a:lnTo>
                    <a:pt x="260" y="3314"/>
                  </a:lnTo>
                  <a:lnTo>
                    <a:pt x="262" y="3310"/>
                  </a:lnTo>
                  <a:lnTo>
                    <a:pt x="262" y="3306"/>
                  </a:lnTo>
                  <a:close/>
                  <a:moveTo>
                    <a:pt x="284" y="3406"/>
                  </a:moveTo>
                  <a:lnTo>
                    <a:pt x="284" y="3406"/>
                  </a:lnTo>
                  <a:lnTo>
                    <a:pt x="286" y="3406"/>
                  </a:lnTo>
                  <a:lnTo>
                    <a:pt x="288" y="3404"/>
                  </a:lnTo>
                  <a:lnTo>
                    <a:pt x="290" y="3402"/>
                  </a:lnTo>
                  <a:lnTo>
                    <a:pt x="290" y="3400"/>
                  </a:lnTo>
                  <a:lnTo>
                    <a:pt x="286" y="3398"/>
                  </a:lnTo>
                  <a:lnTo>
                    <a:pt x="284" y="3400"/>
                  </a:lnTo>
                  <a:lnTo>
                    <a:pt x="284" y="3404"/>
                  </a:lnTo>
                  <a:lnTo>
                    <a:pt x="284" y="3406"/>
                  </a:lnTo>
                  <a:close/>
                  <a:moveTo>
                    <a:pt x="268" y="3336"/>
                  </a:moveTo>
                  <a:lnTo>
                    <a:pt x="268" y="3336"/>
                  </a:lnTo>
                  <a:lnTo>
                    <a:pt x="260" y="3336"/>
                  </a:lnTo>
                  <a:lnTo>
                    <a:pt x="258" y="3336"/>
                  </a:lnTo>
                  <a:lnTo>
                    <a:pt x="256" y="3338"/>
                  </a:lnTo>
                  <a:lnTo>
                    <a:pt x="258" y="3340"/>
                  </a:lnTo>
                  <a:lnTo>
                    <a:pt x="262" y="3342"/>
                  </a:lnTo>
                  <a:lnTo>
                    <a:pt x="264" y="3342"/>
                  </a:lnTo>
                  <a:lnTo>
                    <a:pt x="268" y="3340"/>
                  </a:lnTo>
                  <a:lnTo>
                    <a:pt x="268" y="3338"/>
                  </a:lnTo>
                  <a:lnTo>
                    <a:pt x="268" y="3336"/>
                  </a:lnTo>
                  <a:close/>
                  <a:moveTo>
                    <a:pt x="412" y="3500"/>
                  </a:moveTo>
                  <a:lnTo>
                    <a:pt x="412" y="3500"/>
                  </a:lnTo>
                  <a:lnTo>
                    <a:pt x="406" y="3498"/>
                  </a:lnTo>
                  <a:lnTo>
                    <a:pt x="402" y="3496"/>
                  </a:lnTo>
                  <a:lnTo>
                    <a:pt x="398" y="3498"/>
                  </a:lnTo>
                  <a:lnTo>
                    <a:pt x="396" y="3500"/>
                  </a:lnTo>
                  <a:lnTo>
                    <a:pt x="396" y="3502"/>
                  </a:lnTo>
                  <a:lnTo>
                    <a:pt x="398" y="3504"/>
                  </a:lnTo>
                  <a:lnTo>
                    <a:pt x="402" y="3502"/>
                  </a:lnTo>
                  <a:lnTo>
                    <a:pt x="406" y="3500"/>
                  </a:lnTo>
                  <a:lnTo>
                    <a:pt x="408" y="3502"/>
                  </a:lnTo>
                  <a:lnTo>
                    <a:pt x="410" y="3502"/>
                  </a:lnTo>
                  <a:lnTo>
                    <a:pt x="414" y="3504"/>
                  </a:lnTo>
                  <a:lnTo>
                    <a:pt x="414" y="3502"/>
                  </a:lnTo>
                  <a:lnTo>
                    <a:pt x="416" y="3500"/>
                  </a:lnTo>
                  <a:lnTo>
                    <a:pt x="414" y="3500"/>
                  </a:lnTo>
                  <a:lnTo>
                    <a:pt x="412" y="3500"/>
                  </a:lnTo>
                  <a:close/>
                  <a:moveTo>
                    <a:pt x="248" y="3284"/>
                  </a:moveTo>
                  <a:lnTo>
                    <a:pt x="248" y="3284"/>
                  </a:lnTo>
                  <a:lnTo>
                    <a:pt x="244" y="3282"/>
                  </a:lnTo>
                  <a:lnTo>
                    <a:pt x="244" y="3284"/>
                  </a:lnTo>
                  <a:lnTo>
                    <a:pt x="244" y="3292"/>
                  </a:lnTo>
                  <a:lnTo>
                    <a:pt x="240" y="3300"/>
                  </a:lnTo>
                  <a:lnTo>
                    <a:pt x="240" y="3302"/>
                  </a:lnTo>
                  <a:lnTo>
                    <a:pt x="244" y="3302"/>
                  </a:lnTo>
                  <a:lnTo>
                    <a:pt x="246" y="3300"/>
                  </a:lnTo>
                  <a:lnTo>
                    <a:pt x="246" y="3298"/>
                  </a:lnTo>
                  <a:lnTo>
                    <a:pt x="248" y="3294"/>
                  </a:lnTo>
                  <a:lnTo>
                    <a:pt x="248" y="3292"/>
                  </a:lnTo>
                  <a:lnTo>
                    <a:pt x="252" y="3288"/>
                  </a:lnTo>
                  <a:lnTo>
                    <a:pt x="248" y="3284"/>
                  </a:lnTo>
                  <a:close/>
                  <a:moveTo>
                    <a:pt x="376" y="3462"/>
                  </a:moveTo>
                  <a:lnTo>
                    <a:pt x="376" y="3462"/>
                  </a:lnTo>
                  <a:lnTo>
                    <a:pt x="376" y="3466"/>
                  </a:lnTo>
                  <a:lnTo>
                    <a:pt x="378" y="3468"/>
                  </a:lnTo>
                  <a:lnTo>
                    <a:pt x="380" y="3468"/>
                  </a:lnTo>
                  <a:lnTo>
                    <a:pt x="380" y="3464"/>
                  </a:lnTo>
                  <a:lnTo>
                    <a:pt x="380" y="3462"/>
                  </a:lnTo>
                  <a:lnTo>
                    <a:pt x="382" y="3462"/>
                  </a:lnTo>
                  <a:lnTo>
                    <a:pt x="384" y="3460"/>
                  </a:lnTo>
                  <a:lnTo>
                    <a:pt x="384" y="3456"/>
                  </a:lnTo>
                  <a:lnTo>
                    <a:pt x="386" y="3454"/>
                  </a:lnTo>
                  <a:lnTo>
                    <a:pt x="386" y="3452"/>
                  </a:lnTo>
                  <a:lnTo>
                    <a:pt x="386" y="3448"/>
                  </a:lnTo>
                  <a:lnTo>
                    <a:pt x="386" y="3444"/>
                  </a:lnTo>
                  <a:lnTo>
                    <a:pt x="386" y="3442"/>
                  </a:lnTo>
                  <a:lnTo>
                    <a:pt x="384" y="3440"/>
                  </a:lnTo>
                  <a:lnTo>
                    <a:pt x="378" y="3438"/>
                  </a:lnTo>
                  <a:lnTo>
                    <a:pt x="376" y="3438"/>
                  </a:lnTo>
                  <a:lnTo>
                    <a:pt x="374" y="3442"/>
                  </a:lnTo>
                  <a:lnTo>
                    <a:pt x="372" y="3444"/>
                  </a:lnTo>
                  <a:lnTo>
                    <a:pt x="370" y="3442"/>
                  </a:lnTo>
                  <a:lnTo>
                    <a:pt x="368" y="3442"/>
                  </a:lnTo>
                  <a:lnTo>
                    <a:pt x="364" y="3442"/>
                  </a:lnTo>
                  <a:lnTo>
                    <a:pt x="362" y="3444"/>
                  </a:lnTo>
                  <a:lnTo>
                    <a:pt x="362" y="3446"/>
                  </a:lnTo>
                  <a:lnTo>
                    <a:pt x="368" y="3452"/>
                  </a:lnTo>
                  <a:lnTo>
                    <a:pt x="374" y="3458"/>
                  </a:lnTo>
                  <a:lnTo>
                    <a:pt x="376" y="3460"/>
                  </a:lnTo>
                  <a:lnTo>
                    <a:pt x="376" y="3462"/>
                  </a:lnTo>
                  <a:close/>
                  <a:moveTo>
                    <a:pt x="360" y="3454"/>
                  </a:moveTo>
                  <a:lnTo>
                    <a:pt x="360" y="3454"/>
                  </a:lnTo>
                  <a:lnTo>
                    <a:pt x="358" y="3458"/>
                  </a:lnTo>
                  <a:lnTo>
                    <a:pt x="354" y="3458"/>
                  </a:lnTo>
                  <a:lnTo>
                    <a:pt x="352" y="3460"/>
                  </a:lnTo>
                  <a:lnTo>
                    <a:pt x="354" y="3462"/>
                  </a:lnTo>
                  <a:lnTo>
                    <a:pt x="356" y="3464"/>
                  </a:lnTo>
                  <a:lnTo>
                    <a:pt x="358" y="3464"/>
                  </a:lnTo>
                  <a:lnTo>
                    <a:pt x="364" y="3458"/>
                  </a:lnTo>
                  <a:lnTo>
                    <a:pt x="364" y="3456"/>
                  </a:lnTo>
                  <a:lnTo>
                    <a:pt x="364" y="3454"/>
                  </a:lnTo>
                  <a:lnTo>
                    <a:pt x="362" y="3452"/>
                  </a:lnTo>
                  <a:lnTo>
                    <a:pt x="360" y="3454"/>
                  </a:lnTo>
                  <a:close/>
                  <a:moveTo>
                    <a:pt x="390" y="3462"/>
                  </a:moveTo>
                  <a:lnTo>
                    <a:pt x="390" y="3462"/>
                  </a:lnTo>
                  <a:lnTo>
                    <a:pt x="394" y="3462"/>
                  </a:lnTo>
                  <a:lnTo>
                    <a:pt x="394" y="3460"/>
                  </a:lnTo>
                  <a:lnTo>
                    <a:pt x="396" y="3458"/>
                  </a:lnTo>
                  <a:lnTo>
                    <a:pt x="398" y="3460"/>
                  </a:lnTo>
                  <a:lnTo>
                    <a:pt x="402" y="3462"/>
                  </a:lnTo>
                  <a:lnTo>
                    <a:pt x="402" y="3464"/>
                  </a:lnTo>
                  <a:lnTo>
                    <a:pt x="402" y="3466"/>
                  </a:lnTo>
                  <a:lnTo>
                    <a:pt x="406" y="3468"/>
                  </a:lnTo>
                  <a:lnTo>
                    <a:pt x="410" y="3468"/>
                  </a:lnTo>
                  <a:lnTo>
                    <a:pt x="412" y="3466"/>
                  </a:lnTo>
                  <a:lnTo>
                    <a:pt x="412" y="3454"/>
                  </a:lnTo>
                  <a:lnTo>
                    <a:pt x="410" y="3450"/>
                  </a:lnTo>
                  <a:lnTo>
                    <a:pt x="408" y="3450"/>
                  </a:lnTo>
                  <a:lnTo>
                    <a:pt x="406" y="3450"/>
                  </a:lnTo>
                  <a:lnTo>
                    <a:pt x="402" y="3448"/>
                  </a:lnTo>
                  <a:lnTo>
                    <a:pt x="400" y="3444"/>
                  </a:lnTo>
                  <a:lnTo>
                    <a:pt x="394" y="3442"/>
                  </a:lnTo>
                  <a:lnTo>
                    <a:pt x="390" y="3444"/>
                  </a:lnTo>
                  <a:lnTo>
                    <a:pt x="388" y="3446"/>
                  </a:lnTo>
                  <a:lnTo>
                    <a:pt x="388" y="3448"/>
                  </a:lnTo>
                  <a:lnTo>
                    <a:pt x="390" y="3454"/>
                  </a:lnTo>
                  <a:lnTo>
                    <a:pt x="388" y="3456"/>
                  </a:lnTo>
                  <a:lnTo>
                    <a:pt x="388" y="3460"/>
                  </a:lnTo>
                  <a:lnTo>
                    <a:pt x="390" y="3462"/>
                  </a:lnTo>
                  <a:close/>
                  <a:moveTo>
                    <a:pt x="356" y="3450"/>
                  </a:moveTo>
                  <a:lnTo>
                    <a:pt x="356" y="3450"/>
                  </a:lnTo>
                  <a:lnTo>
                    <a:pt x="358" y="3450"/>
                  </a:lnTo>
                  <a:lnTo>
                    <a:pt x="360" y="3450"/>
                  </a:lnTo>
                  <a:lnTo>
                    <a:pt x="358" y="3444"/>
                  </a:lnTo>
                  <a:lnTo>
                    <a:pt x="358" y="3442"/>
                  </a:lnTo>
                  <a:lnTo>
                    <a:pt x="358" y="3440"/>
                  </a:lnTo>
                  <a:lnTo>
                    <a:pt x="362" y="3438"/>
                  </a:lnTo>
                  <a:lnTo>
                    <a:pt x="366" y="3436"/>
                  </a:lnTo>
                  <a:lnTo>
                    <a:pt x="366" y="3434"/>
                  </a:lnTo>
                  <a:lnTo>
                    <a:pt x="366" y="3432"/>
                  </a:lnTo>
                  <a:lnTo>
                    <a:pt x="362" y="3430"/>
                  </a:lnTo>
                  <a:lnTo>
                    <a:pt x="360" y="3430"/>
                  </a:lnTo>
                  <a:lnTo>
                    <a:pt x="358" y="3428"/>
                  </a:lnTo>
                  <a:lnTo>
                    <a:pt x="356" y="3426"/>
                  </a:lnTo>
                  <a:lnTo>
                    <a:pt x="354" y="3422"/>
                  </a:lnTo>
                  <a:lnTo>
                    <a:pt x="352" y="3420"/>
                  </a:lnTo>
                  <a:lnTo>
                    <a:pt x="348" y="3418"/>
                  </a:lnTo>
                  <a:lnTo>
                    <a:pt x="346" y="3420"/>
                  </a:lnTo>
                  <a:lnTo>
                    <a:pt x="344" y="3420"/>
                  </a:lnTo>
                  <a:lnTo>
                    <a:pt x="344" y="3418"/>
                  </a:lnTo>
                  <a:lnTo>
                    <a:pt x="342" y="3418"/>
                  </a:lnTo>
                  <a:lnTo>
                    <a:pt x="340" y="3420"/>
                  </a:lnTo>
                  <a:lnTo>
                    <a:pt x="338" y="3422"/>
                  </a:lnTo>
                  <a:lnTo>
                    <a:pt x="338" y="3418"/>
                  </a:lnTo>
                  <a:lnTo>
                    <a:pt x="336" y="3414"/>
                  </a:lnTo>
                  <a:lnTo>
                    <a:pt x="332" y="3410"/>
                  </a:lnTo>
                  <a:lnTo>
                    <a:pt x="328" y="3410"/>
                  </a:lnTo>
                  <a:lnTo>
                    <a:pt x="328" y="3412"/>
                  </a:lnTo>
                  <a:lnTo>
                    <a:pt x="328" y="3414"/>
                  </a:lnTo>
                  <a:lnTo>
                    <a:pt x="322" y="3414"/>
                  </a:lnTo>
                  <a:lnTo>
                    <a:pt x="320" y="3414"/>
                  </a:lnTo>
                  <a:lnTo>
                    <a:pt x="318" y="3414"/>
                  </a:lnTo>
                  <a:lnTo>
                    <a:pt x="320" y="3418"/>
                  </a:lnTo>
                  <a:lnTo>
                    <a:pt x="322" y="3422"/>
                  </a:lnTo>
                  <a:lnTo>
                    <a:pt x="320" y="3422"/>
                  </a:lnTo>
                  <a:lnTo>
                    <a:pt x="314" y="3420"/>
                  </a:lnTo>
                  <a:lnTo>
                    <a:pt x="310" y="3422"/>
                  </a:lnTo>
                  <a:lnTo>
                    <a:pt x="308" y="3424"/>
                  </a:lnTo>
                  <a:lnTo>
                    <a:pt x="308" y="3426"/>
                  </a:lnTo>
                  <a:lnTo>
                    <a:pt x="310" y="3428"/>
                  </a:lnTo>
                  <a:lnTo>
                    <a:pt x="312" y="3430"/>
                  </a:lnTo>
                  <a:lnTo>
                    <a:pt x="312" y="3432"/>
                  </a:lnTo>
                  <a:lnTo>
                    <a:pt x="316" y="3432"/>
                  </a:lnTo>
                  <a:lnTo>
                    <a:pt x="320" y="3430"/>
                  </a:lnTo>
                  <a:lnTo>
                    <a:pt x="322" y="3432"/>
                  </a:lnTo>
                  <a:lnTo>
                    <a:pt x="322" y="3434"/>
                  </a:lnTo>
                  <a:lnTo>
                    <a:pt x="322" y="3442"/>
                  </a:lnTo>
                  <a:lnTo>
                    <a:pt x="324" y="3444"/>
                  </a:lnTo>
                  <a:lnTo>
                    <a:pt x="328" y="3448"/>
                  </a:lnTo>
                  <a:lnTo>
                    <a:pt x="330" y="3448"/>
                  </a:lnTo>
                  <a:lnTo>
                    <a:pt x="332" y="3448"/>
                  </a:lnTo>
                  <a:lnTo>
                    <a:pt x="332" y="3442"/>
                  </a:lnTo>
                  <a:lnTo>
                    <a:pt x="332" y="3438"/>
                  </a:lnTo>
                  <a:lnTo>
                    <a:pt x="334" y="3438"/>
                  </a:lnTo>
                  <a:lnTo>
                    <a:pt x="336" y="3440"/>
                  </a:lnTo>
                  <a:lnTo>
                    <a:pt x="340" y="3438"/>
                  </a:lnTo>
                  <a:lnTo>
                    <a:pt x="342" y="3438"/>
                  </a:lnTo>
                  <a:lnTo>
                    <a:pt x="342" y="3442"/>
                  </a:lnTo>
                  <a:lnTo>
                    <a:pt x="340" y="3448"/>
                  </a:lnTo>
                  <a:lnTo>
                    <a:pt x="336" y="3450"/>
                  </a:lnTo>
                  <a:lnTo>
                    <a:pt x="334" y="3452"/>
                  </a:lnTo>
                  <a:lnTo>
                    <a:pt x="338" y="3454"/>
                  </a:lnTo>
                  <a:lnTo>
                    <a:pt x="342" y="3454"/>
                  </a:lnTo>
                  <a:lnTo>
                    <a:pt x="346" y="3454"/>
                  </a:lnTo>
                  <a:lnTo>
                    <a:pt x="348" y="3452"/>
                  </a:lnTo>
                  <a:lnTo>
                    <a:pt x="350" y="3452"/>
                  </a:lnTo>
                  <a:lnTo>
                    <a:pt x="352" y="3452"/>
                  </a:lnTo>
                  <a:lnTo>
                    <a:pt x="352" y="3450"/>
                  </a:lnTo>
                  <a:lnTo>
                    <a:pt x="354" y="3448"/>
                  </a:lnTo>
                  <a:lnTo>
                    <a:pt x="356" y="3450"/>
                  </a:lnTo>
                  <a:close/>
                  <a:moveTo>
                    <a:pt x="490" y="3366"/>
                  </a:moveTo>
                  <a:lnTo>
                    <a:pt x="490" y="3366"/>
                  </a:lnTo>
                  <a:lnTo>
                    <a:pt x="488" y="3366"/>
                  </a:lnTo>
                  <a:lnTo>
                    <a:pt x="486" y="3364"/>
                  </a:lnTo>
                  <a:lnTo>
                    <a:pt x="482" y="3360"/>
                  </a:lnTo>
                  <a:lnTo>
                    <a:pt x="480" y="3354"/>
                  </a:lnTo>
                  <a:lnTo>
                    <a:pt x="478" y="3352"/>
                  </a:lnTo>
                  <a:lnTo>
                    <a:pt x="476" y="3352"/>
                  </a:lnTo>
                  <a:lnTo>
                    <a:pt x="472" y="3356"/>
                  </a:lnTo>
                  <a:lnTo>
                    <a:pt x="468" y="3364"/>
                  </a:lnTo>
                  <a:lnTo>
                    <a:pt x="464" y="3370"/>
                  </a:lnTo>
                  <a:lnTo>
                    <a:pt x="460" y="3374"/>
                  </a:lnTo>
                  <a:lnTo>
                    <a:pt x="454" y="3374"/>
                  </a:lnTo>
                  <a:lnTo>
                    <a:pt x="450" y="3372"/>
                  </a:lnTo>
                  <a:lnTo>
                    <a:pt x="446" y="3368"/>
                  </a:lnTo>
                  <a:lnTo>
                    <a:pt x="440" y="3370"/>
                  </a:lnTo>
                  <a:lnTo>
                    <a:pt x="438" y="3370"/>
                  </a:lnTo>
                  <a:lnTo>
                    <a:pt x="440" y="3372"/>
                  </a:lnTo>
                  <a:lnTo>
                    <a:pt x="442" y="3374"/>
                  </a:lnTo>
                  <a:lnTo>
                    <a:pt x="444" y="3376"/>
                  </a:lnTo>
                  <a:lnTo>
                    <a:pt x="444" y="3378"/>
                  </a:lnTo>
                  <a:lnTo>
                    <a:pt x="448" y="3380"/>
                  </a:lnTo>
                  <a:lnTo>
                    <a:pt x="450" y="3382"/>
                  </a:lnTo>
                  <a:lnTo>
                    <a:pt x="448" y="3384"/>
                  </a:lnTo>
                  <a:lnTo>
                    <a:pt x="446" y="3388"/>
                  </a:lnTo>
                  <a:lnTo>
                    <a:pt x="444" y="3388"/>
                  </a:lnTo>
                  <a:lnTo>
                    <a:pt x="440" y="3384"/>
                  </a:lnTo>
                  <a:lnTo>
                    <a:pt x="438" y="3382"/>
                  </a:lnTo>
                  <a:lnTo>
                    <a:pt x="438" y="3384"/>
                  </a:lnTo>
                  <a:lnTo>
                    <a:pt x="436" y="3388"/>
                  </a:lnTo>
                  <a:lnTo>
                    <a:pt x="436" y="3398"/>
                  </a:lnTo>
                  <a:lnTo>
                    <a:pt x="440" y="3410"/>
                  </a:lnTo>
                  <a:lnTo>
                    <a:pt x="442" y="3412"/>
                  </a:lnTo>
                  <a:lnTo>
                    <a:pt x="448" y="3414"/>
                  </a:lnTo>
                  <a:lnTo>
                    <a:pt x="460" y="3410"/>
                  </a:lnTo>
                  <a:lnTo>
                    <a:pt x="474" y="3406"/>
                  </a:lnTo>
                  <a:lnTo>
                    <a:pt x="478" y="3406"/>
                  </a:lnTo>
                  <a:lnTo>
                    <a:pt x="480" y="3408"/>
                  </a:lnTo>
                  <a:lnTo>
                    <a:pt x="482" y="3414"/>
                  </a:lnTo>
                  <a:lnTo>
                    <a:pt x="478" y="3418"/>
                  </a:lnTo>
                  <a:lnTo>
                    <a:pt x="472" y="3422"/>
                  </a:lnTo>
                  <a:lnTo>
                    <a:pt x="466" y="3424"/>
                  </a:lnTo>
                  <a:lnTo>
                    <a:pt x="452" y="3430"/>
                  </a:lnTo>
                  <a:lnTo>
                    <a:pt x="448" y="3434"/>
                  </a:lnTo>
                  <a:lnTo>
                    <a:pt x="448" y="3438"/>
                  </a:lnTo>
                  <a:lnTo>
                    <a:pt x="452" y="3446"/>
                  </a:lnTo>
                  <a:lnTo>
                    <a:pt x="458" y="3452"/>
                  </a:lnTo>
                  <a:lnTo>
                    <a:pt x="464" y="3458"/>
                  </a:lnTo>
                  <a:lnTo>
                    <a:pt x="474" y="3462"/>
                  </a:lnTo>
                  <a:lnTo>
                    <a:pt x="488" y="3470"/>
                  </a:lnTo>
                  <a:lnTo>
                    <a:pt x="494" y="3472"/>
                  </a:lnTo>
                  <a:lnTo>
                    <a:pt x="496" y="3474"/>
                  </a:lnTo>
                  <a:lnTo>
                    <a:pt x="482" y="3472"/>
                  </a:lnTo>
                  <a:lnTo>
                    <a:pt x="476" y="3468"/>
                  </a:lnTo>
                  <a:lnTo>
                    <a:pt x="474" y="3468"/>
                  </a:lnTo>
                  <a:lnTo>
                    <a:pt x="472" y="3468"/>
                  </a:lnTo>
                  <a:lnTo>
                    <a:pt x="470" y="3470"/>
                  </a:lnTo>
                  <a:lnTo>
                    <a:pt x="468" y="3470"/>
                  </a:lnTo>
                  <a:lnTo>
                    <a:pt x="462" y="3466"/>
                  </a:lnTo>
                  <a:lnTo>
                    <a:pt x="456" y="3464"/>
                  </a:lnTo>
                  <a:lnTo>
                    <a:pt x="452" y="3464"/>
                  </a:lnTo>
                  <a:lnTo>
                    <a:pt x="450" y="3464"/>
                  </a:lnTo>
                  <a:lnTo>
                    <a:pt x="448" y="3466"/>
                  </a:lnTo>
                  <a:lnTo>
                    <a:pt x="448" y="3468"/>
                  </a:lnTo>
                  <a:lnTo>
                    <a:pt x="448" y="3472"/>
                  </a:lnTo>
                  <a:lnTo>
                    <a:pt x="450" y="3472"/>
                  </a:lnTo>
                  <a:lnTo>
                    <a:pt x="448" y="3472"/>
                  </a:lnTo>
                  <a:lnTo>
                    <a:pt x="442" y="3468"/>
                  </a:lnTo>
                  <a:lnTo>
                    <a:pt x="422" y="3454"/>
                  </a:lnTo>
                  <a:lnTo>
                    <a:pt x="416" y="3452"/>
                  </a:lnTo>
                  <a:lnTo>
                    <a:pt x="416" y="3454"/>
                  </a:lnTo>
                  <a:lnTo>
                    <a:pt x="418" y="3456"/>
                  </a:lnTo>
                  <a:lnTo>
                    <a:pt x="422" y="3462"/>
                  </a:lnTo>
                  <a:lnTo>
                    <a:pt x="428" y="3464"/>
                  </a:lnTo>
                  <a:lnTo>
                    <a:pt x="430" y="3466"/>
                  </a:lnTo>
                  <a:lnTo>
                    <a:pt x="426" y="3466"/>
                  </a:lnTo>
                  <a:lnTo>
                    <a:pt x="420" y="3466"/>
                  </a:lnTo>
                  <a:lnTo>
                    <a:pt x="418" y="3468"/>
                  </a:lnTo>
                  <a:lnTo>
                    <a:pt x="416" y="3472"/>
                  </a:lnTo>
                  <a:lnTo>
                    <a:pt x="414" y="3476"/>
                  </a:lnTo>
                  <a:lnTo>
                    <a:pt x="408" y="3474"/>
                  </a:lnTo>
                  <a:lnTo>
                    <a:pt x="398" y="3470"/>
                  </a:lnTo>
                  <a:lnTo>
                    <a:pt x="398" y="3472"/>
                  </a:lnTo>
                  <a:lnTo>
                    <a:pt x="396" y="3474"/>
                  </a:lnTo>
                  <a:lnTo>
                    <a:pt x="392" y="3472"/>
                  </a:lnTo>
                  <a:lnTo>
                    <a:pt x="380" y="3470"/>
                  </a:lnTo>
                  <a:lnTo>
                    <a:pt x="380" y="3472"/>
                  </a:lnTo>
                  <a:lnTo>
                    <a:pt x="382" y="3476"/>
                  </a:lnTo>
                  <a:lnTo>
                    <a:pt x="386" y="3478"/>
                  </a:lnTo>
                  <a:lnTo>
                    <a:pt x="386" y="3480"/>
                  </a:lnTo>
                  <a:lnTo>
                    <a:pt x="382" y="3480"/>
                  </a:lnTo>
                  <a:lnTo>
                    <a:pt x="376" y="3476"/>
                  </a:lnTo>
                  <a:lnTo>
                    <a:pt x="374" y="3474"/>
                  </a:lnTo>
                  <a:lnTo>
                    <a:pt x="372" y="3474"/>
                  </a:lnTo>
                  <a:lnTo>
                    <a:pt x="374" y="3476"/>
                  </a:lnTo>
                  <a:lnTo>
                    <a:pt x="374" y="3482"/>
                  </a:lnTo>
                  <a:lnTo>
                    <a:pt x="374" y="3484"/>
                  </a:lnTo>
                  <a:lnTo>
                    <a:pt x="374" y="3486"/>
                  </a:lnTo>
                  <a:lnTo>
                    <a:pt x="376" y="3486"/>
                  </a:lnTo>
                  <a:lnTo>
                    <a:pt x="380" y="3488"/>
                  </a:lnTo>
                  <a:lnTo>
                    <a:pt x="384" y="3486"/>
                  </a:lnTo>
                  <a:lnTo>
                    <a:pt x="390" y="3486"/>
                  </a:lnTo>
                  <a:lnTo>
                    <a:pt x="394" y="3488"/>
                  </a:lnTo>
                  <a:lnTo>
                    <a:pt x="396" y="3488"/>
                  </a:lnTo>
                  <a:lnTo>
                    <a:pt x="398" y="3484"/>
                  </a:lnTo>
                  <a:lnTo>
                    <a:pt x="400" y="3480"/>
                  </a:lnTo>
                  <a:lnTo>
                    <a:pt x="402" y="3480"/>
                  </a:lnTo>
                  <a:lnTo>
                    <a:pt x="404" y="3480"/>
                  </a:lnTo>
                  <a:lnTo>
                    <a:pt x="402" y="3484"/>
                  </a:lnTo>
                  <a:lnTo>
                    <a:pt x="402" y="3486"/>
                  </a:lnTo>
                  <a:lnTo>
                    <a:pt x="404" y="3488"/>
                  </a:lnTo>
                  <a:lnTo>
                    <a:pt x="408" y="3488"/>
                  </a:lnTo>
                  <a:lnTo>
                    <a:pt x="412" y="3486"/>
                  </a:lnTo>
                  <a:lnTo>
                    <a:pt x="416" y="3486"/>
                  </a:lnTo>
                  <a:lnTo>
                    <a:pt x="414" y="3488"/>
                  </a:lnTo>
                  <a:lnTo>
                    <a:pt x="412" y="3492"/>
                  </a:lnTo>
                  <a:lnTo>
                    <a:pt x="414" y="3494"/>
                  </a:lnTo>
                  <a:lnTo>
                    <a:pt x="416" y="3492"/>
                  </a:lnTo>
                  <a:lnTo>
                    <a:pt x="418" y="3494"/>
                  </a:lnTo>
                  <a:lnTo>
                    <a:pt x="422" y="3498"/>
                  </a:lnTo>
                  <a:lnTo>
                    <a:pt x="424" y="3498"/>
                  </a:lnTo>
                  <a:lnTo>
                    <a:pt x="428" y="3496"/>
                  </a:lnTo>
                  <a:lnTo>
                    <a:pt x="432" y="3496"/>
                  </a:lnTo>
                  <a:lnTo>
                    <a:pt x="438" y="3498"/>
                  </a:lnTo>
                  <a:lnTo>
                    <a:pt x="442" y="3498"/>
                  </a:lnTo>
                  <a:lnTo>
                    <a:pt x="446" y="3496"/>
                  </a:lnTo>
                  <a:lnTo>
                    <a:pt x="450" y="3496"/>
                  </a:lnTo>
                  <a:lnTo>
                    <a:pt x="452" y="3498"/>
                  </a:lnTo>
                  <a:lnTo>
                    <a:pt x="452" y="3500"/>
                  </a:lnTo>
                  <a:lnTo>
                    <a:pt x="456" y="3498"/>
                  </a:lnTo>
                  <a:lnTo>
                    <a:pt x="458" y="3496"/>
                  </a:lnTo>
                  <a:lnTo>
                    <a:pt x="462" y="3496"/>
                  </a:lnTo>
                  <a:lnTo>
                    <a:pt x="464" y="3496"/>
                  </a:lnTo>
                  <a:lnTo>
                    <a:pt x="466" y="3492"/>
                  </a:lnTo>
                  <a:lnTo>
                    <a:pt x="468" y="3494"/>
                  </a:lnTo>
                  <a:lnTo>
                    <a:pt x="470" y="3498"/>
                  </a:lnTo>
                  <a:lnTo>
                    <a:pt x="478" y="3500"/>
                  </a:lnTo>
                  <a:lnTo>
                    <a:pt x="496" y="3504"/>
                  </a:lnTo>
                  <a:lnTo>
                    <a:pt x="502" y="3504"/>
                  </a:lnTo>
                  <a:lnTo>
                    <a:pt x="504" y="3504"/>
                  </a:lnTo>
                  <a:lnTo>
                    <a:pt x="504" y="3502"/>
                  </a:lnTo>
                  <a:lnTo>
                    <a:pt x="504" y="3500"/>
                  </a:lnTo>
                  <a:lnTo>
                    <a:pt x="506" y="3500"/>
                  </a:lnTo>
                  <a:lnTo>
                    <a:pt x="510" y="3502"/>
                  </a:lnTo>
                  <a:lnTo>
                    <a:pt x="510" y="3364"/>
                  </a:lnTo>
                  <a:lnTo>
                    <a:pt x="508" y="3362"/>
                  </a:lnTo>
                  <a:lnTo>
                    <a:pt x="504" y="3360"/>
                  </a:lnTo>
                  <a:lnTo>
                    <a:pt x="500" y="3360"/>
                  </a:lnTo>
                  <a:lnTo>
                    <a:pt x="496" y="3364"/>
                  </a:lnTo>
                  <a:lnTo>
                    <a:pt x="490" y="3366"/>
                  </a:lnTo>
                  <a:close/>
                  <a:moveTo>
                    <a:pt x="298" y="2826"/>
                  </a:moveTo>
                  <a:lnTo>
                    <a:pt x="298" y="2826"/>
                  </a:lnTo>
                  <a:lnTo>
                    <a:pt x="304" y="2826"/>
                  </a:lnTo>
                  <a:lnTo>
                    <a:pt x="306" y="2824"/>
                  </a:lnTo>
                  <a:lnTo>
                    <a:pt x="306" y="2822"/>
                  </a:lnTo>
                  <a:lnTo>
                    <a:pt x="304" y="2820"/>
                  </a:lnTo>
                  <a:lnTo>
                    <a:pt x="302" y="2814"/>
                  </a:lnTo>
                  <a:lnTo>
                    <a:pt x="304" y="2812"/>
                  </a:lnTo>
                  <a:lnTo>
                    <a:pt x="308" y="2812"/>
                  </a:lnTo>
                  <a:lnTo>
                    <a:pt x="310" y="2812"/>
                  </a:lnTo>
                  <a:lnTo>
                    <a:pt x="312" y="2810"/>
                  </a:lnTo>
                  <a:lnTo>
                    <a:pt x="310" y="2806"/>
                  </a:lnTo>
                  <a:lnTo>
                    <a:pt x="308" y="2800"/>
                  </a:lnTo>
                  <a:lnTo>
                    <a:pt x="308" y="2798"/>
                  </a:lnTo>
                  <a:lnTo>
                    <a:pt x="310" y="2798"/>
                  </a:lnTo>
                  <a:lnTo>
                    <a:pt x="314" y="2798"/>
                  </a:lnTo>
                  <a:lnTo>
                    <a:pt x="314" y="2794"/>
                  </a:lnTo>
                  <a:lnTo>
                    <a:pt x="304" y="2784"/>
                  </a:lnTo>
                  <a:lnTo>
                    <a:pt x="302" y="2780"/>
                  </a:lnTo>
                  <a:lnTo>
                    <a:pt x="302" y="2778"/>
                  </a:lnTo>
                  <a:lnTo>
                    <a:pt x="306" y="2776"/>
                  </a:lnTo>
                  <a:lnTo>
                    <a:pt x="306" y="2774"/>
                  </a:lnTo>
                  <a:lnTo>
                    <a:pt x="306" y="2770"/>
                  </a:lnTo>
                  <a:lnTo>
                    <a:pt x="306" y="2768"/>
                  </a:lnTo>
                  <a:lnTo>
                    <a:pt x="316" y="2764"/>
                  </a:lnTo>
                  <a:lnTo>
                    <a:pt x="318" y="2764"/>
                  </a:lnTo>
                  <a:lnTo>
                    <a:pt x="320" y="2762"/>
                  </a:lnTo>
                  <a:lnTo>
                    <a:pt x="318" y="2758"/>
                  </a:lnTo>
                  <a:lnTo>
                    <a:pt x="312" y="2748"/>
                  </a:lnTo>
                  <a:lnTo>
                    <a:pt x="310" y="2740"/>
                  </a:lnTo>
                  <a:lnTo>
                    <a:pt x="308" y="2738"/>
                  </a:lnTo>
                  <a:lnTo>
                    <a:pt x="302" y="2738"/>
                  </a:lnTo>
                  <a:lnTo>
                    <a:pt x="298" y="2740"/>
                  </a:lnTo>
                  <a:lnTo>
                    <a:pt x="298" y="2738"/>
                  </a:lnTo>
                  <a:lnTo>
                    <a:pt x="298" y="2736"/>
                  </a:lnTo>
                  <a:lnTo>
                    <a:pt x="296" y="2736"/>
                  </a:lnTo>
                  <a:lnTo>
                    <a:pt x="292" y="2736"/>
                  </a:lnTo>
                  <a:lnTo>
                    <a:pt x="290" y="2736"/>
                  </a:lnTo>
                  <a:lnTo>
                    <a:pt x="290" y="2738"/>
                  </a:lnTo>
                  <a:lnTo>
                    <a:pt x="290" y="2744"/>
                  </a:lnTo>
                  <a:lnTo>
                    <a:pt x="290" y="2752"/>
                  </a:lnTo>
                  <a:lnTo>
                    <a:pt x="288" y="2756"/>
                  </a:lnTo>
                  <a:lnTo>
                    <a:pt x="286" y="2762"/>
                  </a:lnTo>
                  <a:lnTo>
                    <a:pt x="284" y="2770"/>
                  </a:lnTo>
                  <a:lnTo>
                    <a:pt x="284" y="2778"/>
                  </a:lnTo>
                  <a:lnTo>
                    <a:pt x="286" y="2782"/>
                  </a:lnTo>
                  <a:lnTo>
                    <a:pt x="286" y="2790"/>
                  </a:lnTo>
                  <a:lnTo>
                    <a:pt x="282" y="2802"/>
                  </a:lnTo>
                  <a:lnTo>
                    <a:pt x="278" y="2814"/>
                  </a:lnTo>
                  <a:lnTo>
                    <a:pt x="278" y="2818"/>
                  </a:lnTo>
                  <a:lnTo>
                    <a:pt x="280" y="2822"/>
                  </a:lnTo>
                  <a:lnTo>
                    <a:pt x="286" y="2824"/>
                  </a:lnTo>
                  <a:lnTo>
                    <a:pt x="298" y="2826"/>
                  </a:lnTo>
                  <a:close/>
                  <a:moveTo>
                    <a:pt x="316" y="2894"/>
                  </a:moveTo>
                  <a:lnTo>
                    <a:pt x="316" y="2894"/>
                  </a:lnTo>
                  <a:lnTo>
                    <a:pt x="316" y="2898"/>
                  </a:lnTo>
                  <a:lnTo>
                    <a:pt x="318" y="2902"/>
                  </a:lnTo>
                  <a:lnTo>
                    <a:pt x="318" y="2904"/>
                  </a:lnTo>
                  <a:lnTo>
                    <a:pt x="318" y="2906"/>
                  </a:lnTo>
                  <a:lnTo>
                    <a:pt x="320" y="2908"/>
                  </a:lnTo>
                  <a:lnTo>
                    <a:pt x="324" y="2910"/>
                  </a:lnTo>
                  <a:lnTo>
                    <a:pt x="330" y="2910"/>
                  </a:lnTo>
                  <a:lnTo>
                    <a:pt x="336" y="2902"/>
                  </a:lnTo>
                  <a:lnTo>
                    <a:pt x="338" y="2900"/>
                  </a:lnTo>
                  <a:lnTo>
                    <a:pt x="338" y="2898"/>
                  </a:lnTo>
                  <a:lnTo>
                    <a:pt x="338" y="2896"/>
                  </a:lnTo>
                  <a:lnTo>
                    <a:pt x="342" y="2894"/>
                  </a:lnTo>
                  <a:lnTo>
                    <a:pt x="344" y="2890"/>
                  </a:lnTo>
                  <a:lnTo>
                    <a:pt x="342" y="2886"/>
                  </a:lnTo>
                  <a:lnTo>
                    <a:pt x="338" y="2882"/>
                  </a:lnTo>
                  <a:lnTo>
                    <a:pt x="332" y="2880"/>
                  </a:lnTo>
                  <a:lnTo>
                    <a:pt x="330" y="2880"/>
                  </a:lnTo>
                  <a:lnTo>
                    <a:pt x="330" y="2882"/>
                  </a:lnTo>
                  <a:lnTo>
                    <a:pt x="328" y="2882"/>
                  </a:lnTo>
                  <a:lnTo>
                    <a:pt x="326" y="2882"/>
                  </a:lnTo>
                  <a:lnTo>
                    <a:pt x="324" y="2882"/>
                  </a:lnTo>
                  <a:lnTo>
                    <a:pt x="324" y="2884"/>
                  </a:lnTo>
                  <a:lnTo>
                    <a:pt x="322" y="2888"/>
                  </a:lnTo>
                  <a:lnTo>
                    <a:pt x="322" y="2892"/>
                  </a:lnTo>
                  <a:lnTo>
                    <a:pt x="320" y="2894"/>
                  </a:lnTo>
                  <a:lnTo>
                    <a:pt x="318" y="2894"/>
                  </a:lnTo>
                  <a:lnTo>
                    <a:pt x="316" y="2894"/>
                  </a:lnTo>
                  <a:close/>
                  <a:moveTo>
                    <a:pt x="258" y="2836"/>
                  </a:moveTo>
                  <a:lnTo>
                    <a:pt x="258" y="2836"/>
                  </a:lnTo>
                  <a:lnTo>
                    <a:pt x="262" y="2838"/>
                  </a:lnTo>
                  <a:lnTo>
                    <a:pt x="264" y="2838"/>
                  </a:lnTo>
                  <a:lnTo>
                    <a:pt x="266" y="2836"/>
                  </a:lnTo>
                  <a:lnTo>
                    <a:pt x="266" y="2834"/>
                  </a:lnTo>
                  <a:lnTo>
                    <a:pt x="262" y="2832"/>
                  </a:lnTo>
                  <a:lnTo>
                    <a:pt x="260" y="2832"/>
                  </a:lnTo>
                  <a:lnTo>
                    <a:pt x="258" y="2834"/>
                  </a:lnTo>
                  <a:lnTo>
                    <a:pt x="258" y="2836"/>
                  </a:lnTo>
                  <a:close/>
                  <a:moveTo>
                    <a:pt x="324" y="2852"/>
                  </a:moveTo>
                  <a:lnTo>
                    <a:pt x="324" y="2852"/>
                  </a:lnTo>
                  <a:lnTo>
                    <a:pt x="320" y="2856"/>
                  </a:lnTo>
                  <a:lnTo>
                    <a:pt x="322" y="2858"/>
                  </a:lnTo>
                  <a:lnTo>
                    <a:pt x="324" y="2860"/>
                  </a:lnTo>
                  <a:lnTo>
                    <a:pt x="326" y="2858"/>
                  </a:lnTo>
                  <a:lnTo>
                    <a:pt x="326" y="2854"/>
                  </a:lnTo>
                  <a:lnTo>
                    <a:pt x="326" y="2852"/>
                  </a:lnTo>
                  <a:lnTo>
                    <a:pt x="324" y="2850"/>
                  </a:lnTo>
                  <a:lnTo>
                    <a:pt x="324" y="2852"/>
                  </a:lnTo>
                  <a:close/>
                  <a:moveTo>
                    <a:pt x="266" y="2958"/>
                  </a:moveTo>
                  <a:lnTo>
                    <a:pt x="266" y="2958"/>
                  </a:lnTo>
                  <a:lnTo>
                    <a:pt x="270" y="2958"/>
                  </a:lnTo>
                  <a:lnTo>
                    <a:pt x="270" y="2954"/>
                  </a:lnTo>
                  <a:lnTo>
                    <a:pt x="270" y="2950"/>
                  </a:lnTo>
                  <a:lnTo>
                    <a:pt x="268" y="2950"/>
                  </a:lnTo>
                  <a:lnTo>
                    <a:pt x="266" y="2952"/>
                  </a:lnTo>
                  <a:lnTo>
                    <a:pt x="264" y="2954"/>
                  </a:lnTo>
                  <a:lnTo>
                    <a:pt x="264" y="2956"/>
                  </a:lnTo>
                  <a:lnTo>
                    <a:pt x="266" y="2958"/>
                  </a:lnTo>
                  <a:close/>
                  <a:moveTo>
                    <a:pt x="244" y="3242"/>
                  </a:moveTo>
                  <a:lnTo>
                    <a:pt x="244" y="3242"/>
                  </a:lnTo>
                  <a:lnTo>
                    <a:pt x="248" y="3238"/>
                  </a:lnTo>
                  <a:lnTo>
                    <a:pt x="248" y="3236"/>
                  </a:lnTo>
                  <a:lnTo>
                    <a:pt x="246" y="3236"/>
                  </a:lnTo>
                  <a:lnTo>
                    <a:pt x="240" y="3234"/>
                  </a:lnTo>
                  <a:lnTo>
                    <a:pt x="234" y="3234"/>
                  </a:lnTo>
                  <a:lnTo>
                    <a:pt x="234" y="3236"/>
                  </a:lnTo>
                  <a:lnTo>
                    <a:pt x="236" y="3240"/>
                  </a:lnTo>
                  <a:lnTo>
                    <a:pt x="236" y="3242"/>
                  </a:lnTo>
                  <a:lnTo>
                    <a:pt x="232" y="3248"/>
                  </a:lnTo>
                  <a:lnTo>
                    <a:pt x="234" y="3250"/>
                  </a:lnTo>
                  <a:lnTo>
                    <a:pt x="238" y="3252"/>
                  </a:lnTo>
                  <a:lnTo>
                    <a:pt x="242" y="3254"/>
                  </a:lnTo>
                  <a:lnTo>
                    <a:pt x="242" y="3250"/>
                  </a:lnTo>
                  <a:lnTo>
                    <a:pt x="242" y="3246"/>
                  </a:lnTo>
                  <a:lnTo>
                    <a:pt x="244" y="3242"/>
                  </a:lnTo>
                  <a:close/>
                  <a:moveTo>
                    <a:pt x="302" y="2848"/>
                  </a:moveTo>
                  <a:lnTo>
                    <a:pt x="302" y="2848"/>
                  </a:lnTo>
                  <a:lnTo>
                    <a:pt x="300" y="2846"/>
                  </a:lnTo>
                  <a:lnTo>
                    <a:pt x="298" y="2846"/>
                  </a:lnTo>
                  <a:lnTo>
                    <a:pt x="296" y="2846"/>
                  </a:lnTo>
                  <a:lnTo>
                    <a:pt x="292" y="2846"/>
                  </a:lnTo>
                  <a:lnTo>
                    <a:pt x="288" y="2846"/>
                  </a:lnTo>
                  <a:lnTo>
                    <a:pt x="286" y="2848"/>
                  </a:lnTo>
                  <a:lnTo>
                    <a:pt x="288" y="2850"/>
                  </a:lnTo>
                  <a:lnTo>
                    <a:pt x="292" y="2854"/>
                  </a:lnTo>
                  <a:lnTo>
                    <a:pt x="294" y="2854"/>
                  </a:lnTo>
                  <a:lnTo>
                    <a:pt x="296" y="2854"/>
                  </a:lnTo>
                  <a:lnTo>
                    <a:pt x="300" y="2852"/>
                  </a:lnTo>
                  <a:lnTo>
                    <a:pt x="302" y="2850"/>
                  </a:lnTo>
                  <a:lnTo>
                    <a:pt x="302" y="2848"/>
                  </a:lnTo>
                  <a:close/>
                  <a:moveTo>
                    <a:pt x="302" y="2912"/>
                  </a:moveTo>
                  <a:lnTo>
                    <a:pt x="302" y="2912"/>
                  </a:lnTo>
                  <a:lnTo>
                    <a:pt x="304" y="2910"/>
                  </a:lnTo>
                  <a:lnTo>
                    <a:pt x="302" y="2906"/>
                  </a:lnTo>
                  <a:lnTo>
                    <a:pt x="300" y="2904"/>
                  </a:lnTo>
                  <a:lnTo>
                    <a:pt x="298" y="2904"/>
                  </a:lnTo>
                  <a:lnTo>
                    <a:pt x="296" y="2906"/>
                  </a:lnTo>
                  <a:lnTo>
                    <a:pt x="298" y="2910"/>
                  </a:lnTo>
                  <a:lnTo>
                    <a:pt x="300" y="2912"/>
                  </a:lnTo>
                  <a:lnTo>
                    <a:pt x="302" y="2912"/>
                  </a:lnTo>
                  <a:close/>
                  <a:moveTo>
                    <a:pt x="306" y="2942"/>
                  </a:moveTo>
                  <a:lnTo>
                    <a:pt x="306" y="2942"/>
                  </a:lnTo>
                  <a:lnTo>
                    <a:pt x="304" y="2942"/>
                  </a:lnTo>
                  <a:lnTo>
                    <a:pt x="302" y="2948"/>
                  </a:lnTo>
                  <a:lnTo>
                    <a:pt x="302" y="2952"/>
                  </a:lnTo>
                  <a:lnTo>
                    <a:pt x="304" y="2958"/>
                  </a:lnTo>
                  <a:lnTo>
                    <a:pt x="306" y="2958"/>
                  </a:lnTo>
                  <a:lnTo>
                    <a:pt x="308" y="2958"/>
                  </a:lnTo>
                  <a:lnTo>
                    <a:pt x="308" y="2952"/>
                  </a:lnTo>
                  <a:lnTo>
                    <a:pt x="310" y="2944"/>
                  </a:lnTo>
                  <a:lnTo>
                    <a:pt x="308" y="2942"/>
                  </a:lnTo>
                  <a:lnTo>
                    <a:pt x="306" y="2942"/>
                  </a:lnTo>
                  <a:close/>
                  <a:moveTo>
                    <a:pt x="278" y="2958"/>
                  </a:moveTo>
                  <a:lnTo>
                    <a:pt x="278" y="2958"/>
                  </a:lnTo>
                  <a:lnTo>
                    <a:pt x="280" y="2956"/>
                  </a:lnTo>
                  <a:lnTo>
                    <a:pt x="284" y="2952"/>
                  </a:lnTo>
                  <a:lnTo>
                    <a:pt x="286" y="2950"/>
                  </a:lnTo>
                  <a:lnTo>
                    <a:pt x="284" y="2946"/>
                  </a:lnTo>
                  <a:lnTo>
                    <a:pt x="280" y="2942"/>
                  </a:lnTo>
                  <a:lnTo>
                    <a:pt x="276" y="2942"/>
                  </a:lnTo>
                  <a:lnTo>
                    <a:pt x="274" y="2944"/>
                  </a:lnTo>
                  <a:lnTo>
                    <a:pt x="272" y="2946"/>
                  </a:lnTo>
                  <a:lnTo>
                    <a:pt x="274" y="2950"/>
                  </a:lnTo>
                  <a:lnTo>
                    <a:pt x="274" y="2952"/>
                  </a:lnTo>
                  <a:lnTo>
                    <a:pt x="274" y="2956"/>
                  </a:lnTo>
                  <a:lnTo>
                    <a:pt x="274" y="2958"/>
                  </a:lnTo>
                  <a:lnTo>
                    <a:pt x="278" y="2958"/>
                  </a:lnTo>
                  <a:close/>
                  <a:moveTo>
                    <a:pt x="1872" y="956"/>
                  </a:moveTo>
                  <a:lnTo>
                    <a:pt x="1872" y="956"/>
                  </a:lnTo>
                  <a:lnTo>
                    <a:pt x="1868" y="926"/>
                  </a:lnTo>
                  <a:lnTo>
                    <a:pt x="1864" y="900"/>
                  </a:lnTo>
                  <a:lnTo>
                    <a:pt x="1862" y="888"/>
                  </a:lnTo>
                  <a:lnTo>
                    <a:pt x="1858" y="876"/>
                  </a:lnTo>
                  <a:lnTo>
                    <a:pt x="1852" y="868"/>
                  </a:lnTo>
                  <a:lnTo>
                    <a:pt x="1844" y="858"/>
                  </a:lnTo>
                  <a:lnTo>
                    <a:pt x="1836" y="852"/>
                  </a:lnTo>
                  <a:lnTo>
                    <a:pt x="1830" y="850"/>
                  </a:lnTo>
                  <a:lnTo>
                    <a:pt x="1824" y="850"/>
                  </a:lnTo>
                  <a:lnTo>
                    <a:pt x="1816" y="850"/>
                  </a:lnTo>
                  <a:lnTo>
                    <a:pt x="1810" y="852"/>
                  </a:lnTo>
                  <a:lnTo>
                    <a:pt x="1800" y="850"/>
                  </a:lnTo>
                  <a:lnTo>
                    <a:pt x="1788" y="846"/>
                  </a:lnTo>
                  <a:lnTo>
                    <a:pt x="1774" y="838"/>
                  </a:lnTo>
                  <a:lnTo>
                    <a:pt x="1760" y="828"/>
                  </a:lnTo>
                  <a:lnTo>
                    <a:pt x="1750" y="820"/>
                  </a:lnTo>
                  <a:lnTo>
                    <a:pt x="1744" y="814"/>
                  </a:lnTo>
                  <a:lnTo>
                    <a:pt x="1740" y="808"/>
                  </a:lnTo>
                  <a:lnTo>
                    <a:pt x="1734" y="796"/>
                  </a:lnTo>
                  <a:lnTo>
                    <a:pt x="1728" y="788"/>
                  </a:lnTo>
                  <a:lnTo>
                    <a:pt x="1718" y="780"/>
                  </a:lnTo>
                  <a:lnTo>
                    <a:pt x="1698" y="762"/>
                  </a:lnTo>
                  <a:lnTo>
                    <a:pt x="1688" y="754"/>
                  </a:lnTo>
                  <a:lnTo>
                    <a:pt x="1680" y="748"/>
                  </a:lnTo>
                  <a:lnTo>
                    <a:pt x="1670" y="742"/>
                  </a:lnTo>
                  <a:lnTo>
                    <a:pt x="1660" y="740"/>
                  </a:lnTo>
                  <a:lnTo>
                    <a:pt x="1646" y="740"/>
                  </a:lnTo>
                  <a:lnTo>
                    <a:pt x="1632" y="740"/>
                  </a:lnTo>
                  <a:lnTo>
                    <a:pt x="1618" y="742"/>
                  </a:lnTo>
                  <a:lnTo>
                    <a:pt x="1602" y="742"/>
                  </a:lnTo>
                  <a:lnTo>
                    <a:pt x="1590" y="742"/>
                  </a:lnTo>
                  <a:lnTo>
                    <a:pt x="1578" y="738"/>
                  </a:lnTo>
                  <a:lnTo>
                    <a:pt x="1556" y="732"/>
                  </a:lnTo>
                  <a:lnTo>
                    <a:pt x="1536" y="722"/>
                  </a:lnTo>
                  <a:lnTo>
                    <a:pt x="1530" y="722"/>
                  </a:lnTo>
                  <a:lnTo>
                    <a:pt x="1526" y="722"/>
                  </a:lnTo>
                  <a:lnTo>
                    <a:pt x="1516" y="724"/>
                  </a:lnTo>
                  <a:lnTo>
                    <a:pt x="1508" y="730"/>
                  </a:lnTo>
                  <a:lnTo>
                    <a:pt x="1500" y="738"/>
                  </a:lnTo>
                  <a:lnTo>
                    <a:pt x="1488" y="750"/>
                  </a:lnTo>
                  <a:lnTo>
                    <a:pt x="1482" y="754"/>
                  </a:lnTo>
                  <a:lnTo>
                    <a:pt x="1480" y="752"/>
                  </a:lnTo>
                  <a:lnTo>
                    <a:pt x="1478" y="748"/>
                  </a:lnTo>
                  <a:lnTo>
                    <a:pt x="1478" y="742"/>
                  </a:lnTo>
                  <a:lnTo>
                    <a:pt x="1482" y="728"/>
                  </a:lnTo>
                  <a:lnTo>
                    <a:pt x="1486" y="716"/>
                  </a:lnTo>
                  <a:lnTo>
                    <a:pt x="1488" y="712"/>
                  </a:lnTo>
                  <a:lnTo>
                    <a:pt x="1486" y="708"/>
                  </a:lnTo>
                  <a:lnTo>
                    <a:pt x="1482" y="702"/>
                  </a:lnTo>
                  <a:lnTo>
                    <a:pt x="1480" y="698"/>
                  </a:lnTo>
                  <a:lnTo>
                    <a:pt x="1478" y="688"/>
                  </a:lnTo>
                  <a:lnTo>
                    <a:pt x="1476" y="684"/>
                  </a:lnTo>
                  <a:lnTo>
                    <a:pt x="1470" y="680"/>
                  </a:lnTo>
                  <a:lnTo>
                    <a:pt x="1464" y="678"/>
                  </a:lnTo>
                  <a:lnTo>
                    <a:pt x="1454" y="674"/>
                  </a:lnTo>
                  <a:lnTo>
                    <a:pt x="1444" y="670"/>
                  </a:lnTo>
                  <a:lnTo>
                    <a:pt x="1438" y="668"/>
                  </a:lnTo>
                  <a:lnTo>
                    <a:pt x="1428" y="658"/>
                  </a:lnTo>
                  <a:lnTo>
                    <a:pt x="1420" y="652"/>
                  </a:lnTo>
                  <a:lnTo>
                    <a:pt x="1416" y="650"/>
                  </a:lnTo>
                  <a:lnTo>
                    <a:pt x="1410" y="650"/>
                  </a:lnTo>
                  <a:lnTo>
                    <a:pt x="1400" y="648"/>
                  </a:lnTo>
                  <a:lnTo>
                    <a:pt x="1392" y="644"/>
                  </a:lnTo>
                  <a:lnTo>
                    <a:pt x="1382" y="640"/>
                  </a:lnTo>
                  <a:lnTo>
                    <a:pt x="1362" y="638"/>
                  </a:lnTo>
                  <a:lnTo>
                    <a:pt x="1354" y="638"/>
                  </a:lnTo>
                  <a:lnTo>
                    <a:pt x="1348" y="640"/>
                  </a:lnTo>
                  <a:lnTo>
                    <a:pt x="1340" y="644"/>
                  </a:lnTo>
                  <a:lnTo>
                    <a:pt x="1332" y="654"/>
                  </a:lnTo>
                  <a:lnTo>
                    <a:pt x="1326" y="662"/>
                  </a:lnTo>
                  <a:lnTo>
                    <a:pt x="1318" y="676"/>
                  </a:lnTo>
                  <a:lnTo>
                    <a:pt x="1314" y="678"/>
                  </a:lnTo>
                  <a:lnTo>
                    <a:pt x="1312" y="674"/>
                  </a:lnTo>
                  <a:lnTo>
                    <a:pt x="1310" y="666"/>
                  </a:lnTo>
                  <a:lnTo>
                    <a:pt x="1314" y="658"/>
                  </a:lnTo>
                  <a:lnTo>
                    <a:pt x="1322" y="642"/>
                  </a:lnTo>
                  <a:lnTo>
                    <a:pt x="1326" y="634"/>
                  </a:lnTo>
                  <a:lnTo>
                    <a:pt x="1326" y="628"/>
                  </a:lnTo>
                  <a:lnTo>
                    <a:pt x="1326" y="626"/>
                  </a:lnTo>
                  <a:lnTo>
                    <a:pt x="1322" y="622"/>
                  </a:lnTo>
                  <a:lnTo>
                    <a:pt x="1314" y="618"/>
                  </a:lnTo>
                  <a:lnTo>
                    <a:pt x="1296" y="614"/>
                  </a:lnTo>
                  <a:lnTo>
                    <a:pt x="1288" y="614"/>
                  </a:lnTo>
                  <a:lnTo>
                    <a:pt x="1278" y="616"/>
                  </a:lnTo>
                  <a:lnTo>
                    <a:pt x="1256" y="612"/>
                  </a:lnTo>
                  <a:lnTo>
                    <a:pt x="1246" y="612"/>
                  </a:lnTo>
                  <a:lnTo>
                    <a:pt x="1240" y="614"/>
                  </a:lnTo>
                  <a:lnTo>
                    <a:pt x="1234" y="620"/>
                  </a:lnTo>
                  <a:lnTo>
                    <a:pt x="1230" y="626"/>
                  </a:lnTo>
                  <a:lnTo>
                    <a:pt x="1230" y="634"/>
                  </a:lnTo>
                  <a:lnTo>
                    <a:pt x="1228" y="642"/>
                  </a:lnTo>
                  <a:lnTo>
                    <a:pt x="1228" y="656"/>
                  </a:lnTo>
                  <a:lnTo>
                    <a:pt x="1226" y="652"/>
                  </a:lnTo>
                  <a:lnTo>
                    <a:pt x="1222" y="652"/>
                  </a:lnTo>
                  <a:lnTo>
                    <a:pt x="1216" y="658"/>
                  </a:lnTo>
                  <a:lnTo>
                    <a:pt x="1214" y="660"/>
                  </a:lnTo>
                  <a:lnTo>
                    <a:pt x="1212" y="660"/>
                  </a:lnTo>
                  <a:lnTo>
                    <a:pt x="1212" y="658"/>
                  </a:lnTo>
                  <a:lnTo>
                    <a:pt x="1214" y="650"/>
                  </a:lnTo>
                  <a:lnTo>
                    <a:pt x="1216" y="642"/>
                  </a:lnTo>
                  <a:lnTo>
                    <a:pt x="1214" y="638"/>
                  </a:lnTo>
                  <a:lnTo>
                    <a:pt x="1210" y="636"/>
                  </a:lnTo>
                  <a:lnTo>
                    <a:pt x="1206" y="638"/>
                  </a:lnTo>
                  <a:lnTo>
                    <a:pt x="1198" y="640"/>
                  </a:lnTo>
                  <a:lnTo>
                    <a:pt x="1198" y="636"/>
                  </a:lnTo>
                  <a:lnTo>
                    <a:pt x="1202" y="632"/>
                  </a:lnTo>
                  <a:lnTo>
                    <a:pt x="1202" y="628"/>
                  </a:lnTo>
                  <a:lnTo>
                    <a:pt x="1204" y="620"/>
                  </a:lnTo>
                  <a:lnTo>
                    <a:pt x="1204" y="616"/>
                  </a:lnTo>
                  <a:lnTo>
                    <a:pt x="1206" y="614"/>
                  </a:lnTo>
                  <a:lnTo>
                    <a:pt x="1210" y="610"/>
                  </a:lnTo>
                  <a:lnTo>
                    <a:pt x="1216" y="608"/>
                  </a:lnTo>
                  <a:lnTo>
                    <a:pt x="1224" y="604"/>
                  </a:lnTo>
                  <a:lnTo>
                    <a:pt x="1230" y="596"/>
                  </a:lnTo>
                  <a:lnTo>
                    <a:pt x="1240" y="582"/>
                  </a:lnTo>
                  <a:lnTo>
                    <a:pt x="1248" y="566"/>
                  </a:lnTo>
                  <a:lnTo>
                    <a:pt x="1254" y="560"/>
                  </a:lnTo>
                  <a:lnTo>
                    <a:pt x="1260" y="556"/>
                  </a:lnTo>
                  <a:lnTo>
                    <a:pt x="1264" y="554"/>
                  </a:lnTo>
                  <a:lnTo>
                    <a:pt x="1266" y="548"/>
                  </a:lnTo>
                  <a:lnTo>
                    <a:pt x="1266" y="542"/>
                  </a:lnTo>
                  <a:lnTo>
                    <a:pt x="1266" y="536"/>
                  </a:lnTo>
                  <a:lnTo>
                    <a:pt x="1264" y="528"/>
                  </a:lnTo>
                  <a:lnTo>
                    <a:pt x="1260" y="524"/>
                  </a:lnTo>
                  <a:lnTo>
                    <a:pt x="1256" y="520"/>
                  </a:lnTo>
                  <a:lnTo>
                    <a:pt x="1252" y="518"/>
                  </a:lnTo>
                  <a:lnTo>
                    <a:pt x="1244" y="518"/>
                  </a:lnTo>
                  <a:lnTo>
                    <a:pt x="1240" y="516"/>
                  </a:lnTo>
                  <a:lnTo>
                    <a:pt x="1238" y="514"/>
                  </a:lnTo>
                  <a:lnTo>
                    <a:pt x="1238" y="508"/>
                  </a:lnTo>
                  <a:lnTo>
                    <a:pt x="1236" y="504"/>
                  </a:lnTo>
                  <a:lnTo>
                    <a:pt x="1234" y="502"/>
                  </a:lnTo>
                  <a:lnTo>
                    <a:pt x="1234" y="500"/>
                  </a:lnTo>
                  <a:lnTo>
                    <a:pt x="1232" y="494"/>
                  </a:lnTo>
                  <a:lnTo>
                    <a:pt x="1232" y="490"/>
                  </a:lnTo>
                  <a:lnTo>
                    <a:pt x="1230" y="488"/>
                  </a:lnTo>
                  <a:lnTo>
                    <a:pt x="1228" y="484"/>
                  </a:lnTo>
                  <a:lnTo>
                    <a:pt x="1226" y="480"/>
                  </a:lnTo>
                  <a:lnTo>
                    <a:pt x="1226" y="476"/>
                  </a:lnTo>
                  <a:lnTo>
                    <a:pt x="1226" y="472"/>
                  </a:lnTo>
                  <a:lnTo>
                    <a:pt x="1222" y="466"/>
                  </a:lnTo>
                  <a:lnTo>
                    <a:pt x="1220" y="444"/>
                  </a:lnTo>
                  <a:lnTo>
                    <a:pt x="1218" y="422"/>
                  </a:lnTo>
                  <a:lnTo>
                    <a:pt x="1218" y="418"/>
                  </a:lnTo>
                  <a:lnTo>
                    <a:pt x="1216" y="416"/>
                  </a:lnTo>
                  <a:lnTo>
                    <a:pt x="1214" y="414"/>
                  </a:lnTo>
                  <a:lnTo>
                    <a:pt x="1212" y="410"/>
                  </a:lnTo>
                  <a:lnTo>
                    <a:pt x="1206" y="398"/>
                  </a:lnTo>
                  <a:lnTo>
                    <a:pt x="1202" y="392"/>
                  </a:lnTo>
                  <a:lnTo>
                    <a:pt x="1200" y="392"/>
                  </a:lnTo>
                  <a:lnTo>
                    <a:pt x="1198" y="394"/>
                  </a:lnTo>
                  <a:lnTo>
                    <a:pt x="1198" y="396"/>
                  </a:lnTo>
                  <a:lnTo>
                    <a:pt x="1196" y="402"/>
                  </a:lnTo>
                  <a:lnTo>
                    <a:pt x="1192" y="410"/>
                  </a:lnTo>
                  <a:lnTo>
                    <a:pt x="1192" y="406"/>
                  </a:lnTo>
                  <a:lnTo>
                    <a:pt x="1192" y="404"/>
                  </a:lnTo>
                  <a:lnTo>
                    <a:pt x="1192" y="400"/>
                  </a:lnTo>
                  <a:lnTo>
                    <a:pt x="1192" y="394"/>
                  </a:lnTo>
                  <a:lnTo>
                    <a:pt x="1188" y="380"/>
                  </a:lnTo>
                  <a:lnTo>
                    <a:pt x="1186" y="380"/>
                  </a:lnTo>
                  <a:lnTo>
                    <a:pt x="1184" y="382"/>
                  </a:lnTo>
                  <a:lnTo>
                    <a:pt x="1182" y="382"/>
                  </a:lnTo>
                  <a:lnTo>
                    <a:pt x="1180" y="380"/>
                  </a:lnTo>
                  <a:lnTo>
                    <a:pt x="1178" y="374"/>
                  </a:lnTo>
                  <a:lnTo>
                    <a:pt x="1174" y="372"/>
                  </a:lnTo>
                  <a:lnTo>
                    <a:pt x="1172" y="368"/>
                  </a:lnTo>
                  <a:lnTo>
                    <a:pt x="1166" y="364"/>
                  </a:lnTo>
                  <a:lnTo>
                    <a:pt x="1158" y="360"/>
                  </a:lnTo>
                  <a:lnTo>
                    <a:pt x="1154" y="356"/>
                  </a:lnTo>
                  <a:lnTo>
                    <a:pt x="1150" y="350"/>
                  </a:lnTo>
                  <a:lnTo>
                    <a:pt x="1148" y="346"/>
                  </a:lnTo>
                  <a:lnTo>
                    <a:pt x="1144" y="342"/>
                  </a:lnTo>
                  <a:lnTo>
                    <a:pt x="1136" y="338"/>
                  </a:lnTo>
                  <a:lnTo>
                    <a:pt x="1126" y="334"/>
                  </a:lnTo>
                  <a:lnTo>
                    <a:pt x="1114" y="330"/>
                  </a:lnTo>
                  <a:lnTo>
                    <a:pt x="1102" y="324"/>
                  </a:lnTo>
                  <a:lnTo>
                    <a:pt x="1072" y="316"/>
                  </a:lnTo>
                  <a:lnTo>
                    <a:pt x="1060" y="314"/>
                  </a:lnTo>
                  <a:lnTo>
                    <a:pt x="1056" y="314"/>
                  </a:lnTo>
                  <a:lnTo>
                    <a:pt x="1054" y="316"/>
                  </a:lnTo>
                  <a:lnTo>
                    <a:pt x="1048" y="316"/>
                  </a:lnTo>
                  <a:lnTo>
                    <a:pt x="1038" y="314"/>
                  </a:lnTo>
                  <a:lnTo>
                    <a:pt x="1026" y="314"/>
                  </a:lnTo>
                  <a:lnTo>
                    <a:pt x="1024" y="316"/>
                  </a:lnTo>
                  <a:lnTo>
                    <a:pt x="1022" y="318"/>
                  </a:lnTo>
                  <a:lnTo>
                    <a:pt x="1022" y="322"/>
                  </a:lnTo>
                  <a:lnTo>
                    <a:pt x="1018" y="322"/>
                  </a:lnTo>
                  <a:lnTo>
                    <a:pt x="1006" y="318"/>
                  </a:lnTo>
                  <a:lnTo>
                    <a:pt x="998" y="316"/>
                  </a:lnTo>
                  <a:lnTo>
                    <a:pt x="990" y="314"/>
                  </a:lnTo>
                  <a:lnTo>
                    <a:pt x="982" y="316"/>
                  </a:lnTo>
                  <a:lnTo>
                    <a:pt x="974" y="318"/>
                  </a:lnTo>
                  <a:lnTo>
                    <a:pt x="972" y="316"/>
                  </a:lnTo>
                  <a:lnTo>
                    <a:pt x="972" y="314"/>
                  </a:lnTo>
                  <a:lnTo>
                    <a:pt x="968" y="308"/>
                  </a:lnTo>
                  <a:lnTo>
                    <a:pt x="966" y="302"/>
                  </a:lnTo>
                  <a:lnTo>
                    <a:pt x="964" y="300"/>
                  </a:lnTo>
                  <a:lnTo>
                    <a:pt x="962" y="298"/>
                  </a:lnTo>
                  <a:lnTo>
                    <a:pt x="958" y="296"/>
                  </a:lnTo>
                  <a:lnTo>
                    <a:pt x="956" y="294"/>
                  </a:lnTo>
                  <a:lnTo>
                    <a:pt x="954" y="288"/>
                  </a:lnTo>
                  <a:lnTo>
                    <a:pt x="952" y="284"/>
                  </a:lnTo>
                  <a:lnTo>
                    <a:pt x="948" y="280"/>
                  </a:lnTo>
                  <a:lnTo>
                    <a:pt x="942" y="276"/>
                  </a:lnTo>
                  <a:lnTo>
                    <a:pt x="934" y="274"/>
                  </a:lnTo>
                  <a:lnTo>
                    <a:pt x="920" y="270"/>
                  </a:lnTo>
                  <a:lnTo>
                    <a:pt x="916" y="268"/>
                  </a:lnTo>
                  <a:lnTo>
                    <a:pt x="916" y="264"/>
                  </a:lnTo>
                  <a:lnTo>
                    <a:pt x="918" y="254"/>
                  </a:lnTo>
                  <a:lnTo>
                    <a:pt x="918" y="248"/>
                  </a:lnTo>
                  <a:lnTo>
                    <a:pt x="918" y="242"/>
                  </a:lnTo>
                  <a:lnTo>
                    <a:pt x="914" y="234"/>
                  </a:lnTo>
                  <a:lnTo>
                    <a:pt x="908" y="228"/>
                  </a:lnTo>
                  <a:lnTo>
                    <a:pt x="892" y="214"/>
                  </a:lnTo>
                  <a:lnTo>
                    <a:pt x="868" y="198"/>
                  </a:lnTo>
                  <a:lnTo>
                    <a:pt x="862" y="192"/>
                  </a:lnTo>
                  <a:lnTo>
                    <a:pt x="852" y="188"/>
                  </a:lnTo>
                  <a:lnTo>
                    <a:pt x="840" y="188"/>
                  </a:lnTo>
                  <a:lnTo>
                    <a:pt x="830" y="188"/>
                  </a:lnTo>
                  <a:lnTo>
                    <a:pt x="818" y="190"/>
                  </a:lnTo>
                  <a:lnTo>
                    <a:pt x="804" y="194"/>
                  </a:lnTo>
                  <a:lnTo>
                    <a:pt x="802" y="192"/>
                  </a:lnTo>
                  <a:lnTo>
                    <a:pt x="804" y="190"/>
                  </a:lnTo>
                  <a:lnTo>
                    <a:pt x="808" y="184"/>
                  </a:lnTo>
                  <a:lnTo>
                    <a:pt x="810" y="180"/>
                  </a:lnTo>
                  <a:lnTo>
                    <a:pt x="812" y="172"/>
                  </a:lnTo>
                  <a:lnTo>
                    <a:pt x="814" y="164"/>
                  </a:lnTo>
                  <a:lnTo>
                    <a:pt x="816" y="160"/>
                  </a:lnTo>
                  <a:lnTo>
                    <a:pt x="822" y="156"/>
                  </a:lnTo>
                  <a:lnTo>
                    <a:pt x="826" y="152"/>
                  </a:lnTo>
                  <a:lnTo>
                    <a:pt x="826" y="150"/>
                  </a:lnTo>
                  <a:lnTo>
                    <a:pt x="826" y="148"/>
                  </a:lnTo>
                  <a:lnTo>
                    <a:pt x="822" y="146"/>
                  </a:lnTo>
                  <a:lnTo>
                    <a:pt x="814" y="142"/>
                  </a:lnTo>
                  <a:lnTo>
                    <a:pt x="810" y="138"/>
                  </a:lnTo>
                  <a:lnTo>
                    <a:pt x="808" y="134"/>
                  </a:lnTo>
                  <a:lnTo>
                    <a:pt x="804" y="130"/>
                  </a:lnTo>
                  <a:lnTo>
                    <a:pt x="800" y="128"/>
                  </a:lnTo>
                  <a:lnTo>
                    <a:pt x="792" y="128"/>
                  </a:lnTo>
                  <a:lnTo>
                    <a:pt x="784" y="126"/>
                  </a:lnTo>
                  <a:lnTo>
                    <a:pt x="780" y="124"/>
                  </a:lnTo>
                  <a:lnTo>
                    <a:pt x="778" y="122"/>
                  </a:lnTo>
                  <a:lnTo>
                    <a:pt x="772" y="116"/>
                  </a:lnTo>
                  <a:lnTo>
                    <a:pt x="766" y="112"/>
                  </a:lnTo>
                  <a:lnTo>
                    <a:pt x="752" y="104"/>
                  </a:lnTo>
                  <a:lnTo>
                    <a:pt x="746" y="100"/>
                  </a:lnTo>
                  <a:lnTo>
                    <a:pt x="744" y="98"/>
                  </a:lnTo>
                  <a:lnTo>
                    <a:pt x="748" y="94"/>
                  </a:lnTo>
                  <a:lnTo>
                    <a:pt x="756" y="92"/>
                  </a:lnTo>
                  <a:lnTo>
                    <a:pt x="772" y="88"/>
                  </a:lnTo>
                  <a:lnTo>
                    <a:pt x="782" y="84"/>
                  </a:lnTo>
                  <a:lnTo>
                    <a:pt x="782" y="82"/>
                  </a:lnTo>
                  <a:lnTo>
                    <a:pt x="778" y="80"/>
                  </a:lnTo>
                  <a:lnTo>
                    <a:pt x="762" y="78"/>
                  </a:lnTo>
                  <a:lnTo>
                    <a:pt x="744" y="78"/>
                  </a:lnTo>
                  <a:lnTo>
                    <a:pt x="736" y="80"/>
                  </a:lnTo>
                  <a:lnTo>
                    <a:pt x="726" y="82"/>
                  </a:lnTo>
                  <a:lnTo>
                    <a:pt x="706" y="84"/>
                  </a:lnTo>
                  <a:lnTo>
                    <a:pt x="696" y="84"/>
                  </a:lnTo>
                  <a:lnTo>
                    <a:pt x="688" y="86"/>
                  </a:lnTo>
                  <a:lnTo>
                    <a:pt x="684" y="88"/>
                  </a:lnTo>
                  <a:lnTo>
                    <a:pt x="682" y="92"/>
                  </a:lnTo>
                  <a:lnTo>
                    <a:pt x="680" y="98"/>
                  </a:lnTo>
                  <a:lnTo>
                    <a:pt x="678" y="100"/>
                  </a:lnTo>
                  <a:lnTo>
                    <a:pt x="674" y="104"/>
                  </a:lnTo>
                  <a:lnTo>
                    <a:pt x="662" y="110"/>
                  </a:lnTo>
                  <a:lnTo>
                    <a:pt x="654" y="112"/>
                  </a:lnTo>
                  <a:lnTo>
                    <a:pt x="646" y="112"/>
                  </a:lnTo>
                  <a:lnTo>
                    <a:pt x="638" y="112"/>
                  </a:lnTo>
                  <a:lnTo>
                    <a:pt x="630" y="108"/>
                  </a:lnTo>
                  <a:lnTo>
                    <a:pt x="622" y="102"/>
                  </a:lnTo>
                  <a:lnTo>
                    <a:pt x="616" y="94"/>
                  </a:lnTo>
                  <a:lnTo>
                    <a:pt x="612" y="88"/>
                  </a:lnTo>
                  <a:lnTo>
                    <a:pt x="608" y="86"/>
                  </a:lnTo>
                  <a:lnTo>
                    <a:pt x="602" y="84"/>
                  </a:lnTo>
                  <a:lnTo>
                    <a:pt x="594" y="84"/>
                  </a:lnTo>
                  <a:lnTo>
                    <a:pt x="580" y="86"/>
                  </a:lnTo>
                  <a:lnTo>
                    <a:pt x="564" y="90"/>
                  </a:lnTo>
                  <a:lnTo>
                    <a:pt x="548" y="94"/>
                  </a:lnTo>
                  <a:lnTo>
                    <a:pt x="536" y="94"/>
                  </a:lnTo>
                  <a:lnTo>
                    <a:pt x="530" y="92"/>
                  </a:lnTo>
                  <a:lnTo>
                    <a:pt x="526" y="90"/>
                  </a:lnTo>
                  <a:lnTo>
                    <a:pt x="524" y="84"/>
                  </a:lnTo>
                  <a:lnTo>
                    <a:pt x="522" y="78"/>
                  </a:lnTo>
                  <a:lnTo>
                    <a:pt x="520" y="64"/>
                  </a:lnTo>
                  <a:lnTo>
                    <a:pt x="516" y="56"/>
                  </a:lnTo>
                  <a:lnTo>
                    <a:pt x="508" y="50"/>
                  </a:lnTo>
                  <a:lnTo>
                    <a:pt x="500" y="46"/>
                  </a:lnTo>
                  <a:lnTo>
                    <a:pt x="490" y="44"/>
                  </a:lnTo>
                  <a:lnTo>
                    <a:pt x="482" y="40"/>
                  </a:lnTo>
                  <a:lnTo>
                    <a:pt x="474" y="32"/>
                  </a:lnTo>
                  <a:lnTo>
                    <a:pt x="468" y="22"/>
                  </a:lnTo>
                  <a:lnTo>
                    <a:pt x="464" y="12"/>
                  </a:lnTo>
                  <a:lnTo>
                    <a:pt x="458" y="8"/>
                  </a:lnTo>
                  <a:lnTo>
                    <a:pt x="454" y="8"/>
                  </a:lnTo>
                  <a:lnTo>
                    <a:pt x="450" y="10"/>
                  </a:lnTo>
                  <a:lnTo>
                    <a:pt x="446" y="16"/>
                  </a:lnTo>
                  <a:lnTo>
                    <a:pt x="444" y="22"/>
                  </a:lnTo>
                  <a:lnTo>
                    <a:pt x="444" y="28"/>
                  </a:lnTo>
                  <a:lnTo>
                    <a:pt x="444" y="34"/>
                  </a:lnTo>
                  <a:lnTo>
                    <a:pt x="448" y="40"/>
                  </a:lnTo>
                  <a:lnTo>
                    <a:pt x="452" y="48"/>
                  </a:lnTo>
                  <a:lnTo>
                    <a:pt x="452" y="50"/>
                  </a:lnTo>
                  <a:lnTo>
                    <a:pt x="448" y="52"/>
                  </a:lnTo>
                  <a:lnTo>
                    <a:pt x="430" y="56"/>
                  </a:lnTo>
                  <a:lnTo>
                    <a:pt x="420" y="60"/>
                  </a:lnTo>
                  <a:lnTo>
                    <a:pt x="410" y="64"/>
                  </a:lnTo>
                  <a:lnTo>
                    <a:pt x="402" y="70"/>
                  </a:lnTo>
                  <a:lnTo>
                    <a:pt x="398" y="74"/>
                  </a:lnTo>
                  <a:lnTo>
                    <a:pt x="392" y="80"/>
                  </a:lnTo>
                  <a:lnTo>
                    <a:pt x="390" y="78"/>
                  </a:lnTo>
                  <a:lnTo>
                    <a:pt x="388" y="72"/>
                  </a:lnTo>
                  <a:lnTo>
                    <a:pt x="386" y="64"/>
                  </a:lnTo>
                  <a:lnTo>
                    <a:pt x="380" y="56"/>
                  </a:lnTo>
                  <a:lnTo>
                    <a:pt x="376" y="52"/>
                  </a:lnTo>
                  <a:lnTo>
                    <a:pt x="376" y="48"/>
                  </a:lnTo>
                  <a:lnTo>
                    <a:pt x="378" y="44"/>
                  </a:lnTo>
                  <a:lnTo>
                    <a:pt x="382" y="40"/>
                  </a:lnTo>
                  <a:lnTo>
                    <a:pt x="392" y="32"/>
                  </a:lnTo>
                  <a:lnTo>
                    <a:pt x="402" y="26"/>
                  </a:lnTo>
                  <a:lnTo>
                    <a:pt x="406" y="24"/>
                  </a:lnTo>
                  <a:lnTo>
                    <a:pt x="410" y="20"/>
                  </a:lnTo>
                  <a:lnTo>
                    <a:pt x="410" y="14"/>
                  </a:lnTo>
                  <a:lnTo>
                    <a:pt x="410" y="10"/>
                  </a:lnTo>
                  <a:lnTo>
                    <a:pt x="408" y="6"/>
                  </a:lnTo>
                  <a:lnTo>
                    <a:pt x="404" y="2"/>
                  </a:lnTo>
                  <a:lnTo>
                    <a:pt x="398" y="0"/>
                  </a:lnTo>
                  <a:lnTo>
                    <a:pt x="390" y="0"/>
                  </a:lnTo>
                  <a:lnTo>
                    <a:pt x="378" y="4"/>
                  </a:lnTo>
                  <a:lnTo>
                    <a:pt x="374" y="6"/>
                  </a:lnTo>
                  <a:lnTo>
                    <a:pt x="370" y="10"/>
                  </a:lnTo>
                  <a:lnTo>
                    <a:pt x="362" y="20"/>
                  </a:lnTo>
                  <a:lnTo>
                    <a:pt x="354" y="26"/>
                  </a:lnTo>
                  <a:lnTo>
                    <a:pt x="344" y="36"/>
                  </a:lnTo>
                  <a:lnTo>
                    <a:pt x="328" y="46"/>
                  </a:lnTo>
                  <a:lnTo>
                    <a:pt x="316" y="50"/>
                  </a:lnTo>
                  <a:lnTo>
                    <a:pt x="306" y="52"/>
                  </a:lnTo>
                  <a:lnTo>
                    <a:pt x="298" y="52"/>
                  </a:lnTo>
                  <a:lnTo>
                    <a:pt x="294" y="50"/>
                  </a:lnTo>
                  <a:lnTo>
                    <a:pt x="290" y="50"/>
                  </a:lnTo>
                  <a:lnTo>
                    <a:pt x="286" y="52"/>
                  </a:lnTo>
                  <a:lnTo>
                    <a:pt x="284" y="58"/>
                  </a:lnTo>
                  <a:lnTo>
                    <a:pt x="280" y="66"/>
                  </a:lnTo>
                  <a:lnTo>
                    <a:pt x="276" y="68"/>
                  </a:lnTo>
                  <a:lnTo>
                    <a:pt x="270" y="68"/>
                  </a:lnTo>
                  <a:lnTo>
                    <a:pt x="266" y="66"/>
                  </a:lnTo>
                  <a:lnTo>
                    <a:pt x="256" y="62"/>
                  </a:lnTo>
                  <a:lnTo>
                    <a:pt x="252" y="64"/>
                  </a:lnTo>
                  <a:lnTo>
                    <a:pt x="250" y="68"/>
                  </a:lnTo>
                  <a:lnTo>
                    <a:pt x="248" y="72"/>
                  </a:lnTo>
                  <a:lnTo>
                    <a:pt x="244" y="78"/>
                  </a:lnTo>
                  <a:lnTo>
                    <a:pt x="238" y="86"/>
                  </a:lnTo>
                  <a:lnTo>
                    <a:pt x="234" y="92"/>
                  </a:lnTo>
                  <a:lnTo>
                    <a:pt x="232" y="100"/>
                  </a:lnTo>
                  <a:lnTo>
                    <a:pt x="230" y="110"/>
                  </a:lnTo>
                  <a:lnTo>
                    <a:pt x="230" y="122"/>
                  </a:lnTo>
                  <a:lnTo>
                    <a:pt x="230" y="134"/>
                  </a:lnTo>
                  <a:lnTo>
                    <a:pt x="226" y="142"/>
                  </a:lnTo>
                  <a:lnTo>
                    <a:pt x="224" y="144"/>
                  </a:lnTo>
                  <a:lnTo>
                    <a:pt x="220" y="146"/>
                  </a:lnTo>
                  <a:lnTo>
                    <a:pt x="214" y="146"/>
                  </a:lnTo>
                  <a:lnTo>
                    <a:pt x="210" y="148"/>
                  </a:lnTo>
                  <a:lnTo>
                    <a:pt x="208" y="150"/>
                  </a:lnTo>
                  <a:lnTo>
                    <a:pt x="206" y="158"/>
                  </a:lnTo>
                  <a:lnTo>
                    <a:pt x="202" y="166"/>
                  </a:lnTo>
                  <a:lnTo>
                    <a:pt x="198" y="170"/>
                  </a:lnTo>
                  <a:lnTo>
                    <a:pt x="180" y="202"/>
                  </a:lnTo>
                  <a:lnTo>
                    <a:pt x="182" y="212"/>
                  </a:lnTo>
                  <a:lnTo>
                    <a:pt x="182" y="214"/>
                  </a:lnTo>
                  <a:lnTo>
                    <a:pt x="180" y="214"/>
                  </a:lnTo>
                  <a:lnTo>
                    <a:pt x="176" y="210"/>
                  </a:lnTo>
                  <a:lnTo>
                    <a:pt x="144" y="264"/>
                  </a:lnTo>
                  <a:lnTo>
                    <a:pt x="146" y="274"/>
                  </a:lnTo>
                  <a:lnTo>
                    <a:pt x="148" y="278"/>
                  </a:lnTo>
                  <a:lnTo>
                    <a:pt x="152" y="280"/>
                  </a:lnTo>
                  <a:lnTo>
                    <a:pt x="156" y="284"/>
                  </a:lnTo>
                  <a:lnTo>
                    <a:pt x="158" y="286"/>
                  </a:lnTo>
                  <a:lnTo>
                    <a:pt x="158" y="290"/>
                  </a:lnTo>
                  <a:lnTo>
                    <a:pt x="156" y="296"/>
                  </a:lnTo>
                  <a:lnTo>
                    <a:pt x="154" y="304"/>
                  </a:lnTo>
                  <a:lnTo>
                    <a:pt x="154" y="310"/>
                  </a:lnTo>
                  <a:lnTo>
                    <a:pt x="156" y="314"/>
                  </a:lnTo>
                  <a:lnTo>
                    <a:pt x="162" y="320"/>
                  </a:lnTo>
                  <a:lnTo>
                    <a:pt x="162" y="324"/>
                  </a:lnTo>
                  <a:lnTo>
                    <a:pt x="160" y="328"/>
                  </a:lnTo>
                  <a:lnTo>
                    <a:pt x="158" y="330"/>
                  </a:lnTo>
                  <a:lnTo>
                    <a:pt x="154" y="334"/>
                  </a:lnTo>
                  <a:lnTo>
                    <a:pt x="152" y="338"/>
                  </a:lnTo>
                  <a:lnTo>
                    <a:pt x="150" y="348"/>
                  </a:lnTo>
                  <a:lnTo>
                    <a:pt x="152" y="360"/>
                  </a:lnTo>
                  <a:lnTo>
                    <a:pt x="154" y="374"/>
                  </a:lnTo>
                  <a:lnTo>
                    <a:pt x="154" y="386"/>
                  </a:lnTo>
                  <a:lnTo>
                    <a:pt x="152" y="406"/>
                  </a:lnTo>
                  <a:lnTo>
                    <a:pt x="152" y="418"/>
                  </a:lnTo>
                  <a:lnTo>
                    <a:pt x="152" y="422"/>
                  </a:lnTo>
                  <a:lnTo>
                    <a:pt x="156" y="424"/>
                  </a:lnTo>
                  <a:lnTo>
                    <a:pt x="158" y="428"/>
                  </a:lnTo>
                  <a:lnTo>
                    <a:pt x="158" y="434"/>
                  </a:lnTo>
                  <a:lnTo>
                    <a:pt x="158" y="444"/>
                  </a:lnTo>
                  <a:lnTo>
                    <a:pt x="154" y="454"/>
                  </a:lnTo>
                  <a:lnTo>
                    <a:pt x="150" y="464"/>
                  </a:lnTo>
                  <a:lnTo>
                    <a:pt x="144" y="472"/>
                  </a:lnTo>
                  <a:lnTo>
                    <a:pt x="138" y="478"/>
                  </a:lnTo>
                  <a:lnTo>
                    <a:pt x="132" y="480"/>
                  </a:lnTo>
                  <a:lnTo>
                    <a:pt x="118" y="482"/>
                  </a:lnTo>
                  <a:lnTo>
                    <a:pt x="110" y="486"/>
                  </a:lnTo>
                  <a:lnTo>
                    <a:pt x="106" y="490"/>
                  </a:lnTo>
                  <a:lnTo>
                    <a:pt x="104" y="494"/>
                  </a:lnTo>
                  <a:lnTo>
                    <a:pt x="104" y="498"/>
                  </a:lnTo>
                  <a:lnTo>
                    <a:pt x="104" y="504"/>
                  </a:lnTo>
                  <a:lnTo>
                    <a:pt x="104" y="510"/>
                  </a:lnTo>
                  <a:lnTo>
                    <a:pt x="102" y="512"/>
                  </a:lnTo>
                  <a:lnTo>
                    <a:pt x="96" y="516"/>
                  </a:lnTo>
                  <a:lnTo>
                    <a:pt x="92" y="518"/>
                  </a:lnTo>
                  <a:lnTo>
                    <a:pt x="92" y="520"/>
                  </a:lnTo>
                  <a:lnTo>
                    <a:pt x="94" y="526"/>
                  </a:lnTo>
                  <a:lnTo>
                    <a:pt x="98" y="536"/>
                  </a:lnTo>
                  <a:lnTo>
                    <a:pt x="98" y="540"/>
                  </a:lnTo>
                  <a:lnTo>
                    <a:pt x="98" y="542"/>
                  </a:lnTo>
                  <a:lnTo>
                    <a:pt x="92" y="548"/>
                  </a:lnTo>
                  <a:lnTo>
                    <a:pt x="84" y="552"/>
                  </a:lnTo>
                  <a:lnTo>
                    <a:pt x="74" y="554"/>
                  </a:lnTo>
                  <a:lnTo>
                    <a:pt x="64" y="558"/>
                  </a:lnTo>
                  <a:lnTo>
                    <a:pt x="56" y="562"/>
                  </a:lnTo>
                  <a:lnTo>
                    <a:pt x="50" y="570"/>
                  </a:lnTo>
                  <a:lnTo>
                    <a:pt x="50" y="574"/>
                  </a:lnTo>
                  <a:lnTo>
                    <a:pt x="50" y="578"/>
                  </a:lnTo>
                  <a:lnTo>
                    <a:pt x="50" y="592"/>
                  </a:lnTo>
                  <a:lnTo>
                    <a:pt x="48" y="600"/>
                  </a:lnTo>
                  <a:lnTo>
                    <a:pt x="46" y="606"/>
                  </a:lnTo>
                  <a:lnTo>
                    <a:pt x="42" y="610"/>
                  </a:lnTo>
                  <a:lnTo>
                    <a:pt x="36" y="618"/>
                  </a:lnTo>
                  <a:lnTo>
                    <a:pt x="34" y="624"/>
                  </a:lnTo>
                  <a:lnTo>
                    <a:pt x="34" y="632"/>
                  </a:lnTo>
                  <a:lnTo>
                    <a:pt x="34" y="642"/>
                  </a:lnTo>
                  <a:lnTo>
                    <a:pt x="30" y="646"/>
                  </a:lnTo>
                  <a:lnTo>
                    <a:pt x="28" y="648"/>
                  </a:lnTo>
                  <a:lnTo>
                    <a:pt x="22" y="650"/>
                  </a:lnTo>
                  <a:lnTo>
                    <a:pt x="18" y="652"/>
                  </a:lnTo>
                  <a:lnTo>
                    <a:pt x="16" y="654"/>
                  </a:lnTo>
                  <a:lnTo>
                    <a:pt x="14" y="660"/>
                  </a:lnTo>
                  <a:lnTo>
                    <a:pt x="16" y="670"/>
                  </a:lnTo>
                  <a:lnTo>
                    <a:pt x="18" y="688"/>
                  </a:lnTo>
                  <a:lnTo>
                    <a:pt x="20" y="698"/>
                  </a:lnTo>
                  <a:lnTo>
                    <a:pt x="18" y="706"/>
                  </a:lnTo>
                  <a:lnTo>
                    <a:pt x="18" y="710"/>
                  </a:lnTo>
                  <a:lnTo>
                    <a:pt x="16" y="714"/>
                  </a:lnTo>
                  <a:lnTo>
                    <a:pt x="18" y="716"/>
                  </a:lnTo>
                  <a:lnTo>
                    <a:pt x="28" y="728"/>
                  </a:lnTo>
                  <a:lnTo>
                    <a:pt x="34" y="734"/>
                  </a:lnTo>
                  <a:lnTo>
                    <a:pt x="42" y="736"/>
                  </a:lnTo>
                  <a:lnTo>
                    <a:pt x="46" y="736"/>
                  </a:lnTo>
                  <a:lnTo>
                    <a:pt x="50" y="732"/>
                  </a:lnTo>
                  <a:lnTo>
                    <a:pt x="54" y="726"/>
                  </a:lnTo>
                  <a:lnTo>
                    <a:pt x="56" y="726"/>
                  </a:lnTo>
                  <a:lnTo>
                    <a:pt x="56" y="730"/>
                  </a:lnTo>
                  <a:lnTo>
                    <a:pt x="56" y="744"/>
                  </a:lnTo>
                  <a:lnTo>
                    <a:pt x="54" y="756"/>
                  </a:lnTo>
                  <a:lnTo>
                    <a:pt x="52" y="760"/>
                  </a:lnTo>
                  <a:lnTo>
                    <a:pt x="48" y="766"/>
                  </a:lnTo>
                  <a:lnTo>
                    <a:pt x="44" y="768"/>
                  </a:lnTo>
                  <a:lnTo>
                    <a:pt x="38" y="770"/>
                  </a:lnTo>
                  <a:lnTo>
                    <a:pt x="22" y="786"/>
                  </a:lnTo>
                  <a:lnTo>
                    <a:pt x="12" y="800"/>
                  </a:lnTo>
                  <a:lnTo>
                    <a:pt x="6" y="812"/>
                  </a:lnTo>
                  <a:lnTo>
                    <a:pt x="2" y="824"/>
                  </a:lnTo>
                  <a:lnTo>
                    <a:pt x="0" y="836"/>
                  </a:lnTo>
                  <a:lnTo>
                    <a:pt x="0" y="844"/>
                  </a:lnTo>
                  <a:lnTo>
                    <a:pt x="2" y="860"/>
                  </a:lnTo>
                  <a:lnTo>
                    <a:pt x="4" y="866"/>
                  </a:lnTo>
                  <a:lnTo>
                    <a:pt x="8" y="870"/>
                  </a:lnTo>
                  <a:lnTo>
                    <a:pt x="16" y="876"/>
                  </a:lnTo>
                  <a:lnTo>
                    <a:pt x="18" y="878"/>
                  </a:lnTo>
                  <a:lnTo>
                    <a:pt x="18" y="882"/>
                  </a:lnTo>
                  <a:lnTo>
                    <a:pt x="18" y="884"/>
                  </a:lnTo>
                  <a:lnTo>
                    <a:pt x="12" y="888"/>
                  </a:lnTo>
                  <a:lnTo>
                    <a:pt x="8" y="892"/>
                  </a:lnTo>
                  <a:lnTo>
                    <a:pt x="6" y="896"/>
                  </a:lnTo>
                  <a:lnTo>
                    <a:pt x="6" y="900"/>
                  </a:lnTo>
                  <a:lnTo>
                    <a:pt x="6" y="902"/>
                  </a:lnTo>
                  <a:lnTo>
                    <a:pt x="12" y="908"/>
                  </a:lnTo>
                  <a:lnTo>
                    <a:pt x="22" y="914"/>
                  </a:lnTo>
                  <a:lnTo>
                    <a:pt x="44" y="926"/>
                  </a:lnTo>
                  <a:lnTo>
                    <a:pt x="54" y="934"/>
                  </a:lnTo>
                  <a:lnTo>
                    <a:pt x="56" y="938"/>
                  </a:lnTo>
                  <a:lnTo>
                    <a:pt x="58" y="944"/>
                  </a:lnTo>
                  <a:lnTo>
                    <a:pt x="62" y="960"/>
                  </a:lnTo>
                  <a:lnTo>
                    <a:pt x="68" y="972"/>
                  </a:lnTo>
                  <a:lnTo>
                    <a:pt x="74" y="980"/>
                  </a:lnTo>
                  <a:lnTo>
                    <a:pt x="80" y="988"/>
                  </a:lnTo>
                  <a:lnTo>
                    <a:pt x="92" y="1004"/>
                  </a:lnTo>
                  <a:lnTo>
                    <a:pt x="96" y="1014"/>
                  </a:lnTo>
                  <a:lnTo>
                    <a:pt x="100" y="1026"/>
                  </a:lnTo>
                  <a:lnTo>
                    <a:pt x="104" y="1040"/>
                  </a:lnTo>
                  <a:lnTo>
                    <a:pt x="108" y="1056"/>
                  </a:lnTo>
                  <a:lnTo>
                    <a:pt x="122" y="1086"/>
                  </a:lnTo>
                  <a:lnTo>
                    <a:pt x="136" y="1114"/>
                  </a:lnTo>
                  <a:lnTo>
                    <a:pt x="142" y="1128"/>
                  </a:lnTo>
                  <a:lnTo>
                    <a:pt x="146" y="1142"/>
                  </a:lnTo>
                  <a:lnTo>
                    <a:pt x="148" y="1152"/>
                  </a:lnTo>
                  <a:lnTo>
                    <a:pt x="152" y="1160"/>
                  </a:lnTo>
                  <a:lnTo>
                    <a:pt x="158" y="1172"/>
                  </a:lnTo>
                  <a:lnTo>
                    <a:pt x="162" y="1180"/>
                  </a:lnTo>
                  <a:lnTo>
                    <a:pt x="164" y="1186"/>
                  </a:lnTo>
                  <a:lnTo>
                    <a:pt x="164" y="1194"/>
                  </a:lnTo>
                  <a:lnTo>
                    <a:pt x="166" y="1202"/>
                  </a:lnTo>
                  <a:lnTo>
                    <a:pt x="172" y="1210"/>
                  </a:lnTo>
                  <a:lnTo>
                    <a:pt x="184" y="1228"/>
                  </a:lnTo>
                  <a:lnTo>
                    <a:pt x="192" y="1238"/>
                  </a:lnTo>
                  <a:lnTo>
                    <a:pt x="198" y="1248"/>
                  </a:lnTo>
                  <a:lnTo>
                    <a:pt x="200" y="1260"/>
                  </a:lnTo>
                  <a:lnTo>
                    <a:pt x="200" y="1274"/>
                  </a:lnTo>
                  <a:lnTo>
                    <a:pt x="200" y="1286"/>
                  </a:lnTo>
                  <a:lnTo>
                    <a:pt x="204" y="1298"/>
                  </a:lnTo>
                  <a:lnTo>
                    <a:pt x="208" y="1308"/>
                  </a:lnTo>
                  <a:lnTo>
                    <a:pt x="214" y="1316"/>
                  </a:lnTo>
                  <a:lnTo>
                    <a:pt x="228" y="1330"/>
                  </a:lnTo>
                  <a:lnTo>
                    <a:pt x="234" y="1338"/>
                  </a:lnTo>
                  <a:lnTo>
                    <a:pt x="238" y="1344"/>
                  </a:lnTo>
                  <a:lnTo>
                    <a:pt x="246" y="1356"/>
                  </a:lnTo>
                  <a:lnTo>
                    <a:pt x="256" y="1368"/>
                  </a:lnTo>
                  <a:lnTo>
                    <a:pt x="278" y="1384"/>
                  </a:lnTo>
                  <a:lnTo>
                    <a:pt x="318" y="1406"/>
                  </a:lnTo>
                  <a:lnTo>
                    <a:pt x="358" y="1428"/>
                  </a:lnTo>
                  <a:lnTo>
                    <a:pt x="380" y="1442"/>
                  </a:lnTo>
                  <a:lnTo>
                    <a:pt x="388" y="1448"/>
                  </a:lnTo>
                  <a:lnTo>
                    <a:pt x="392" y="1454"/>
                  </a:lnTo>
                  <a:lnTo>
                    <a:pt x="396" y="1460"/>
                  </a:lnTo>
                  <a:lnTo>
                    <a:pt x="398" y="1468"/>
                  </a:lnTo>
                  <a:lnTo>
                    <a:pt x="400" y="1474"/>
                  </a:lnTo>
                  <a:lnTo>
                    <a:pt x="404" y="1480"/>
                  </a:lnTo>
                  <a:lnTo>
                    <a:pt x="408" y="1486"/>
                  </a:lnTo>
                  <a:lnTo>
                    <a:pt x="414" y="1490"/>
                  </a:lnTo>
                  <a:lnTo>
                    <a:pt x="426" y="1496"/>
                  </a:lnTo>
                  <a:lnTo>
                    <a:pt x="434" y="1500"/>
                  </a:lnTo>
                  <a:lnTo>
                    <a:pt x="440" y="1506"/>
                  </a:lnTo>
                  <a:lnTo>
                    <a:pt x="438" y="1532"/>
                  </a:lnTo>
                  <a:lnTo>
                    <a:pt x="440" y="1542"/>
                  </a:lnTo>
                  <a:lnTo>
                    <a:pt x="442" y="1546"/>
                  </a:lnTo>
                  <a:lnTo>
                    <a:pt x="442" y="1552"/>
                  </a:lnTo>
                  <a:lnTo>
                    <a:pt x="444" y="1564"/>
                  </a:lnTo>
                  <a:lnTo>
                    <a:pt x="446" y="1574"/>
                  </a:lnTo>
                  <a:lnTo>
                    <a:pt x="448" y="1586"/>
                  </a:lnTo>
                  <a:lnTo>
                    <a:pt x="448" y="1594"/>
                  </a:lnTo>
                  <a:lnTo>
                    <a:pt x="448" y="1604"/>
                  </a:lnTo>
                  <a:lnTo>
                    <a:pt x="446" y="1614"/>
                  </a:lnTo>
                  <a:lnTo>
                    <a:pt x="446" y="1624"/>
                  </a:lnTo>
                  <a:lnTo>
                    <a:pt x="450" y="1640"/>
                  </a:lnTo>
                  <a:lnTo>
                    <a:pt x="452" y="1658"/>
                  </a:lnTo>
                  <a:lnTo>
                    <a:pt x="452" y="1670"/>
                  </a:lnTo>
                  <a:lnTo>
                    <a:pt x="448" y="1686"/>
                  </a:lnTo>
                  <a:lnTo>
                    <a:pt x="444" y="1716"/>
                  </a:lnTo>
                  <a:lnTo>
                    <a:pt x="442" y="1732"/>
                  </a:lnTo>
                  <a:lnTo>
                    <a:pt x="440" y="1742"/>
                  </a:lnTo>
                  <a:lnTo>
                    <a:pt x="440" y="1744"/>
                  </a:lnTo>
                  <a:lnTo>
                    <a:pt x="438" y="1744"/>
                  </a:lnTo>
                  <a:lnTo>
                    <a:pt x="436" y="1744"/>
                  </a:lnTo>
                  <a:lnTo>
                    <a:pt x="434" y="1746"/>
                  </a:lnTo>
                  <a:lnTo>
                    <a:pt x="430" y="1752"/>
                  </a:lnTo>
                  <a:lnTo>
                    <a:pt x="430" y="1760"/>
                  </a:lnTo>
                  <a:lnTo>
                    <a:pt x="430" y="1762"/>
                  </a:lnTo>
                  <a:lnTo>
                    <a:pt x="434" y="1764"/>
                  </a:lnTo>
                  <a:lnTo>
                    <a:pt x="436" y="1768"/>
                  </a:lnTo>
                  <a:lnTo>
                    <a:pt x="436" y="1772"/>
                  </a:lnTo>
                  <a:lnTo>
                    <a:pt x="434" y="1788"/>
                  </a:lnTo>
                  <a:lnTo>
                    <a:pt x="430" y="1808"/>
                  </a:lnTo>
                  <a:lnTo>
                    <a:pt x="432" y="1820"/>
                  </a:lnTo>
                  <a:lnTo>
                    <a:pt x="434" y="1834"/>
                  </a:lnTo>
                  <a:lnTo>
                    <a:pt x="436" y="1846"/>
                  </a:lnTo>
                  <a:lnTo>
                    <a:pt x="436" y="1856"/>
                  </a:lnTo>
                  <a:lnTo>
                    <a:pt x="434" y="1864"/>
                  </a:lnTo>
                  <a:lnTo>
                    <a:pt x="432" y="1870"/>
                  </a:lnTo>
                  <a:lnTo>
                    <a:pt x="428" y="1882"/>
                  </a:lnTo>
                  <a:lnTo>
                    <a:pt x="428" y="1888"/>
                  </a:lnTo>
                  <a:lnTo>
                    <a:pt x="430" y="1894"/>
                  </a:lnTo>
                  <a:lnTo>
                    <a:pt x="432" y="1900"/>
                  </a:lnTo>
                  <a:lnTo>
                    <a:pt x="430" y="1908"/>
                  </a:lnTo>
                  <a:lnTo>
                    <a:pt x="424" y="1928"/>
                  </a:lnTo>
                  <a:lnTo>
                    <a:pt x="418" y="1946"/>
                  </a:lnTo>
                  <a:lnTo>
                    <a:pt x="416" y="1956"/>
                  </a:lnTo>
                  <a:lnTo>
                    <a:pt x="416" y="1964"/>
                  </a:lnTo>
                  <a:lnTo>
                    <a:pt x="416" y="1974"/>
                  </a:lnTo>
                  <a:lnTo>
                    <a:pt x="414" y="1978"/>
                  </a:lnTo>
                  <a:lnTo>
                    <a:pt x="410" y="1986"/>
                  </a:lnTo>
                  <a:lnTo>
                    <a:pt x="408" y="2004"/>
                  </a:lnTo>
                  <a:lnTo>
                    <a:pt x="408" y="2016"/>
                  </a:lnTo>
                  <a:lnTo>
                    <a:pt x="404" y="2024"/>
                  </a:lnTo>
                  <a:lnTo>
                    <a:pt x="400" y="2030"/>
                  </a:lnTo>
                  <a:lnTo>
                    <a:pt x="398" y="2036"/>
                  </a:lnTo>
                  <a:lnTo>
                    <a:pt x="394" y="2040"/>
                  </a:lnTo>
                  <a:lnTo>
                    <a:pt x="392" y="2044"/>
                  </a:lnTo>
                  <a:lnTo>
                    <a:pt x="392" y="2048"/>
                  </a:lnTo>
                  <a:lnTo>
                    <a:pt x="394" y="2056"/>
                  </a:lnTo>
                  <a:lnTo>
                    <a:pt x="400" y="2072"/>
                  </a:lnTo>
                  <a:lnTo>
                    <a:pt x="402" y="2086"/>
                  </a:lnTo>
                  <a:lnTo>
                    <a:pt x="402" y="2098"/>
                  </a:lnTo>
                  <a:lnTo>
                    <a:pt x="400" y="2104"/>
                  </a:lnTo>
                  <a:lnTo>
                    <a:pt x="398" y="2108"/>
                  </a:lnTo>
                  <a:lnTo>
                    <a:pt x="390" y="2116"/>
                  </a:lnTo>
                  <a:lnTo>
                    <a:pt x="386" y="2124"/>
                  </a:lnTo>
                  <a:lnTo>
                    <a:pt x="384" y="2130"/>
                  </a:lnTo>
                  <a:lnTo>
                    <a:pt x="384" y="2138"/>
                  </a:lnTo>
                  <a:lnTo>
                    <a:pt x="388" y="2162"/>
                  </a:lnTo>
                  <a:lnTo>
                    <a:pt x="392" y="2186"/>
                  </a:lnTo>
                  <a:lnTo>
                    <a:pt x="392" y="2200"/>
                  </a:lnTo>
                  <a:lnTo>
                    <a:pt x="392" y="2212"/>
                  </a:lnTo>
                  <a:lnTo>
                    <a:pt x="396" y="2224"/>
                  </a:lnTo>
                  <a:lnTo>
                    <a:pt x="398" y="2230"/>
                  </a:lnTo>
                  <a:lnTo>
                    <a:pt x="398" y="2236"/>
                  </a:lnTo>
                  <a:lnTo>
                    <a:pt x="392" y="2248"/>
                  </a:lnTo>
                  <a:lnTo>
                    <a:pt x="386" y="2262"/>
                  </a:lnTo>
                  <a:lnTo>
                    <a:pt x="386" y="2270"/>
                  </a:lnTo>
                  <a:lnTo>
                    <a:pt x="386" y="2280"/>
                  </a:lnTo>
                  <a:lnTo>
                    <a:pt x="388" y="2288"/>
                  </a:lnTo>
                  <a:lnTo>
                    <a:pt x="388" y="2292"/>
                  </a:lnTo>
                  <a:lnTo>
                    <a:pt x="386" y="2294"/>
                  </a:lnTo>
                  <a:lnTo>
                    <a:pt x="384" y="2298"/>
                  </a:lnTo>
                  <a:lnTo>
                    <a:pt x="380" y="2300"/>
                  </a:lnTo>
                  <a:lnTo>
                    <a:pt x="378" y="2306"/>
                  </a:lnTo>
                  <a:lnTo>
                    <a:pt x="376" y="2314"/>
                  </a:lnTo>
                  <a:lnTo>
                    <a:pt x="374" y="2328"/>
                  </a:lnTo>
                  <a:lnTo>
                    <a:pt x="372" y="2342"/>
                  </a:lnTo>
                  <a:lnTo>
                    <a:pt x="370" y="2354"/>
                  </a:lnTo>
                  <a:lnTo>
                    <a:pt x="362" y="2376"/>
                  </a:lnTo>
                  <a:lnTo>
                    <a:pt x="354" y="2390"/>
                  </a:lnTo>
                  <a:lnTo>
                    <a:pt x="350" y="2402"/>
                  </a:lnTo>
                  <a:lnTo>
                    <a:pt x="348" y="2412"/>
                  </a:lnTo>
                  <a:lnTo>
                    <a:pt x="344" y="2414"/>
                  </a:lnTo>
                  <a:lnTo>
                    <a:pt x="342" y="2420"/>
                  </a:lnTo>
                  <a:lnTo>
                    <a:pt x="338" y="2434"/>
                  </a:lnTo>
                  <a:lnTo>
                    <a:pt x="336" y="2446"/>
                  </a:lnTo>
                  <a:lnTo>
                    <a:pt x="334" y="2452"/>
                  </a:lnTo>
                  <a:lnTo>
                    <a:pt x="334" y="2454"/>
                  </a:lnTo>
                  <a:lnTo>
                    <a:pt x="332" y="2454"/>
                  </a:lnTo>
                  <a:lnTo>
                    <a:pt x="330" y="2452"/>
                  </a:lnTo>
                  <a:lnTo>
                    <a:pt x="328" y="2462"/>
                  </a:lnTo>
                  <a:lnTo>
                    <a:pt x="326" y="2474"/>
                  </a:lnTo>
                  <a:lnTo>
                    <a:pt x="324" y="2480"/>
                  </a:lnTo>
                  <a:lnTo>
                    <a:pt x="320" y="2482"/>
                  </a:lnTo>
                  <a:lnTo>
                    <a:pt x="318" y="2482"/>
                  </a:lnTo>
                  <a:lnTo>
                    <a:pt x="310" y="2480"/>
                  </a:lnTo>
                  <a:lnTo>
                    <a:pt x="308" y="2482"/>
                  </a:lnTo>
                  <a:lnTo>
                    <a:pt x="306" y="2486"/>
                  </a:lnTo>
                  <a:lnTo>
                    <a:pt x="306" y="2498"/>
                  </a:lnTo>
                  <a:lnTo>
                    <a:pt x="306" y="2506"/>
                  </a:lnTo>
                  <a:lnTo>
                    <a:pt x="310" y="2514"/>
                  </a:lnTo>
                  <a:lnTo>
                    <a:pt x="314" y="2522"/>
                  </a:lnTo>
                  <a:lnTo>
                    <a:pt x="314" y="2530"/>
                  </a:lnTo>
                  <a:lnTo>
                    <a:pt x="314" y="2540"/>
                  </a:lnTo>
                  <a:lnTo>
                    <a:pt x="312" y="2552"/>
                  </a:lnTo>
                  <a:lnTo>
                    <a:pt x="314" y="2560"/>
                  </a:lnTo>
                  <a:lnTo>
                    <a:pt x="318" y="2572"/>
                  </a:lnTo>
                  <a:lnTo>
                    <a:pt x="320" y="2576"/>
                  </a:lnTo>
                  <a:lnTo>
                    <a:pt x="322" y="2584"/>
                  </a:lnTo>
                  <a:lnTo>
                    <a:pt x="324" y="2594"/>
                  </a:lnTo>
                  <a:lnTo>
                    <a:pt x="322" y="2606"/>
                  </a:lnTo>
                  <a:lnTo>
                    <a:pt x="320" y="2618"/>
                  </a:lnTo>
                  <a:lnTo>
                    <a:pt x="316" y="2624"/>
                  </a:lnTo>
                  <a:lnTo>
                    <a:pt x="314" y="2626"/>
                  </a:lnTo>
                  <a:lnTo>
                    <a:pt x="310" y="2626"/>
                  </a:lnTo>
                  <a:lnTo>
                    <a:pt x="308" y="2626"/>
                  </a:lnTo>
                  <a:lnTo>
                    <a:pt x="306" y="2628"/>
                  </a:lnTo>
                  <a:lnTo>
                    <a:pt x="304" y="2632"/>
                  </a:lnTo>
                  <a:lnTo>
                    <a:pt x="304" y="2642"/>
                  </a:lnTo>
                  <a:lnTo>
                    <a:pt x="302" y="2658"/>
                  </a:lnTo>
                  <a:lnTo>
                    <a:pt x="298" y="2670"/>
                  </a:lnTo>
                  <a:lnTo>
                    <a:pt x="294" y="2686"/>
                  </a:lnTo>
                  <a:lnTo>
                    <a:pt x="292" y="2692"/>
                  </a:lnTo>
                  <a:lnTo>
                    <a:pt x="292" y="2696"/>
                  </a:lnTo>
                  <a:lnTo>
                    <a:pt x="294" y="2704"/>
                  </a:lnTo>
                  <a:lnTo>
                    <a:pt x="298" y="2712"/>
                  </a:lnTo>
                  <a:lnTo>
                    <a:pt x="302" y="2722"/>
                  </a:lnTo>
                  <a:lnTo>
                    <a:pt x="308" y="2728"/>
                  </a:lnTo>
                  <a:lnTo>
                    <a:pt x="312" y="2732"/>
                  </a:lnTo>
                  <a:lnTo>
                    <a:pt x="316" y="2734"/>
                  </a:lnTo>
                  <a:lnTo>
                    <a:pt x="320" y="2734"/>
                  </a:lnTo>
                  <a:lnTo>
                    <a:pt x="324" y="2732"/>
                  </a:lnTo>
                  <a:lnTo>
                    <a:pt x="328" y="2728"/>
                  </a:lnTo>
                  <a:lnTo>
                    <a:pt x="330" y="2724"/>
                  </a:lnTo>
                  <a:lnTo>
                    <a:pt x="334" y="2716"/>
                  </a:lnTo>
                  <a:lnTo>
                    <a:pt x="336" y="2716"/>
                  </a:lnTo>
                  <a:lnTo>
                    <a:pt x="338" y="2718"/>
                  </a:lnTo>
                  <a:lnTo>
                    <a:pt x="342" y="2722"/>
                  </a:lnTo>
                  <a:lnTo>
                    <a:pt x="346" y="2726"/>
                  </a:lnTo>
                  <a:lnTo>
                    <a:pt x="348" y="2728"/>
                  </a:lnTo>
                  <a:lnTo>
                    <a:pt x="350" y="2730"/>
                  </a:lnTo>
                  <a:lnTo>
                    <a:pt x="350" y="2732"/>
                  </a:lnTo>
                  <a:lnTo>
                    <a:pt x="344" y="2738"/>
                  </a:lnTo>
                  <a:lnTo>
                    <a:pt x="340" y="2744"/>
                  </a:lnTo>
                  <a:lnTo>
                    <a:pt x="340" y="2746"/>
                  </a:lnTo>
                  <a:lnTo>
                    <a:pt x="344" y="2746"/>
                  </a:lnTo>
                  <a:lnTo>
                    <a:pt x="350" y="2748"/>
                  </a:lnTo>
                  <a:lnTo>
                    <a:pt x="354" y="2752"/>
                  </a:lnTo>
                  <a:lnTo>
                    <a:pt x="356" y="2754"/>
                  </a:lnTo>
                  <a:lnTo>
                    <a:pt x="356" y="2760"/>
                  </a:lnTo>
                  <a:lnTo>
                    <a:pt x="356" y="2766"/>
                  </a:lnTo>
                  <a:lnTo>
                    <a:pt x="354" y="2766"/>
                  </a:lnTo>
                  <a:lnTo>
                    <a:pt x="352" y="2764"/>
                  </a:lnTo>
                  <a:lnTo>
                    <a:pt x="348" y="2758"/>
                  </a:lnTo>
                  <a:lnTo>
                    <a:pt x="344" y="2758"/>
                  </a:lnTo>
                  <a:lnTo>
                    <a:pt x="342" y="2760"/>
                  </a:lnTo>
                  <a:lnTo>
                    <a:pt x="342" y="2766"/>
                  </a:lnTo>
                  <a:lnTo>
                    <a:pt x="342" y="2774"/>
                  </a:lnTo>
                  <a:lnTo>
                    <a:pt x="342" y="2778"/>
                  </a:lnTo>
                  <a:lnTo>
                    <a:pt x="340" y="2782"/>
                  </a:lnTo>
                  <a:lnTo>
                    <a:pt x="342" y="2792"/>
                  </a:lnTo>
                  <a:lnTo>
                    <a:pt x="342" y="2798"/>
                  </a:lnTo>
                  <a:lnTo>
                    <a:pt x="342" y="2804"/>
                  </a:lnTo>
                  <a:lnTo>
                    <a:pt x="336" y="2812"/>
                  </a:lnTo>
                  <a:lnTo>
                    <a:pt x="330" y="2820"/>
                  </a:lnTo>
                  <a:lnTo>
                    <a:pt x="330" y="2824"/>
                  </a:lnTo>
                  <a:lnTo>
                    <a:pt x="330" y="2830"/>
                  </a:lnTo>
                  <a:lnTo>
                    <a:pt x="334" y="2840"/>
                  </a:lnTo>
                  <a:lnTo>
                    <a:pt x="332" y="2852"/>
                  </a:lnTo>
                  <a:lnTo>
                    <a:pt x="330" y="2860"/>
                  </a:lnTo>
                  <a:lnTo>
                    <a:pt x="326" y="2864"/>
                  </a:lnTo>
                  <a:lnTo>
                    <a:pt x="324" y="2866"/>
                  </a:lnTo>
                  <a:lnTo>
                    <a:pt x="324" y="2870"/>
                  </a:lnTo>
                  <a:lnTo>
                    <a:pt x="330" y="2872"/>
                  </a:lnTo>
                  <a:lnTo>
                    <a:pt x="336" y="2874"/>
                  </a:lnTo>
                  <a:lnTo>
                    <a:pt x="344" y="2878"/>
                  </a:lnTo>
                  <a:lnTo>
                    <a:pt x="346" y="2882"/>
                  </a:lnTo>
                  <a:lnTo>
                    <a:pt x="348" y="2890"/>
                  </a:lnTo>
                  <a:lnTo>
                    <a:pt x="346" y="2896"/>
                  </a:lnTo>
                  <a:lnTo>
                    <a:pt x="342" y="2904"/>
                  </a:lnTo>
                  <a:lnTo>
                    <a:pt x="338" y="2908"/>
                  </a:lnTo>
                  <a:lnTo>
                    <a:pt x="332" y="2912"/>
                  </a:lnTo>
                  <a:lnTo>
                    <a:pt x="326" y="2916"/>
                  </a:lnTo>
                  <a:lnTo>
                    <a:pt x="320" y="2918"/>
                  </a:lnTo>
                  <a:lnTo>
                    <a:pt x="318" y="2922"/>
                  </a:lnTo>
                  <a:lnTo>
                    <a:pt x="320" y="2926"/>
                  </a:lnTo>
                  <a:lnTo>
                    <a:pt x="322" y="2930"/>
                  </a:lnTo>
                  <a:lnTo>
                    <a:pt x="322" y="2932"/>
                  </a:lnTo>
                  <a:lnTo>
                    <a:pt x="320" y="2936"/>
                  </a:lnTo>
                  <a:lnTo>
                    <a:pt x="316" y="2940"/>
                  </a:lnTo>
                  <a:lnTo>
                    <a:pt x="312" y="2946"/>
                  </a:lnTo>
                  <a:lnTo>
                    <a:pt x="312" y="2954"/>
                  </a:lnTo>
                  <a:lnTo>
                    <a:pt x="312" y="2956"/>
                  </a:lnTo>
                  <a:lnTo>
                    <a:pt x="312" y="2962"/>
                  </a:lnTo>
                  <a:lnTo>
                    <a:pt x="310" y="2974"/>
                  </a:lnTo>
                  <a:lnTo>
                    <a:pt x="308" y="2986"/>
                  </a:lnTo>
                  <a:lnTo>
                    <a:pt x="308" y="2994"/>
                  </a:lnTo>
                  <a:lnTo>
                    <a:pt x="306" y="3000"/>
                  </a:lnTo>
                  <a:lnTo>
                    <a:pt x="300" y="3006"/>
                  </a:lnTo>
                  <a:lnTo>
                    <a:pt x="298" y="3006"/>
                  </a:lnTo>
                  <a:lnTo>
                    <a:pt x="296" y="3006"/>
                  </a:lnTo>
                  <a:lnTo>
                    <a:pt x="298" y="2998"/>
                  </a:lnTo>
                  <a:lnTo>
                    <a:pt x="300" y="2988"/>
                  </a:lnTo>
                  <a:lnTo>
                    <a:pt x="300" y="2984"/>
                  </a:lnTo>
                  <a:lnTo>
                    <a:pt x="296" y="2980"/>
                  </a:lnTo>
                  <a:lnTo>
                    <a:pt x="292" y="2978"/>
                  </a:lnTo>
                  <a:lnTo>
                    <a:pt x="290" y="2974"/>
                  </a:lnTo>
                  <a:lnTo>
                    <a:pt x="290" y="2968"/>
                  </a:lnTo>
                  <a:lnTo>
                    <a:pt x="290" y="2964"/>
                  </a:lnTo>
                  <a:lnTo>
                    <a:pt x="288" y="2962"/>
                  </a:lnTo>
                  <a:lnTo>
                    <a:pt x="282" y="2962"/>
                  </a:lnTo>
                  <a:lnTo>
                    <a:pt x="276" y="2962"/>
                  </a:lnTo>
                  <a:lnTo>
                    <a:pt x="274" y="2964"/>
                  </a:lnTo>
                  <a:lnTo>
                    <a:pt x="274" y="2966"/>
                  </a:lnTo>
                  <a:lnTo>
                    <a:pt x="270" y="2964"/>
                  </a:lnTo>
                  <a:lnTo>
                    <a:pt x="268" y="2964"/>
                  </a:lnTo>
                  <a:lnTo>
                    <a:pt x="266" y="2964"/>
                  </a:lnTo>
                  <a:lnTo>
                    <a:pt x="266" y="2968"/>
                  </a:lnTo>
                  <a:lnTo>
                    <a:pt x="266" y="2972"/>
                  </a:lnTo>
                  <a:lnTo>
                    <a:pt x="264" y="2976"/>
                  </a:lnTo>
                  <a:lnTo>
                    <a:pt x="260" y="2980"/>
                  </a:lnTo>
                  <a:lnTo>
                    <a:pt x="254" y="2986"/>
                  </a:lnTo>
                  <a:lnTo>
                    <a:pt x="238" y="2994"/>
                  </a:lnTo>
                  <a:lnTo>
                    <a:pt x="228" y="3004"/>
                  </a:lnTo>
                  <a:lnTo>
                    <a:pt x="226" y="3008"/>
                  </a:lnTo>
                  <a:lnTo>
                    <a:pt x="224" y="3012"/>
                  </a:lnTo>
                  <a:lnTo>
                    <a:pt x="224" y="3016"/>
                  </a:lnTo>
                  <a:lnTo>
                    <a:pt x="226" y="3020"/>
                  </a:lnTo>
                  <a:lnTo>
                    <a:pt x="232" y="3026"/>
                  </a:lnTo>
                  <a:lnTo>
                    <a:pt x="236" y="3026"/>
                  </a:lnTo>
                  <a:lnTo>
                    <a:pt x="236" y="3024"/>
                  </a:lnTo>
                  <a:lnTo>
                    <a:pt x="238" y="3016"/>
                  </a:lnTo>
                  <a:lnTo>
                    <a:pt x="238" y="3010"/>
                  </a:lnTo>
                  <a:lnTo>
                    <a:pt x="242" y="3006"/>
                  </a:lnTo>
                  <a:lnTo>
                    <a:pt x="244" y="3006"/>
                  </a:lnTo>
                  <a:lnTo>
                    <a:pt x="248" y="3006"/>
                  </a:lnTo>
                  <a:lnTo>
                    <a:pt x="252" y="3012"/>
                  </a:lnTo>
                  <a:lnTo>
                    <a:pt x="256" y="3018"/>
                  </a:lnTo>
                  <a:lnTo>
                    <a:pt x="264" y="3022"/>
                  </a:lnTo>
                  <a:lnTo>
                    <a:pt x="272" y="3024"/>
                  </a:lnTo>
                  <a:lnTo>
                    <a:pt x="274" y="3022"/>
                  </a:lnTo>
                  <a:lnTo>
                    <a:pt x="274" y="3020"/>
                  </a:lnTo>
                  <a:lnTo>
                    <a:pt x="276" y="3016"/>
                  </a:lnTo>
                  <a:lnTo>
                    <a:pt x="278" y="3016"/>
                  </a:lnTo>
                  <a:lnTo>
                    <a:pt x="282" y="3018"/>
                  </a:lnTo>
                  <a:lnTo>
                    <a:pt x="286" y="3024"/>
                  </a:lnTo>
                  <a:lnTo>
                    <a:pt x="290" y="3026"/>
                  </a:lnTo>
                  <a:lnTo>
                    <a:pt x="292" y="3028"/>
                  </a:lnTo>
                  <a:lnTo>
                    <a:pt x="296" y="3030"/>
                  </a:lnTo>
                  <a:lnTo>
                    <a:pt x="296" y="3036"/>
                  </a:lnTo>
                  <a:lnTo>
                    <a:pt x="294" y="3040"/>
                  </a:lnTo>
                  <a:lnTo>
                    <a:pt x="292" y="3040"/>
                  </a:lnTo>
                  <a:lnTo>
                    <a:pt x="286" y="3042"/>
                  </a:lnTo>
                  <a:lnTo>
                    <a:pt x="280" y="3042"/>
                  </a:lnTo>
                  <a:lnTo>
                    <a:pt x="278" y="3044"/>
                  </a:lnTo>
                  <a:lnTo>
                    <a:pt x="276" y="3048"/>
                  </a:lnTo>
                  <a:lnTo>
                    <a:pt x="274" y="3054"/>
                  </a:lnTo>
                  <a:lnTo>
                    <a:pt x="274" y="3056"/>
                  </a:lnTo>
                  <a:lnTo>
                    <a:pt x="280" y="3062"/>
                  </a:lnTo>
                  <a:lnTo>
                    <a:pt x="284" y="3064"/>
                  </a:lnTo>
                  <a:lnTo>
                    <a:pt x="282" y="3064"/>
                  </a:lnTo>
                  <a:lnTo>
                    <a:pt x="272" y="3062"/>
                  </a:lnTo>
                  <a:lnTo>
                    <a:pt x="270" y="3062"/>
                  </a:lnTo>
                  <a:lnTo>
                    <a:pt x="268" y="3066"/>
                  </a:lnTo>
                  <a:lnTo>
                    <a:pt x="266" y="3072"/>
                  </a:lnTo>
                  <a:lnTo>
                    <a:pt x="268" y="3074"/>
                  </a:lnTo>
                  <a:lnTo>
                    <a:pt x="272" y="3074"/>
                  </a:lnTo>
                  <a:lnTo>
                    <a:pt x="282" y="3074"/>
                  </a:lnTo>
                  <a:lnTo>
                    <a:pt x="290" y="3074"/>
                  </a:lnTo>
                  <a:lnTo>
                    <a:pt x="296" y="3076"/>
                  </a:lnTo>
                  <a:lnTo>
                    <a:pt x="300" y="3078"/>
                  </a:lnTo>
                  <a:lnTo>
                    <a:pt x="302" y="3078"/>
                  </a:lnTo>
                  <a:lnTo>
                    <a:pt x="302" y="3074"/>
                  </a:lnTo>
                  <a:lnTo>
                    <a:pt x="304" y="3072"/>
                  </a:lnTo>
                  <a:lnTo>
                    <a:pt x="306" y="3072"/>
                  </a:lnTo>
                  <a:lnTo>
                    <a:pt x="310" y="3076"/>
                  </a:lnTo>
                  <a:lnTo>
                    <a:pt x="312" y="3080"/>
                  </a:lnTo>
                  <a:lnTo>
                    <a:pt x="312" y="3082"/>
                  </a:lnTo>
                  <a:lnTo>
                    <a:pt x="310" y="3084"/>
                  </a:lnTo>
                  <a:lnTo>
                    <a:pt x="308" y="3086"/>
                  </a:lnTo>
                  <a:lnTo>
                    <a:pt x="310" y="3088"/>
                  </a:lnTo>
                  <a:lnTo>
                    <a:pt x="314" y="3096"/>
                  </a:lnTo>
                  <a:lnTo>
                    <a:pt x="318" y="3100"/>
                  </a:lnTo>
                  <a:lnTo>
                    <a:pt x="318" y="3102"/>
                  </a:lnTo>
                  <a:lnTo>
                    <a:pt x="314" y="3100"/>
                  </a:lnTo>
                  <a:lnTo>
                    <a:pt x="300" y="3090"/>
                  </a:lnTo>
                  <a:lnTo>
                    <a:pt x="294" y="3088"/>
                  </a:lnTo>
                  <a:lnTo>
                    <a:pt x="286" y="3088"/>
                  </a:lnTo>
                  <a:lnTo>
                    <a:pt x="272" y="3086"/>
                  </a:lnTo>
                  <a:lnTo>
                    <a:pt x="268" y="3088"/>
                  </a:lnTo>
                  <a:lnTo>
                    <a:pt x="266" y="3088"/>
                  </a:lnTo>
                  <a:lnTo>
                    <a:pt x="268" y="3090"/>
                  </a:lnTo>
                  <a:lnTo>
                    <a:pt x="270" y="3092"/>
                  </a:lnTo>
                  <a:lnTo>
                    <a:pt x="272" y="3092"/>
                  </a:lnTo>
                  <a:lnTo>
                    <a:pt x="274" y="3092"/>
                  </a:lnTo>
                  <a:lnTo>
                    <a:pt x="276" y="3096"/>
                  </a:lnTo>
                  <a:lnTo>
                    <a:pt x="278" y="3100"/>
                  </a:lnTo>
                  <a:lnTo>
                    <a:pt x="282" y="3104"/>
                  </a:lnTo>
                  <a:lnTo>
                    <a:pt x="292" y="3110"/>
                  </a:lnTo>
                  <a:lnTo>
                    <a:pt x="294" y="3112"/>
                  </a:lnTo>
                  <a:lnTo>
                    <a:pt x="294" y="3114"/>
                  </a:lnTo>
                  <a:lnTo>
                    <a:pt x="294" y="3116"/>
                  </a:lnTo>
                  <a:lnTo>
                    <a:pt x="294" y="3120"/>
                  </a:lnTo>
                  <a:lnTo>
                    <a:pt x="292" y="3120"/>
                  </a:lnTo>
                  <a:lnTo>
                    <a:pt x="288" y="3118"/>
                  </a:lnTo>
                  <a:lnTo>
                    <a:pt x="284" y="3116"/>
                  </a:lnTo>
                  <a:lnTo>
                    <a:pt x="280" y="3116"/>
                  </a:lnTo>
                  <a:lnTo>
                    <a:pt x="280" y="3120"/>
                  </a:lnTo>
                  <a:lnTo>
                    <a:pt x="276" y="3132"/>
                  </a:lnTo>
                  <a:lnTo>
                    <a:pt x="276" y="3138"/>
                  </a:lnTo>
                  <a:lnTo>
                    <a:pt x="276" y="3148"/>
                  </a:lnTo>
                  <a:lnTo>
                    <a:pt x="278" y="3168"/>
                  </a:lnTo>
                  <a:lnTo>
                    <a:pt x="280" y="3174"/>
                  </a:lnTo>
                  <a:lnTo>
                    <a:pt x="282" y="3178"/>
                  </a:lnTo>
                  <a:lnTo>
                    <a:pt x="284" y="3178"/>
                  </a:lnTo>
                  <a:lnTo>
                    <a:pt x="284" y="3176"/>
                  </a:lnTo>
                  <a:lnTo>
                    <a:pt x="286" y="3168"/>
                  </a:lnTo>
                  <a:lnTo>
                    <a:pt x="288" y="3160"/>
                  </a:lnTo>
                  <a:lnTo>
                    <a:pt x="290" y="3156"/>
                  </a:lnTo>
                  <a:lnTo>
                    <a:pt x="292" y="3154"/>
                  </a:lnTo>
                  <a:lnTo>
                    <a:pt x="292" y="3158"/>
                  </a:lnTo>
                  <a:lnTo>
                    <a:pt x="292" y="3164"/>
                  </a:lnTo>
                  <a:lnTo>
                    <a:pt x="292" y="3170"/>
                  </a:lnTo>
                  <a:lnTo>
                    <a:pt x="294" y="3176"/>
                  </a:lnTo>
                  <a:lnTo>
                    <a:pt x="298" y="3182"/>
                  </a:lnTo>
                  <a:lnTo>
                    <a:pt x="300" y="3184"/>
                  </a:lnTo>
                  <a:lnTo>
                    <a:pt x="296" y="3182"/>
                  </a:lnTo>
                  <a:lnTo>
                    <a:pt x="290" y="3180"/>
                  </a:lnTo>
                  <a:lnTo>
                    <a:pt x="284" y="3182"/>
                  </a:lnTo>
                  <a:lnTo>
                    <a:pt x="280" y="3184"/>
                  </a:lnTo>
                  <a:lnTo>
                    <a:pt x="280" y="3186"/>
                  </a:lnTo>
                  <a:lnTo>
                    <a:pt x="282" y="3188"/>
                  </a:lnTo>
                  <a:lnTo>
                    <a:pt x="282" y="3190"/>
                  </a:lnTo>
                  <a:lnTo>
                    <a:pt x="280" y="3192"/>
                  </a:lnTo>
                  <a:lnTo>
                    <a:pt x="280" y="3194"/>
                  </a:lnTo>
                  <a:lnTo>
                    <a:pt x="284" y="3198"/>
                  </a:lnTo>
                  <a:lnTo>
                    <a:pt x="296" y="3206"/>
                  </a:lnTo>
                  <a:lnTo>
                    <a:pt x="294" y="3206"/>
                  </a:lnTo>
                  <a:lnTo>
                    <a:pt x="288" y="3206"/>
                  </a:lnTo>
                  <a:lnTo>
                    <a:pt x="280" y="3204"/>
                  </a:lnTo>
                  <a:lnTo>
                    <a:pt x="278" y="3204"/>
                  </a:lnTo>
                  <a:lnTo>
                    <a:pt x="280" y="3206"/>
                  </a:lnTo>
                  <a:lnTo>
                    <a:pt x="288" y="3216"/>
                  </a:lnTo>
                  <a:lnTo>
                    <a:pt x="290" y="3220"/>
                  </a:lnTo>
                  <a:lnTo>
                    <a:pt x="280" y="3214"/>
                  </a:lnTo>
                  <a:lnTo>
                    <a:pt x="274" y="3212"/>
                  </a:lnTo>
                  <a:lnTo>
                    <a:pt x="268" y="3212"/>
                  </a:lnTo>
                  <a:lnTo>
                    <a:pt x="264" y="3214"/>
                  </a:lnTo>
                  <a:lnTo>
                    <a:pt x="264" y="3216"/>
                  </a:lnTo>
                  <a:lnTo>
                    <a:pt x="268" y="3218"/>
                  </a:lnTo>
                  <a:lnTo>
                    <a:pt x="272" y="3220"/>
                  </a:lnTo>
                  <a:lnTo>
                    <a:pt x="274" y="3224"/>
                  </a:lnTo>
                  <a:lnTo>
                    <a:pt x="274" y="3226"/>
                  </a:lnTo>
                  <a:lnTo>
                    <a:pt x="278" y="3228"/>
                  </a:lnTo>
                  <a:lnTo>
                    <a:pt x="282" y="3230"/>
                  </a:lnTo>
                  <a:lnTo>
                    <a:pt x="284" y="3230"/>
                  </a:lnTo>
                  <a:lnTo>
                    <a:pt x="288" y="3230"/>
                  </a:lnTo>
                  <a:lnTo>
                    <a:pt x="292" y="3234"/>
                  </a:lnTo>
                  <a:lnTo>
                    <a:pt x="296" y="3236"/>
                  </a:lnTo>
                  <a:lnTo>
                    <a:pt x="296" y="3238"/>
                  </a:lnTo>
                  <a:lnTo>
                    <a:pt x="288" y="3236"/>
                  </a:lnTo>
                  <a:lnTo>
                    <a:pt x="284" y="3236"/>
                  </a:lnTo>
                  <a:lnTo>
                    <a:pt x="284" y="3238"/>
                  </a:lnTo>
                  <a:lnTo>
                    <a:pt x="288" y="3248"/>
                  </a:lnTo>
                  <a:lnTo>
                    <a:pt x="290" y="3252"/>
                  </a:lnTo>
                  <a:lnTo>
                    <a:pt x="294" y="3252"/>
                  </a:lnTo>
                  <a:lnTo>
                    <a:pt x="298" y="3250"/>
                  </a:lnTo>
                  <a:lnTo>
                    <a:pt x="302" y="3240"/>
                  </a:lnTo>
                  <a:lnTo>
                    <a:pt x="306" y="3234"/>
                  </a:lnTo>
                  <a:lnTo>
                    <a:pt x="308" y="3232"/>
                  </a:lnTo>
                  <a:lnTo>
                    <a:pt x="308" y="3234"/>
                  </a:lnTo>
                  <a:lnTo>
                    <a:pt x="306" y="3242"/>
                  </a:lnTo>
                  <a:lnTo>
                    <a:pt x="300" y="3256"/>
                  </a:lnTo>
                  <a:lnTo>
                    <a:pt x="296" y="3258"/>
                  </a:lnTo>
                  <a:lnTo>
                    <a:pt x="292" y="3258"/>
                  </a:lnTo>
                  <a:lnTo>
                    <a:pt x="288" y="3258"/>
                  </a:lnTo>
                  <a:lnTo>
                    <a:pt x="286" y="3258"/>
                  </a:lnTo>
                  <a:lnTo>
                    <a:pt x="284" y="3260"/>
                  </a:lnTo>
                  <a:lnTo>
                    <a:pt x="284" y="3264"/>
                  </a:lnTo>
                  <a:lnTo>
                    <a:pt x="286" y="3266"/>
                  </a:lnTo>
                  <a:lnTo>
                    <a:pt x="288" y="3268"/>
                  </a:lnTo>
                  <a:lnTo>
                    <a:pt x="288" y="3272"/>
                  </a:lnTo>
                  <a:lnTo>
                    <a:pt x="288" y="3276"/>
                  </a:lnTo>
                  <a:lnTo>
                    <a:pt x="290" y="3276"/>
                  </a:lnTo>
                  <a:lnTo>
                    <a:pt x="292" y="3276"/>
                  </a:lnTo>
                  <a:lnTo>
                    <a:pt x="296" y="3276"/>
                  </a:lnTo>
                  <a:lnTo>
                    <a:pt x="302" y="3278"/>
                  </a:lnTo>
                  <a:lnTo>
                    <a:pt x="306" y="3286"/>
                  </a:lnTo>
                  <a:lnTo>
                    <a:pt x="308" y="3294"/>
                  </a:lnTo>
                  <a:lnTo>
                    <a:pt x="308" y="3298"/>
                  </a:lnTo>
                  <a:lnTo>
                    <a:pt x="306" y="3298"/>
                  </a:lnTo>
                  <a:lnTo>
                    <a:pt x="302" y="3294"/>
                  </a:lnTo>
                  <a:lnTo>
                    <a:pt x="298" y="3288"/>
                  </a:lnTo>
                  <a:lnTo>
                    <a:pt x="296" y="3288"/>
                  </a:lnTo>
                  <a:lnTo>
                    <a:pt x="296" y="3290"/>
                  </a:lnTo>
                  <a:lnTo>
                    <a:pt x="296" y="3294"/>
                  </a:lnTo>
                  <a:lnTo>
                    <a:pt x="298" y="3298"/>
                  </a:lnTo>
                  <a:lnTo>
                    <a:pt x="298" y="3302"/>
                  </a:lnTo>
                  <a:lnTo>
                    <a:pt x="298" y="3304"/>
                  </a:lnTo>
                  <a:lnTo>
                    <a:pt x="300" y="3308"/>
                  </a:lnTo>
                  <a:lnTo>
                    <a:pt x="302" y="3310"/>
                  </a:lnTo>
                  <a:lnTo>
                    <a:pt x="306" y="3308"/>
                  </a:lnTo>
                  <a:lnTo>
                    <a:pt x="308" y="3306"/>
                  </a:lnTo>
                  <a:lnTo>
                    <a:pt x="310" y="3308"/>
                  </a:lnTo>
                  <a:lnTo>
                    <a:pt x="312" y="3310"/>
                  </a:lnTo>
                  <a:lnTo>
                    <a:pt x="314" y="3318"/>
                  </a:lnTo>
                  <a:lnTo>
                    <a:pt x="310" y="3316"/>
                  </a:lnTo>
                  <a:lnTo>
                    <a:pt x="308" y="3316"/>
                  </a:lnTo>
                  <a:lnTo>
                    <a:pt x="308" y="3318"/>
                  </a:lnTo>
                  <a:lnTo>
                    <a:pt x="312" y="3326"/>
                  </a:lnTo>
                  <a:lnTo>
                    <a:pt x="318" y="3332"/>
                  </a:lnTo>
                  <a:lnTo>
                    <a:pt x="322" y="3332"/>
                  </a:lnTo>
                  <a:lnTo>
                    <a:pt x="324" y="3332"/>
                  </a:lnTo>
                  <a:lnTo>
                    <a:pt x="326" y="3322"/>
                  </a:lnTo>
                  <a:lnTo>
                    <a:pt x="330" y="3318"/>
                  </a:lnTo>
                  <a:lnTo>
                    <a:pt x="332" y="3316"/>
                  </a:lnTo>
                  <a:lnTo>
                    <a:pt x="334" y="3314"/>
                  </a:lnTo>
                  <a:lnTo>
                    <a:pt x="334" y="3312"/>
                  </a:lnTo>
                  <a:lnTo>
                    <a:pt x="334" y="3310"/>
                  </a:lnTo>
                  <a:lnTo>
                    <a:pt x="342" y="3312"/>
                  </a:lnTo>
                  <a:lnTo>
                    <a:pt x="348" y="3312"/>
                  </a:lnTo>
                  <a:lnTo>
                    <a:pt x="350" y="3312"/>
                  </a:lnTo>
                  <a:lnTo>
                    <a:pt x="350" y="3310"/>
                  </a:lnTo>
                  <a:lnTo>
                    <a:pt x="344" y="3304"/>
                  </a:lnTo>
                  <a:lnTo>
                    <a:pt x="334" y="3300"/>
                  </a:lnTo>
                  <a:lnTo>
                    <a:pt x="326" y="3294"/>
                  </a:lnTo>
                  <a:lnTo>
                    <a:pt x="324" y="3292"/>
                  </a:lnTo>
                  <a:lnTo>
                    <a:pt x="328" y="3290"/>
                  </a:lnTo>
                  <a:lnTo>
                    <a:pt x="336" y="3294"/>
                  </a:lnTo>
                  <a:lnTo>
                    <a:pt x="350" y="3302"/>
                  </a:lnTo>
                  <a:lnTo>
                    <a:pt x="354" y="3308"/>
                  </a:lnTo>
                  <a:lnTo>
                    <a:pt x="354" y="3314"/>
                  </a:lnTo>
                  <a:lnTo>
                    <a:pt x="352" y="3320"/>
                  </a:lnTo>
                  <a:lnTo>
                    <a:pt x="350" y="3322"/>
                  </a:lnTo>
                  <a:lnTo>
                    <a:pt x="348" y="3324"/>
                  </a:lnTo>
                  <a:lnTo>
                    <a:pt x="350" y="3330"/>
                  </a:lnTo>
                  <a:lnTo>
                    <a:pt x="352" y="3332"/>
                  </a:lnTo>
                  <a:lnTo>
                    <a:pt x="348" y="3328"/>
                  </a:lnTo>
                  <a:lnTo>
                    <a:pt x="342" y="3322"/>
                  </a:lnTo>
                  <a:lnTo>
                    <a:pt x="340" y="3322"/>
                  </a:lnTo>
                  <a:lnTo>
                    <a:pt x="338" y="3326"/>
                  </a:lnTo>
                  <a:lnTo>
                    <a:pt x="334" y="3336"/>
                  </a:lnTo>
                  <a:lnTo>
                    <a:pt x="332" y="3334"/>
                  </a:lnTo>
                  <a:lnTo>
                    <a:pt x="332" y="3330"/>
                  </a:lnTo>
                  <a:lnTo>
                    <a:pt x="330" y="3332"/>
                  </a:lnTo>
                  <a:lnTo>
                    <a:pt x="324" y="3338"/>
                  </a:lnTo>
                  <a:lnTo>
                    <a:pt x="322" y="3340"/>
                  </a:lnTo>
                  <a:lnTo>
                    <a:pt x="320" y="3340"/>
                  </a:lnTo>
                  <a:lnTo>
                    <a:pt x="316" y="3336"/>
                  </a:lnTo>
                  <a:lnTo>
                    <a:pt x="310" y="3330"/>
                  </a:lnTo>
                  <a:lnTo>
                    <a:pt x="306" y="3328"/>
                  </a:lnTo>
                  <a:lnTo>
                    <a:pt x="304" y="3328"/>
                  </a:lnTo>
                  <a:lnTo>
                    <a:pt x="306" y="3332"/>
                  </a:lnTo>
                  <a:lnTo>
                    <a:pt x="310" y="3336"/>
                  </a:lnTo>
                  <a:lnTo>
                    <a:pt x="310" y="3340"/>
                  </a:lnTo>
                  <a:lnTo>
                    <a:pt x="308" y="3344"/>
                  </a:lnTo>
                  <a:lnTo>
                    <a:pt x="306" y="3350"/>
                  </a:lnTo>
                  <a:lnTo>
                    <a:pt x="308" y="3350"/>
                  </a:lnTo>
                  <a:lnTo>
                    <a:pt x="312" y="3352"/>
                  </a:lnTo>
                  <a:lnTo>
                    <a:pt x="310" y="3356"/>
                  </a:lnTo>
                  <a:lnTo>
                    <a:pt x="306" y="3364"/>
                  </a:lnTo>
                  <a:lnTo>
                    <a:pt x="306" y="3368"/>
                  </a:lnTo>
                  <a:lnTo>
                    <a:pt x="306" y="3370"/>
                  </a:lnTo>
                  <a:lnTo>
                    <a:pt x="308" y="3370"/>
                  </a:lnTo>
                  <a:lnTo>
                    <a:pt x="314" y="3366"/>
                  </a:lnTo>
                  <a:lnTo>
                    <a:pt x="316" y="3364"/>
                  </a:lnTo>
                  <a:lnTo>
                    <a:pt x="320" y="3364"/>
                  </a:lnTo>
                  <a:lnTo>
                    <a:pt x="322" y="3366"/>
                  </a:lnTo>
                  <a:lnTo>
                    <a:pt x="324" y="3372"/>
                  </a:lnTo>
                  <a:lnTo>
                    <a:pt x="322" y="3374"/>
                  </a:lnTo>
                  <a:lnTo>
                    <a:pt x="320" y="3374"/>
                  </a:lnTo>
                  <a:lnTo>
                    <a:pt x="316" y="3374"/>
                  </a:lnTo>
                  <a:lnTo>
                    <a:pt x="322" y="3380"/>
                  </a:lnTo>
                  <a:lnTo>
                    <a:pt x="322" y="3382"/>
                  </a:lnTo>
                  <a:lnTo>
                    <a:pt x="318" y="3384"/>
                  </a:lnTo>
                  <a:lnTo>
                    <a:pt x="316" y="3386"/>
                  </a:lnTo>
                  <a:lnTo>
                    <a:pt x="320" y="3388"/>
                  </a:lnTo>
                  <a:lnTo>
                    <a:pt x="328" y="3390"/>
                  </a:lnTo>
                  <a:lnTo>
                    <a:pt x="332" y="3388"/>
                  </a:lnTo>
                  <a:lnTo>
                    <a:pt x="334" y="3384"/>
                  </a:lnTo>
                  <a:lnTo>
                    <a:pt x="334" y="3378"/>
                  </a:lnTo>
                  <a:lnTo>
                    <a:pt x="334" y="3376"/>
                  </a:lnTo>
                  <a:lnTo>
                    <a:pt x="336" y="3374"/>
                  </a:lnTo>
                  <a:lnTo>
                    <a:pt x="340" y="3370"/>
                  </a:lnTo>
                  <a:lnTo>
                    <a:pt x="344" y="3368"/>
                  </a:lnTo>
                  <a:lnTo>
                    <a:pt x="346" y="3366"/>
                  </a:lnTo>
                  <a:lnTo>
                    <a:pt x="346" y="3364"/>
                  </a:lnTo>
                  <a:lnTo>
                    <a:pt x="344" y="3362"/>
                  </a:lnTo>
                  <a:lnTo>
                    <a:pt x="340" y="3360"/>
                  </a:lnTo>
                  <a:lnTo>
                    <a:pt x="340" y="3358"/>
                  </a:lnTo>
                  <a:lnTo>
                    <a:pt x="344" y="3358"/>
                  </a:lnTo>
                  <a:lnTo>
                    <a:pt x="352" y="3358"/>
                  </a:lnTo>
                  <a:lnTo>
                    <a:pt x="354" y="3362"/>
                  </a:lnTo>
                  <a:lnTo>
                    <a:pt x="356" y="3362"/>
                  </a:lnTo>
                  <a:lnTo>
                    <a:pt x="360" y="3360"/>
                  </a:lnTo>
                  <a:lnTo>
                    <a:pt x="364" y="3358"/>
                  </a:lnTo>
                  <a:lnTo>
                    <a:pt x="368" y="3356"/>
                  </a:lnTo>
                  <a:lnTo>
                    <a:pt x="382" y="3356"/>
                  </a:lnTo>
                  <a:lnTo>
                    <a:pt x="392" y="3358"/>
                  </a:lnTo>
                  <a:lnTo>
                    <a:pt x="394" y="3360"/>
                  </a:lnTo>
                  <a:lnTo>
                    <a:pt x="396" y="3362"/>
                  </a:lnTo>
                  <a:lnTo>
                    <a:pt x="392" y="3366"/>
                  </a:lnTo>
                  <a:lnTo>
                    <a:pt x="386" y="3368"/>
                  </a:lnTo>
                  <a:lnTo>
                    <a:pt x="380" y="3366"/>
                  </a:lnTo>
                  <a:lnTo>
                    <a:pt x="372" y="3364"/>
                  </a:lnTo>
                  <a:lnTo>
                    <a:pt x="368" y="3364"/>
                  </a:lnTo>
                  <a:lnTo>
                    <a:pt x="366" y="3366"/>
                  </a:lnTo>
                  <a:lnTo>
                    <a:pt x="362" y="3370"/>
                  </a:lnTo>
                  <a:lnTo>
                    <a:pt x="358" y="3376"/>
                  </a:lnTo>
                  <a:lnTo>
                    <a:pt x="356" y="3376"/>
                  </a:lnTo>
                  <a:lnTo>
                    <a:pt x="354" y="3376"/>
                  </a:lnTo>
                  <a:lnTo>
                    <a:pt x="348" y="3372"/>
                  </a:lnTo>
                  <a:lnTo>
                    <a:pt x="342" y="3374"/>
                  </a:lnTo>
                  <a:lnTo>
                    <a:pt x="338" y="3378"/>
                  </a:lnTo>
                  <a:lnTo>
                    <a:pt x="338" y="3384"/>
                  </a:lnTo>
                  <a:lnTo>
                    <a:pt x="340" y="3388"/>
                  </a:lnTo>
                  <a:lnTo>
                    <a:pt x="338" y="3390"/>
                  </a:lnTo>
                  <a:lnTo>
                    <a:pt x="338" y="3392"/>
                  </a:lnTo>
                  <a:lnTo>
                    <a:pt x="340" y="3396"/>
                  </a:lnTo>
                  <a:lnTo>
                    <a:pt x="342" y="3398"/>
                  </a:lnTo>
                  <a:lnTo>
                    <a:pt x="340" y="3398"/>
                  </a:lnTo>
                  <a:lnTo>
                    <a:pt x="334" y="3396"/>
                  </a:lnTo>
                  <a:lnTo>
                    <a:pt x="326" y="3396"/>
                  </a:lnTo>
                  <a:lnTo>
                    <a:pt x="324" y="3396"/>
                  </a:lnTo>
                  <a:lnTo>
                    <a:pt x="324" y="3398"/>
                  </a:lnTo>
                  <a:lnTo>
                    <a:pt x="326" y="3402"/>
                  </a:lnTo>
                  <a:lnTo>
                    <a:pt x="342" y="3412"/>
                  </a:lnTo>
                  <a:lnTo>
                    <a:pt x="354" y="3418"/>
                  </a:lnTo>
                  <a:lnTo>
                    <a:pt x="356" y="3418"/>
                  </a:lnTo>
                  <a:lnTo>
                    <a:pt x="354" y="3412"/>
                  </a:lnTo>
                  <a:lnTo>
                    <a:pt x="352" y="3406"/>
                  </a:lnTo>
                  <a:lnTo>
                    <a:pt x="352" y="3402"/>
                  </a:lnTo>
                  <a:lnTo>
                    <a:pt x="358" y="3400"/>
                  </a:lnTo>
                  <a:lnTo>
                    <a:pt x="362" y="3398"/>
                  </a:lnTo>
                  <a:lnTo>
                    <a:pt x="364" y="3396"/>
                  </a:lnTo>
                  <a:lnTo>
                    <a:pt x="364" y="3394"/>
                  </a:lnTo>
                  <a:lnTo>
                    <a:pt x="360" y="3390"/>
                  </a:lnTo>
                  <a:lnTo>
                    <a:pt x="356" y="3388"/>
                  </a:lnTo>
                  <a:lnTo>
                    <a:pt x="362" y="3390"/>
                  </a:lnTo>
                  <a:lnTo>
                    <a:pt x="370" y="3392"/>
                  </a:lnTo>
                  <a:lnTo>
                    <a:pt x="374" y="3390"/>
                  </a:lnTo>
                  <a:lnTo>
                    <a:pt x="378" y="3386"/>
                  </a:lnTo>
                  <a:lnTo>
                    <a:pt x="384" y="3382"/>
                  </a:lnTo>
                  <a:lnTo>
                    <a:pt x="392" y="3378"/>
                  </a:lnTo>
                  <a:lnTo>
                    <a:pt x="396" y="3374"/>
                  </a:lnTo>
                  <a:lnTo>
                    <a:pt x="402" y="3372"/>
                  </a:lnTo>
                  <a:lnTo>
                    <a:pt x="406" y="3374"/>
                  </a:lnTo>
                  <a:lnTo>
                    <a:pt x="408" y="3376"/>
                  </a:lnTo>
                  <a:lnTo>
                    <a:pt x="408" y="3378"/>
                  </a:lnTo>
                  <a:lnTo>
                    <a:pt x="406" y="3384"/>
                  </a:lnTo>
                  <a:lnTo>
                    <a:pt x="398" y="3392"/>
                  </a:lnTo>
                  <a:lnTo>
                    <a:pt x="390" y="3396"/>
                  </a:lnTo>
                  <a:lnTo>
                    <a:pt x="384" y="3400"/>
                  </a:lnTo>
                  <a:lnTo>
                    <a:pt x="384" y="3402"/>
                  </a:lnTo>
                  <a:lnTo>
                    <a:pt x="382" y="3404"/>
                  </a:lnTo>
                  <a:lnTo>
                    <a:pt x="380" y="3402"/>
                  </a:lnTo>
                  <a:lnTo>
                    <a:pt x="376" y="3400"/>
                  </a:lnTo>
                  <a:lnTo>
                    <a:pt x="374" y="3402"/>
                  </a:lnTo>
                  <a:lnTo>
                    <a:pt x="374" y="3404"/>
                  </a:lnTo>
                  <a:lnTo>
                    <a:pt x="370" y="3402"/>
                  </a:lnTo>
                  <a:lnTo>
                    <a:pt x="362" y="3404"/>
                  </a:lnTo>
                  <a:lnTo>
                    <a:pt x="358" y="3406"/>
                  </a:lnTo>
                  <a:lnTo>
                    <a:pt x="356" y="3408"/>
                  </a:lnTo>
                  <a:lnTo>
                    <a:pt x="360" y="3414"/>
                  </a:lnTo>
                  <a:lnTo>
                    <a:pt x="366" y="3420"/>
                  </a:lnTo>
                  <a:lnTo>
                    <a:pt x="372" y="3426"/>
                  </a:lnTo>
                  <a:lnTo>
                    <a:pt x="378" y="3430"/>
                  </a:lnTo>
                  <a:lnTo>
                    <a:pt x="382" y="3432"/>
                  </a:lnTo>
                  <a:lnTo>
                    <a:pt x="386" y="3434"/>
                  </a:lnTo>
                  <a:lnTo>
                    <a:pt x="392" y="3438"/>
                  </a:lnTo>
                  <a:lnTo>
                    <a:pt x="402" y="3438"/>
                  </a:lnTo>
                  <a:lnTo>
                    <a:pt x="410" y="3436"/>
                  </a:lnTo>
                  <a:lnTo>
                    <a:pt x="414" y="3434"/>
                  </a:lnTo>
                  <a:lnTo>
                    <a:pt x="416" y="3426"/>
                  </a:lnTo>
                  <a:lnTo>
                    <a:pt x="416" y="3412"/>
                  </a:lnTo>
                  <a:lnTo>
                    <a:pt x="418" y="3400"/>
                  </a:lnTo>
                  <a:lnTo>
                    <a:pt x="420" y="3394"/>
                  </a:lnTo>
                  <a:lnTo>
                    <a:pt x="422" y="3388"/>
                  </a:lnTo>
                  <a:lnTo>
                    <a:pt x="424" y="3378"/>
                  </a:lnTo>
                  <a:lnTo>
                    <a:pt x="424" y="3372"/>
                  </a:lnTo>
                  <a:lnTo>
                    <a:pt x="426" y="3368"/>
                  </a:lnTo>
                  <a:lnTo>
                    <a:pt x="428" y="3366"/>
                  </a:lnTo>
                  <a:lnTo>
                    <a:pt x="432" y="3366"/>
                  </a:lnTo>
                  <a:lnTo>
                    <a:pt x="440" y="3364"/>
                  </a:lnTo>
                  <a:lnTo>
                    <a:pt x="444" y="3362"/>
                  </a:lnTo>
                  <a:lnTo>
                    <a:pt x="450" y="3358"/>
                  </a:lnTo>
                  <a:lnTo>
                    <a:pt x="454" y="3354"/>
                  </a:lnTo>
                  <a:lnTo>
                    <a:pt x="458" y="3354"/>
                  </a:lnTo>
                  <a:lnTo>
                    <a:pt x="462" y="3354"/>
                  </a:lnTo>
                  <a:lnTo>
                    <a:pt x="466" y="3356"/>
                  </a:lnTo>
                  <a:lnTo>
                    <a:pt x="470" y="3350"/>
                  </a:lnTo>
                  <a:lnTo>
                    <a:pt x="476" y="3342"/>
                  </a:lnTo>
                  <a:lnTo>
                    <a:pt x="480" y="3340"/>
                  </a:lnTo>
                  <a:lnTo>
                    <a:pt x="486" y="3340"/>
                  </a:lnTo>
                  <a:lnTo>
                    <a:pt x="496" y="3342"/>
                  </a:lnTo>
                  <a:lnTo>
                    <a:pt x="510" y="3344"/>
                  </a:lnTo>
                  <a:lnTo>
                    <a:pt x="518" y="3348"/>
                  </a:lnTo>
                  <a:lnTo>
                    <a:pt x="520" y="3346"/>
                  </a:lnTo>
                  <a:lnTo>
                    <a:pt x="518" y="3342"/>
                  </a:lnTo>
                  <a:lnTo>
                    <a:pt x="510" y="3328"/>
                  </a:lnTo>
                  <a:lnTo>
                    <a:pt x="500" y="3308"/>
                  </a:lnTo>
                  <a:lnTo>
                    <a:pt x="496" y="3296"/>
                  </a:lnTo>
                  <a:lnTo>
                    <a:pt x="492" y="3282"/>
                  </a:lnTo>
                  <a:lnTo>
                    <a:pt x="490" y="3266"/>
                  </a:lnTo>
                  <a:lnTo>
                    <a:pt x="490" y="3256"/>
                  </a:lnTo>
                  <a:lnTo>
                    <a:pt x="490" y="3246"/>
                  </a:lnTo>
                  <a:lnTo>
                    <a:pt x="494" y="3238"/>
                  </a:lnTo>
                  <a:lnTo>
                    <a:pt x="498" y="3228"/>
                  </a:lnTo>
                  <a:lnTo>
                    <a:pt x="506" y="3222"/>
                  </a:lnTo>
                  <a:lnTo>
                    <a:pt x="518" y="3216"/>
                  </a:lnTo>
                  <a:lnTo>
                    <a:pt x="528" y="3212"/>
                  </a:lnTo>
                  <a:lnTo>
                    <a:pt x="536" y="3208"/>
                  </a:lnTo>
                  <a:lnTo>
                    <a:pt x="542" y="3202"/>
                  </a:lnTo>
                  <a:lnTo>
                    <a:pt x="546" y="3196"/>
                  </a:lnTo>
                  <a:lnTo>
                    <a:pt x="550" y="3180"/>
                  </a:lnTo>
                  <a:lnTo>
                    <a:pt x="552" y="3156"/>
                  </a:lnTo>
                  <a:lnTo>
                    <a:pt x="556" y="3144"/>
                  </a:lnTo>
                  <a:lnTo>
                    <a:pt x="564" y="3134"/>
                  </a:lnTo>
                  <a:lnTo>
                    <a:pt x="572" y="3126"/>
                  </a:lnTo>
                  <a:lnTo>
                    <a:pt x="580" y="3122"/>
                  </a:lnTo>
                  <a:lnTo>
                    <a:pt x="596" y="3112"/>
                  </a:lnTo>
                  <a:lnTo>
                    <a:pt x="602" y="3108"/>
                  </a:lnTo>
                  <a:lnTo>
                    <a:pt x="604" y="3104"/>
                  </a:lnTo>
                  <a:lnTo>
                    <a:pt x="606" y="3100"/>
                  </a:lnTo>
                  <a:lnTo>
                    <a:pt x="610" y="3096"/>
                  </a:lnTo>
                  <a:lnTo>
                    <a:pt x="616" y="3092"/>
                  </a:lnTo>
                  <a:lnTo>
                    <a:pt x="622" y="3086"/>
                  </a:lnTo>
                  <a:lnTo>
                    <a:pt x="624" y="3082"/>
                  </a:lnTo>
                  <a:lnTo>
                    <a:pt x="622" y="3078"/>
                  </a:lnTo>
                  <a:lnTo>
                    <a:pt x="620" y="3074"/>
                  </a:lnTo>
                  <a:lnTo>
                    <a:pt x="620" y="3072"/>
                  </a:lnTo>
                  <a:lnTo>
                    <a:pt x="624" y="3066"/>
                  </a:lnTo>
                  <a:lnTo>
                    <a:pt x="626" y="3060"/>
                  </a:lnTo>
                  <a:lnTo>
                    <a:pt x="626" y="3054"/>
                  </a:lnTo>
                  <a:lnTo>
                    <a:pt x="626" y="3044"/>
                  </a:lnTo>
                  <a:lnTo>
                    <a:pt x="624" y="3038"/>
                  </a:lnTo>
                  <a:lnTo>
                    <a:pt x="620" y="3036"/>
                  </a:lnTo>
                  <a:lnTo>
                    <a:pt x="608" y="3036"/>
                  </a:lnTo>
                  <a:lnTo>
                    <a:pt x="600" y="3034"/>
                  </a:lnTo>
                  <a:lnTo>
                    <a:pt x="590" y="3032"/>
                  </a:lnTo>
                  <a:lnTo>
                    <a:pt x="580" y="3026"/>
                  </a:lnTo>
                  <a:lnTo>
                    <a:pt x="570" y="3016"/>
                  </a:lnTo>
                  <a:lnTo>
                    <a:pt x="554" y="2996"/>
                  </a:lnTo>
                  <a:lnTo>
                    <a:pt x="550" y="2988"/>
                  </a:lnTo>
                  <a:lnTo>
                    <a:pt x="550" y="2982"/>
                  </a:lnTo>
                  <a:lnTo>
                    <a:pt x="550" y="2976"/>
                  </a:lnTo>
                  <a:lnTo>
                    <a:pt x="554" y="2968"/>
                  </a:lnTo>
                  <a:lnTo>
                    <a:pt x="564" y="2948"/>
                  </a:lnTo>
                  <a:lnTo>
                    <a:pt x="570" y="2938"/>
                  </a:lnTo>
                  <a:lnTo>
                    <a:pt x="576" y="2930"/>
                  </a:lnTo>
                  <a:lnTo>
                    <a:pt x="580" y="2928"/>
                  </a:lnTo>
                  <a:lnTo>
                    <a:pt x="584" y="2926"/>
                  </a:lnTo>
                  <a:lnTo>
                    <a:pt x="592" y="2926"/>
                  </a:lnTo>
                  <a:lnTo>
                    <a:pt x="594" y="2924"/>
                  </a:lnTo>
                  <a:lnTo>
                    <a:pt x="598" y="2922"/>
                  </a:lnTo>
                  <a:lnTo>
                    <a:pt x="602" y="2918"/>
                  </a:lnTo>
                  <a:lnTo>
                    <a:pt x="608" y="2916"/>
                  </a:lnTo>
                  <a:lnTo>
                    <a:pt x="622" y="2916"/>
                  </a:lnTo>
                  <a:lnTo>
                    <a:pt x="628" y="2916"/>
                  </a:lnTo>
                  <a:lnTo>
                    <a:pt x="632" y="2914"/>
                  </a:lnTo>
                  <a:lnTo>
                    <a:pt x="634" y="2912"/>
                  </a:lnTo>
                  <a:lnTo>
                    <a:pt x="630" y="2908"/>
                  </a:lnTo>
                  <a:lnTo>
                    <a:pt x="628" y="2902"/>
                  </a:lnTo>
                  <a:lnTo>
                    <a:pt x="630" y="2898"/>
                  </a:lnTo>
                  <a:lnTo>
                    <a:pt x="638" y="2890"/>
                  </a:lnTo>
                  <a:lnTo>
                    <a:pt x="642" y="2886"/>
                  </a:lnTo>
                  <a:lnTo>
                    <a:pt x="646" y="2878"/>
                  </a:lnTo>
                  <a:lnTo>
                    <a:pt x="648" y="2868"/>
                  </a:lnTo>
                  <a:lnTo>
                    <a:pt x="644" y="2856"/>
                  </a:lnTo>
                  <a:lnTo>
                    <a:pt x="644" y="2850"/>
                  </a:lnTo>
                  <a:lnTo>
                    <a:pt x="644" y="2844"/>
                  </a:lnTo>
                  <a:lnTo>
                    <a:pt x="646" y="2836"/>
                  </a:lnTo>
                  <a:lnTo>
                    <a:pt x="648" y="2830"/>
                  </a:lnTo>
                  <a:lnTo>
                    <a:pt x="652" y="2822"/>
                  </a:lnTo>
                  <a:lnTo>
                    <a:pt x="660" y="2816"/>
                  </a:lnTo>
                  <a:lnTo>
                    <a:pt x="668" y="2810"/>
                  </a:lnTo>
                  <a:lnTo>
                    <a:pt x="678" y="2806"/>
                  </a:lnTo>
                  <a:lnTo>
                    <a:pt x="684" y="2802"/>
                  </a:lnTo>
                  <a:lnTo>
                    <a:pt x="682" y="2800"/>
                  </a:lnTo>
                  <a:lnTo>
                    <a:pt x="674" y="2798"/>
                  </a:lnTo>
                  <a:lnTo>
                    <a:pt x="662" y="2794"/>
                  </a:lnTo>
                  <a:lnTo>
                    <a:pt x="658" y="2790"/>
                  </a:lnTo>
                  <a:lnTo>
                    <a:pt x="658" y="2786"/>
                  </a:lnTo>
                  <a:lnTo>
                    <a:pt x="660" y="2782"/>
                  </a:lnTo>
                  <a:lnTo>
                    <a:pt x="664" y="2780"/>
                  </a:lnTo>
                  <a:lnTo>
                    <a:pt x="670" y="2780"/>
                  </a:lnTo>
                  <a:lnTo>
                    <a:pt x="676" y="2780"/>
                  </a:lnTo>
                  <a:lnTo>
                    <a:pt x="682" y="2782"/>
                  </a:lnTo>
                  <a:lnTo>
                    <a:pt x="686" y="2788"/>
                  </a:lnTo>
                  <a:lnTo>
                    <a:pt x="690" y="2792"/>
                  </a:lnTo>
                  <a:lnTo>
                    <a:pt x="692" y="2796"/>
                  </a:lnTo>
                  <a:lnTo>
                    <a:pt x="696" y="2798"/>
                  </a:lnTo>
                  <a:lnTo>
                    <a:pt x="700" y="2798"/>
                  </a:lnTo>
                  <a:lnTo>
                    <a:pt x="704" y="2796"/>
                  </a:lnTo>
                  <a:lnTo>
                    <a:pt x="708" y="2792"/>
                  </a:lnTo>
                  <a:lnTo>
                    <a:pt x="712" y="2786"/>
                  </a:lnTo>
                  <a:lnTo>
                    <a:pt x="714" y="2778"/>
                  </a:lnTo>
                  <a:lnTo>
                    <a:pt x="716" y="2770"/>
                  </a:lnTo>
                  <a:lnTo>
                    <a:pt x="714" y="2762"/>
                  </a:lnTo>
                  <a:lnTo>
                    <a:pt x="708" y="2754"/>
                  </a:lnTo>
                  <a:lnTo>
                    <a:pt x="706" y="2752"/>
                  </a:lnTo>
                  <a:lnTo>
                    <a:pt x="702" y="2752"/>
                  </a:lnTo>
                  <a:lnTo>
                    <a:pt x="678" y="2758"/>
                  </a:lnTo>
                  <a:lnTo>
                    <a:pt x="670" y="2760"/>
                  </a:lnTo>
                  <a:lnTo>
                    <a:pt x="662" y="2758"/>
                  </a:lnTo>
                  <a:lnTo>
                    <a:pt x="658" y="2756"/>
                  </a:lnTo>
                  <a:lnTo>
                    <a:pt x="656" y="2750"/>
                  </a:lnTo>
                  <a:lnTo>
                    <a:pt x="654" y="2744"/>
                  </a:lnTo>
                  <a:lnTo>
                    <a:pt x="656" y="2734"/>
                  </a:lnTo>
                  <a:lnTo>
                    <a:pt x="656" y="2726"/>
                  </a:lnTo>
                  <a:lnTo>
                    <a:pt x="654" y="2716"/>
                  </a:lnTo>
                  <a:lnTo>
                    <a:pt x="650" y="2700"/>
                  </a:lnTo>
                  <a:lnTo>
                    <a:pt x="648" y="2694"/>
                  </a:lnTo>
                  <a:lnTo>
                    <a:pt x="646" y="2690"/>
                  </a:lnTo>
                  <a:lnTo>
                    <a:pt x="648" y="2684"/>
                  </a:lnTo>
                  <a:lnTo>
                    <a:pt x="654" y="2682"/>
                  </a:lnTo>
                  <a:lnTo>
                    <a:pt x="662" y="2680"/>
                  </a:lnTo>
                  <a:lnTo>
                    <a:pt x="668" y="2682"/>
                  </a:lnTo>
                  <a:lnTo>
                    <a:pt x="684" y="2688"/>
                  </a:lnTo>
                  <a:lnTo>
                    <a:pt x="700" y="2696"/>
                  </a:lnTo>
                  <a:lnTo>
                    <a:pt x="708" y="2698"/>
                  </a:lnTo>
                  <a:lnTo>
                    <a:pt x="714" y="2700"/>
                  </a:lnTo>
                  <a:lnTo>
                    <a:pt x="724" y="2700"/>
                  </a:lnTo>
                  <a:lnTo>
                    <a:pt x="728" y="2700"/>
                  </a:lnTo>
                  <a:lnTo>
                    <a:pt x="734" y="2700"/>
                  </a:lnTo>
                  <a:lnTo>
                    <a:pt x="748" y="2694"/>
                  </a:lnTo>
                  <a:lnTo>
                    <a:pt x="762" y="2684"/>
                  </a:lnTo>
                  <a:lnTo>
                    <a:pt x="768" y="2680"/>
                  </a:lnTo>
                  <a:lnTo>
                    <a:pt x="770" y="2676"/>
                  </a:lnTo>
                  <a:lnTo>
                    <a:pt x="770" y="2672"/>
                  </a:lnTo>
                  <a:lnTo>
                    <a:pt x="770" y="2670"/>
                  </a:lnTo>
                  <a:lnTo>
                    <a:pt x="764" y="2664"/>
                  </a:lnTo>
                  <a:lnTo>
                    <a:pt x="762" y="2660"/>
                  </a:lnTo>
                  <a:lnTo>
                    <a:pt x="760" y="2658"/>
                  </a:lnTo>
                  <a:lnTo>
                    <a:pt x="758" y="2650"/>
                  </a:lnTo>
                  <a:lnTo>
                    <a:pt x="762" y="2642"/>
                  </a:lnTo>
                  <a:lnTo>
                    <a:pt x="770" y="2632"/>
                  </a:lnTo>
                  <a:lnTo>
                    <a:pt x="776" y="2622"/>
                  </a:lnTo>
                  <a:lnTo>
                    <a:pt x="778" y="2612"/>
                  </a:lnTo>
                  <a:lnTo>
                    <a:pt x="776" y="2602"/>
                  </a:lnTo>
                  <a:lnTo>
                    <a:pt x="772" y="2598"/>
                  </a:lnTo>
                  <a:lnTo>
                    <a:pt x="770" y="2596"/>
                  </a:lnTo>
                  <a:lnTo>
                    <a:pt x="766" y="2592"/>
                  </a:lnTo>
                  <a:lnTo>
                    <a:pt x="762" y="2588"/>
                  </a:lnTo>
                  <a:lnTo>
                    <a:pt x="760" y="2578"/>
                  </a:lnTo>
                  <a:lnTo>
                    <a:pt x="760" y="2574"/>
                  </a:lnTo>
                  <a:lnTo>
                    <a:pt x="762" y="2572"/>
                  </a:lnTo>
                  <a:lnTo>
                    <a:pt x="768" y="2572"/>
                  </a:lnTo>
                  <a:lnTo>
                    <a:pt x="774" y="2576"/>
                  </a:lnTo>
                  <a:lnTo>
                    <a:pt x="784" y="2582"/>
                  </a:lnTo>
                  <a:lnTo>
                    <a:pt x="792" y="2582"/>
                  </a:lnTo>
                  <a:lnTo>
                    <a:pt x="824" y="2578"/>
                  </a:lnTo>
                  <a:lnTo>
                    <a:pt x="856" y="2574"/>
                  </a:lnTo>
                  <a:lnTo>
                    <a:pt x="890" y="2566"/>
                  </a:lnTo>
                  <a:lnTo>
                    <a:pt x="920" y="2556"/>
                  </a:lnTo>
                  <a:lnTo>
                    <a:pt x="934" y="2550"/>
                  </a:lnTo>
                  <a:lnTo>
                    <a:pt x="944" y="2544"/>
                  </a:lnTo>
                  <a:lnTo>
                    <a:pt x="952" y="2538"/>
                  </a:lnTo>
                  <a:lnTo>
                    <a:pt x="956" y="2534"/>
                  </a:lnTo>
                  <a:lnTo>
                    <a:pt x="958" y="2528"/>
                  </a:lnTo>
                  <a:lnTo>
                    <a:pt x="960" y="2524"/>
                  </a:lnTo>
                  <a:lnTo>
                    <a:pt x="962" y="2516"/>
                  </a:lnTo>
                  <a:lnTo>
                    <a:pt x="966" y="2510"/>
                  </a:lnTo>
                  <a:lnTo>
                    <a:pt x="970" y="2504"/>
                  </a:lnTo>
                  <a:lnTo>
                    <a:pt x="980" y="2492"/>
                  </a:lnTo>
                  <a:lnTo>
                    <a:pt x="986" y="2478"/>
                  </a:lnTo>
                  <a:lnTo>
                    <a:pt x="990" y="2464"/>
                  </a:lnTo>
                  <a:lnTo>
                    <a:pt x="990" y="2444"/>
                  </a:lnTo>
                  <a:lnTo>
                    <a:pt x="990" y="2436"/>
                  </a:lnTo>
                  <a:lnTo>
                    <a:pt x="990" y="2432"/>
                  </a:lnTo>
                  <a:lnTo>
                    <a:pt x="986" y="2432"/>
                  </a:lnTo>
                  <a:lnTo>
                    <a:pt x="984" y="2432"/>
                  </a:lnTo>
                  <a:lnTo>
                    <a:pt x="980" y="2432"/>
                  </a:lnTo>
                  <a:lnTo>
                    <a:pt x="976" y="2432"/>
                  </a:lnTo>
                  <a:lnTo>
                    <a:pt x="970" y="2428"/>
                  </a:lnTo>
                  <a:lnTo>
                    <a:pt x="964" y="2420"/>
                  </a:lnTo>
                  <a:lnTo>
                    <a:pt x="962" y="2410"/>
                  </a:lnTo>
                  <a:lnTo>
                    <a:pt x="962" y="2404"/>
                  </a:lnTo>
                  <a:lnTo>
                    <a:pt x="964" y="2400"/>
                  </a:lnTo>
                  <a:lnTo>
                    <a:pt x="968" y="2396"/>
                  </a:lnTo>
                  <a:lnTo>
                    <a:pt x="970" y="2392"/>
                  </a:lnTo>
                  <a:lnTo>
                    <a:pt x="970" y="2388"/>
                  </a:lnTo>
                  <a:lnTo>
                    <a:pt x="968" y="2380"/>
                  </a:lnTo>
                  <a:lnTo>
                    <a:pt x="962" y="2368"/>
                  </a:lnTo>
                  <a:lnTo>
                    <a:pt x="954" y="2360"/>
                  </a:lnTo>
                  <a:lnTo>
                    <a:pt x="946" y="2354"/>
                  </a:lnTo>
                  <a:lnTo>
                    <a:pt x="928" y="2344"/>
                  </a:lnTo>
                  <a:lnTo>
                    <a:pt x="922" y="2338"/>
                  </a:lnTo>
                  <a:lnTo>
                    <a:pt x="918" y="2332"/>
                  </a:lnTo>
                  <a:lnTo>
                    <a:pt x="918" y="2330"/>
                  </a:lnTo>
                  <a:lnTo>
                    <a:pt x="920" y="2326"/>
                  </a:lnTo>
                  <a:lnTo>
                    <a:pt x="926" y="2316"/>
                  </a:lnTo>
                  <a:lnTo>
                    <a:pt x="928" y="2320"/>
                  </a:lnTo>
                  <a:lnTo>
                    <a:pt x="934" y="2326"/>
                  </a:lnTo>
                  <a:lnTo>
                    <a:pt x="946" y="2332"/>
                  </a:lnTo>
                  <a:lnTo>
                    <a:pt x="952" y="2334"/>
                  </a:lnTo>
                  <a:lnTo>
                    <a:pt x="958" y="2334"/>
                  </a:lnTo>
                  <a:lnTo>
                    <a:pt x="966" y="2336"/>
                  </a:lnTo>
                  <a:lnTo>
                    <a:pt x="976" y="2338"/>
                  </a:lnTo>
                  <a:lnTo>
                    <a:pt x="992" y="2348"/>
                  </a:lnTo>
                  <a:lnTo>
                    <a:pt x="1002" y="2352"/>
                  </a:lnTo>
                  <a:lnTo>
                    <a:pt x="1010" y="2356"/>
                  </a:lnTo>
                  <a:lnTo>
                    <a:pt x="1018" y="2358"/>
                  </a:lnTo>
                  <a:lnTo>
                    <a:pt x="1026" y="2356"/>
                  </a:lnTo>
                  <a:lnTo>
                    <a:pt x="1032" y="2354"/>
                  </a:lnTo>
                  <a:lnTo>
                    <a:pt x="1038" y="2352"/>
                  </a:lnTo>
                  <a:lnTo>
                    <a:pt x="1050" y="2356"/>
                  </a:lnTo>
                  <a:lnTo>
                    <a:pt x="1056" y="2358"/>
                  </a:lnTo>
                  <a:lnTo>
                    <a:pt x="1062" y="2358"/>
                  </a:lnTo>
                  <a:lnTo>
                    <a:pt x="1068" y="2358"/>
                  </a:lnTo>
                  <a:lnTo>
                    <a:pt x="1076" y="2354"/>
                  </a:lnTo>
                  <a:lnTo>
                    <a:pt x="1090" y="2344"/>
                  </a:lnTo>
                  <a:lnTo>
                    <a:pt x="1100" y="2334"/>
                  </a:lnTo>
                  <a:lnTo>
                    <a:pt x="1110" y="2320"/>
                  </a:lnTo>
                  <a:lnTo>
                    <a:pt x="1122" y="2300"/>
                  </a:lnTo>
                  <a:lnTo>
                    <a:pt x="1120" y="2294"/>
                  </a:lnTo>
                  <a:lnTo>
                    <a:pt x="1124" y="2288"/>
                  </a:lnTo>
                  <a:lnTo>
                    <a:pt x="1130" y="2282"/>
                  </a:lnTo>
                  <a:lnTo>
                    <a:pt x="1140" y="2276"/>
                  </a:lnTo>
                  <a:lnTo>
                    <a:pt x="1150" y="2270"/>
                  </a:lnTo>
                  <a:lnTo>
                    <a:pt x="1154" y="2264"/>
                  </a:lnTo>
                  <a:lnTo>
                    <a:pt x="1158" y="2256"/>
                  </a:lnTo>
                  <a:lnTo>
                    <a:pt x="1166" y="2232"/>
                  </a:lnTo>
                  <a:lnTo>
                    <a:pt x="1170" y="2224"/>
                  </a:lnTo>
                  <a:lnTo>
                    <a:pt x="1174" y="2218"/>
                  </a:lnTo>
                  <a:lnTo>
                    <a:pt x="1188" y="2204"/>
                  </a:lnTo>
                  <a:lnTo>
                    <a:pt x="1210" y="2184"/>
                  </a:lnTo>
                  <a:lnTo>
                    <a:pt x="1220" y="2174"/>
                  </a:lnTo>
                  <a:lnTo>
                    <a:pt x="1228" y="2164"/>
                  </a:lnTo>
                  <a:lnTo>
                    <a:pt x="1240" y="2140"/>
                  </a:lnTo>
                  <a:lnTo>
                    <a:pt x="1254" y="2110"/>
                  </a:lnTo>
                  <a:lnTo>
                    <a:pt x="1270" y="2074"/>
                  </a:lnTo>
                  <a:lnTo>
                    <a:pt x="1278" y="2058"/>
                  </a:lnTo>
                  <a:lnTo>
                    <a:pt x="1284" y="2048"/>
                  </a:lnTo>
                  <a:lnTo>
                    <a:pt x="1290" y="2042"/>
                  </a:lnTo>
                  <a:lnTo>
                    <a:pt x="1294" y="2038"/>
                  </a:lnTo>
                  <a:lnTo>
                    <a:pt x="1304" y="2030"/>
                  </a:lnTo>
                  <a:lnTo>
                    <a:pt x="1308" y="2022"/>
                  </a:lnTo>
                  <a:lnTo>
                    <a:pt x="1314" y="2012"/>
                  </a:lnTo>
                  <a:lnTo>
                    <a:pt x="1320" y="1998"/>
                  </a:lnTo>
                  <a:lnTo>
                    <a:pt x="1322" y="1984"/>
                  </a:lnTo>
                  <a:lnTo>
                    <a:pt x="1322" y="1970"/>
                  </a:lnTo>
                  <a:lnTo>
                    <a:pt x="1322" y="1956"/>
                  </a:lnTo>
                  <a:lnTo>
                    <a:pt x="1322" y="1926"/>
                  </a:lnTo>
                  <a:lnTo>
                    <a:pt x="1320" y="1910"/>
                  </a:lnTo>
                  <a:lnTo>
                    <a:pt x="1322" y="1894"/>
                  </a:lnTo>
                  <a:lnTo>
                    <a:pt x="1324" y="1878"/>
                  </a:lnTo>
                  <a:lnTo>
                    <a:pt x="1332" y="1862"/>
                  </a:lnTo>
                  <a:lnTo>
                    <a:pt x="1340" y="1848"/>
                  </a:lnTo>
                  <a:lnTo>
                    <a:pt x="1352" y="1836"/>
                  </a:lnTo>
                  <a:lnTo>
                    <a:pt x="1364" y="1824"/>
                  </a:lnTo>
                  <a:lnTo>
                    <a:pt x="1376" y="1816"/>
                  </a:lnTo>
                  <a:lnTo>
                    <a:pt x="1388" y="1808"/>
                  </a:lnTo>
                  <a:lnTo>
                    <a:pt x="1398" y="1802"/>
                  </a:lnTo>
                  <a:lnTo>
                    <a:pt x="1422" y="1792"/>
                  </a:lnTo>
                  <a:lnTo>
                    <a:pt x="1438" y="1782"/>
                  </a:lnTo>
                  <a:lnTo>
                    <a:pt x="1452" y="1772"/>
                  </a:lnTo>
                  <a:lnTo>
                    <a:pt x="1462" y="1764"/>
                  </a:lnTo>
                  <a:lnTo>
                    <a:pt x="1476" y="1750"/>
                  </a:lnTo>
                  <a:lnTo>
                    <a:pt x="1482" y="1744"/>
                  </a:lnTo>
                  <a:lnTo>
                    <a:pt x="1490" y="1740"/>
                  </a:lnTo>
                  <a:lnTo>
                    <a:pt x="1498" y="1738"/>
                  </a:lnTo>
                  <a:lnTo>
                    <a:pt x="1502" y="1738"/>
                  </a:lnTo>
                  <a:lnTo>
                    <a:pt x="1506" y="1740"/>
                  </a:lnTo>
                  <a:lnTo>
                    <a:pt x="1508" y="1742"/>
                  </a:lnTo>
                  <a:lnTo>
                    <a:pt x="1514" y="1742"/>
                  </a:lnTo>
                  <a:lnTo>
                    <a:pt x="1520" y="1742"/>
                  </a:lnTo>
                  <a:lnTo>
                    <a:pt x="1530" y="1740"/>
                  </a:lnTo>
                  <a:lnTo>
                    <a:pt x="1544" y="1738"/>
                  </a:lnTo>
                  <a:lnTo>
                    <a:pt x="1556" y="1738"/>
                  </a:lnTo>
                  <a:lnTo>
                    <a:pt x="1576" y="1738"/>
                  </a:lnTo>
                  <a:lnTo>
                    <a:pt x="1584" y="1738"/>
                  </a:lnTo>
                  <a:lnTo>
                    <a:pt x="1588" y="1736"/>
                  </a:lnTo>
                  <a:lnTo>
                    <a:pt x="1592" y="1734"/>
                  </a:lnTo>
                  <a:lnTo>
                    <a:pt x="1590" y="1728"/>
                  </a:lnTo>
                  <a:lnTo>
                    <a:pt x="1590" y="1724"/>
                  </a:lnTo>
                  <a:lnTo>
                    <a:pt x="1590" y="1722"/>
                  </a:lnTo>
                  <a:lnTo>
                    <a:pt x="1594" y="1716"/>
                  </a:lnTo>
                  <a:lnTo>
                    <a:pt x="1608" y="1702"/>
                  </a:lnTo>
                  <a:lnTo>
                    <a:pt x="1616" y="1696"/>
                  </a:lnTo>
                  <a:lnTo>
                    <a:pt x="1622" y="1690"/>
                  </a:lnTo>
                  <a:lnTo>
                    <a:pt x="1626" y="1682"/>
                  </a:lnTo>
                  <a:lnTo>
                    <a:pt x="1626" y="1676"/>
                  </a:lnTo>
                  <a:lnTo>
                    <a:pt x="1624" y="1672"/>
                  </a:lnTo>
                  <a:lnTo>
                    <a:pt x="1622" y="1662"/>
                  </a:lnTo>
                  <a:lnTo>
                    <a:pt x="1624" y="1654"/>
                  </a:lnTo>
                  <a:lnTo>
                    <a:pt x="1628" y="1644"/>
                  </a:lnTo>
                  <a:lnTo>
                    <a:pt x="1634" y="1634"/>
                  </a:lnTo>
                  <a:lnTo>
                    <a:pt x="1650" y="1610"/>
                  </a:lnTo>
                  <a:lnTo>
                    <a:pt x="1668" y="1580"/>
                  </a:lnTo>
                  <a:lnTo>
                    <a:pt x="1674" y="1564"/>
                  </a:lnTo>
                  <a:lnTo>
                    <a:pt x="1678" y="1550"/>
                  </a:lnTo>
                  <a:lnTo>
                    <a:pt x="1678" y="1536"/>
                  </a:lnTo>
                  <a:lnTo>
                    <a:pt x="1678" y="1524"/>
                  </a:lnTo>
                  <a:lnTo>
                    <a:pt x="1678" y="1514"/>
                  </a:lnTo>
                  <a:lnTo>
                    <a:pt x="1680" y="1506"/>
                  </a:lnTo>
                  <a:lnTo>
                    <a:pt x="1682" y="1498"/>
                  </a:lnTo>
                  <a:lnTo>
                    <a:pt x="1688" y="1494"/>
                  </a:lnTo>
                  <a:lnTo>
                    <a:pt x="1694" y="1488"/>
                  </a:lnTo>
                  <a:lnTo>
                    <a:pt x="1698" y="1480"/>
                  </a:lnTo>
                  <a:lnTo>
                    <a:pt x="1698" y="1470"/>
                  </a:lnTo>
                  <a:lnTo>
                    <a:pt x="1700" y="1460"/>
                  </a:lnTo>
                  <a:lnTo>
                    <a:pt x="1700" y="1434"/>
                  </a:lnTo>
                  <a:lnTo>
                    <a:pt x="1702" y="1418"/>
                  </a:lnTo>
                  <a:lnTo>
                    <a:pt x="1704" y="1404"/>
                  </a:lnTo>
                  <a:lnTo>
                    <a:pt x="1708" y="1390"/>
                  </a:lnTo>
                  <a:lnTo>
                    <a:pt x="1708" y="1378"/>
                  </a:lnTo>
                  <a:lnTo>
                    <a:pt x="1708" y="1368"/>
                  </a:lnTo>
                  <a:lnTo>
                    <a:pt x="1706" y="1360"/>
                  </a:lnTo>
                  <a:lnTo>
                    <a:pt x="1702" y="1342"/>
                  </a:lnTo>
                  <a:lnTo>
                    <a:pt x="1702" y="1334"/>
                  </a:lnTo>
                  <a:lnTo>
                    <a:pt x="1702" y="1324"/>
                  </a:lnTo>
                  <a:lnTo>
                    <a:pt x="1706" y="1252"/>
                  </a:lnTo>
                  <a:lnTo>
                    <a:pt x="1708" y="1234"/>
                  </a:lnTo>
                  <a:lnTo>
                    <a:pt x="1710" y="1224"/>
                  </a:lnTo>
                  <a:lnTo>
                    <a:pt x="1712" y="1220"/>
                  </a:lnTo>
                  <a:lnTo>
                    <a:pt x="1714" y="1220"/>
                  </a:lnTo>
                  <a:lnTo>
                    <a:pt x="1718" y="1222"/>
                  </a:lnTo>
                  <a:lnTo>
                    <a:pt x="1720" y="1226"/>
                  </a:lnTo>
                  <a:lnTo>
                    <a:pt x="1726" y="1234"/>
                  </a:lnTo>
                  <a:lnTo>
                    <a:pt x="1730" y="1238"/>
                  </a:lnTo>
                  <a:lnTo>
                    <a:pt x="1736" y="1238"/>
                  </a:lnTo>
                  <a:lnTo>
                    <a:pt x="1740" y="1234"/>
                  </a:lnTo>
                  <a:lnTo>
                    <a:pt x="1746" y="1224"/>
                  </a:lnTo>
                  <a:lnTo>
                    <a:pt x="1752" y="1212"/>
                  </a:lnTo>
                  <a:lnTo>
                    <a:pt x="1766" y="1176"/>
                  </a:lnTo>
                  <a:lnTo>
                    <a:pt x="1774" y="1158"/>
                  </a:lnTo>
                  <a:lnTo>
                    <a:pt x="1780" y="1146"/>
                  </a:lnTo>
                  <a:lnTo>
                    <a:pt x="1788" y="1136"/>
                  </a:lnTo>
                  <a:lnTo>
                    <a:pt x="1794" y="1128"/>
                  </a:lnTo>
                  <a:lnTo>
                    <a:pt x="1810" y="1112"/>
                  </a:lnTo>
                  <a:lnTo>
                    <a:pt x="1820" y="1100"/>
                  </a:lnTo>
                  <a:lnTo>
                    <a:pt x="1830" y="1082"/>
                  </a:lnTo>
                  <a:lnTo>
                    <a:pt x="1852" y="1044"/>
                  </a:lnTo>
                  <a:lnTo>
                    <a:pt x="1860" y="1030"/>
                  </a:lnTo>
                  <a:lnTo>
                    <a:pt x="1866" y="1016"/>
                  </a:lnTo>
                  <a:lnTo>
                    <a:pt x="1872" y="1002"/>
                  </a:lnTo>
                  <a:lnTo>
                    <a:pt x="1874" y="988"/>
                  </a:lnTo>
                  <a:lnTo>
                    <a:pt x="1874" y="972"/>
                  </a:lnTo>
                  <a:lnTo>
                    <a:pt x="1872" y="956"/>
                  </a:lnTo>
                  <a:close/>
                  <a:moveTo>
                    <a:pt x="1128" y="2234"/>
                  </a:moveTo>
                  <a:lnTo>
                    <a:pt x="1128" y="2234"/>
                  </a:lnTo>
                  <a:lnTo>
                    <a:pt x="1132" y="2242"/>
                  </a:lnTo>
                  <a:lnTo>
                    <a:pt x="1128" y="2234"/>
                  </a:lnTo>
                  <a:close/>
                  <a:moveTo>
                    <a:pt x="698" y="3490"/>
                  </a:moveTo>
                  <a:lnTo>
                    <a:pt x="698" y="3490"/>
                  </a:lnTo>
                  <a:lnTo>
                    <a:pt x="692" y="3492"/>
                  </a:lnTo>
                  <a:lnTo>
                    <a:pt x="688" y="3490"/>
                  </a:lnTo>
                  <a:lnTo>
                    <a:pt x="684" y="3490"/>
                  </a:lnTo>
                  <a:lnTo>
                    <a:pt x="678" y="3492"/>
                  </a:lnTo>
                  <a:lnTo>
                    <a:pt x="670" y="3496"/>
                  </a:lnTo>
                  <a:lnTo>
                    <a:pt x="666" y="3498"/>
                  </a:lnTo>
                  <a:lnTo>
                    <a:pt x="670" y="3500"/>
                  </a:lnTo>
                  <a:lnTo>
                    <a:pt x="672" y="3500"/>
                  </a:lnTo>
                  <a:lnTo>
                    <a:pt x="678" y="3498"/>
                  </a:lnTo>
                  <a:lnTo>
                    <a:pt x="682" y="3494"/>
                  </a:lnTo>
                  <a:lnTo>
                    <a:pt x="684" y="3496"/>
                  </a:lnTo>
                  <a:lnTo>
                    <a:pt x="686" y="3498"/>
                  </a:lnTo>
                  <a:lnTo>
                    <a:pt x="690" y="3496"/>
                  </a:lnTo>
                  <a:lnTo>
                    <a:pt x="694" y="3496"/>
                  </a:lnTo>
                  <a:lnTo>
                    <a:pt x="696" y="3496"/>
                  </a:lnTo>
                  <a:lnTo>
                    <a:pt x="700" y="3496"/>
                  </a:lnTo>
                  <a:lnTo>
                    <a:pt x="702" y="3494"/>
                  </a:lnTo>
                  <a:lnTo>
                    <a:pt x="704" y="3492"/>
                  </a:lnTo>
                  <a:lnTo>
                    <a:pt x="702" y="3490"/>
                  </a:lnTo>
                  <a:lnTo>
                    <a:pt x="698" y="3490"/>
                  </a:lnTo>
                  <a:close/>
                  <a:moveTo>
                    <a:pt x="294" y="3084"/>
                  </a:moveTo>
                  <a:lnTo>
                    <a:pt x="294" y="3084"/>
                  </a:lnTo>
                  <a:lnTo>
                    <a:pt x="298" y="3086"/>
                  </a:lnTo>
                  <a:lnTo>
                    <a:pt x="300" y="3084"/>
                  </a:lnTo>
                  <a:lnTo>
                    <a:pt x="300" y="3082"/>
                  </a:lnTo>
                  <a:lnTo>
                    <a:pt x="298" y="3080"/>
                  </a:lnTo>
                  <a:lnTo>
                    <a:pt x="292" y="3078"/>
                  </a:lnTo>
                  <a:lnTo>
                    <a:pt x="286" y="3078"/>
                  </a:lnTo>
                  <a:lnTo>
                    <a:pt x="282" y="3078"/>
                  </a:lnTo>
                  <a:lnTo>
                    <a:pt x="276" y="3080"/>
                  </a:lnTo>
                  <a:lnTo>
                    <a:pt x="274" y="3082"/>
                  </a:lnTo>
                  <a:lnTo>
                    <a:pt x="274" y="3084"/>
                  </a:lnTo>
                  <a:lnTo>
                    <a:pt x="280" y="3084"/>
                  </a:lnTo>
                  <a:lnTo>
                    <a:pt x="288" y="3084"/>
                  </a:lnTo>
                  <a:lnTo>
                    <a:pt x="294" y="3084"/>
                  </a:lnTo>
                  <a:close/>
                  <a:moveTo>
                    <a:pt x="338" y="3318"/>
                  </a:moveTo>
                  <a:lnTo>
                    <a:pt x="338" y="3318"/>
                  </a:lnTo>
                  <a:lnTo>
                    <a:pt x="330" y="3322"/>
                  </a:lnTo>
                  <a:lnTo>
                    <a:pt x="328" y="3324"/>
                  </a:lnTo>
                  <a:lnTo>
                    <a:pt x="330" y="3326"/>
                  </a:lnTo>
                  <a:lnTo>
                    <a:pt x="334" y="3326"/>
                  </a:lnTo>
                  <a:lnTo>
                    <a:pt x="338" y="3322"/>
                  </a:lnTo>
                  <a:lnTo>
                    <a:pt x="338" y="3318"/>
                  </a:lnTo>
                  <a:close/>
                  <a:moveTo>
                    <a:pt x="292" y="3034"/>
                  </a:moveTo>
                  <a:lnTo>
                    <a:pt x="292" y="3034"/>
                  </a:lnTo>
                  <a:lnTo>
                    <a:pt x="290" y="3032"/>
                  </a:lnTo>
                  <a:lnTo>
                    <a:pt x="288" y="3030"/>
                  </a:lnTo>
                  <a:lnTo>
                    <a:pt x="284" y="3030"/>
                  </a:lnTo>
                  <a:lnTo>
                    <a:pt x="282" y="3034"/>
                  </a:lnTo>
                  <a:lnTo>
                    <a:pt x="284" y="3036"/>
                  </a:lnTo>
                  <a:lnTo>
                    <a:pt x="286" y="3038"/>
                  </a:lnTo>
                  <a:lnTo>
                    <a:pt x="290" y="3036"/>
                  </a:lnTo>
                  <a:lnTo>
                    <a:pt x="292" y="3034"/>
                  </a:lnTo>
                  <a:close/>
                  <a:moveTo>
                    <a:pt x="420" y="3442"/>
                  </a:moveTo>
                  <a:lnTo>
                    <a:pt x="420" y="3442"/>
                  </a:lnTo>
                  <a:lnTo>
                    <a:pt x="420" y="3446"/>
                  </a:lnTo>
                  <a:lnTo>
                    <a:pt x="424" y="3452"/>
                  </a:lnTo>
                  <a:lnTo>
                    <a:pt x="440" y="3462"/>
                  </a:lnTo>
                  <a:lnTo>
                    <a:pt x="444" y="3464"/>
                  </a:lnTo>
                  <a:lnTo>
                    <a:pt x="444" y="3462"/>
                  </a:lnTo>
                  <a:lnTo>
                    <a:pt x="442" y="3458"/>
                  </a:lnTo>
                  <a:lnTo>
                    <a:pt x="438" y="3454"/>
                  </a:lnTo>
                  <a:lnTo>
                    <a:pt x="430" y="3446"/>
                  </a:lnTo>
                  <a:lnTo>
                    <a:pt x="434" y="3448"/>
                  </a:lnTo>
                  <a:lnTo>
                    <a:pt x="438" y="3450"/>
                  </a:lnTo>
                  <a:lnTo>
                    <a:pt x="442" y="3450"/>
                  </a:lnTo>
                  <a:lnTo>
                    <a:pt x="442" y="3448"/>
                  </a:lnTo>
                  <a:lnTo>
                    <a:pt x="440" y="3444"/>
                  </a:lnTo>
                  <a:lnTo>
                    <a:pt x="436" y="3438"/>
                  </a:lnTo>
                  <a:lnTo>
                    <a:pt x="434" y="3432"/>
                  </a:lnTo>
                  <a:lnTo>
                    <a:pt x="434" y="3420"/>
                  </a:lnTo>
                  <a:lnTo>
                    <a:pt x="434" y="3418"/>
                  </a:lnTo>
                  <a:lnTo>
                    <a:pt x="434" y="3420"/>
                  </a:lnTo>
                  <a:lnTo>
                    <a:pt x="430" y="3422"/>
                  </a:lnTo>
                  <a:lnTo>
                    <a:pt x="426" y="3428"/>
                  </a:lnTo>
                  <a:lnTo>
                    <a:pt x="426" y="3432"/>
                  </a:lnTo>
                  <a:lnTo>
                    <a:pt x="426" y="3436"/>
                  </a:lnTo>
                  <a:lnTo>
                    <a:pt x="424" y="3436"/>
                  </a:lnTo>
                  <a:lnTo>
                    <a:pt x="422" y="3436"/>
                  </a:lnTo>
                  <a:lnTo>
                    <a:pt x="420" y="3442"/>
                  </a:lnTo>
                  <a:close/>
                  <a:moveTo>
                    <a:pt x="272" y="3186"/>
                  </a:moveTo>
                  <a:lnTo>
                    <a:pt x="272" y="3186"/>
                  </a:lnTo>
                  <a:lnTo>
                    <a:pt x="270" y="3186"/>
                  </a:lnTo>
                  <a:lnTo>
                    <a:pt x="272" y="3180"/>
                  </a:lnTo>
                  <a:lnTo>
                    <a:pt x="274" y="3174"/>
                  </a:lnTo>
                  <a:lnTo>
                    <a:pt x="274" y="3168"/>
                  </a:lnTo>
                  <a:lnTo>
                    <a:pt x="274" y="3150"/>
                  </a:lnTo>
                  <a:lnTo>
                    <a:pt x="272" y="3136"/>
                  </a:lnTo>
                  <a:lnTo>
                    <a:pt x="272" y="3132"/>
                  </a:lnTo>
                  <a:lnTo>
                    <a:pt x="270" y="3132"/>
                  </a:lnTo>
                  <a:lnTo>
                    <a:pt x="266" y="3132"/>
                  </a:lnTo>
                  <a:lnTo>
                    <a:pt x="264" y="3130"/>
                  </a:lnTo>
                  <a:lnTo>
                    <a:pt x="262" y="3130"/>
                  </a:lnTo>
                  <a:lnTo>
                    <a:pt x="258" y="3132"/>
                  </a:lnTo>
                  <a:lnTo>
                    <a:pt x="252" y="3136"/>
                  </a:lnTo>
                  <a:lnTo>
                    <a:pt x="250" y="3138"/>
                  </a:lnTo>
                  <a:lnTo>
                    <a:pt x="252" y="3140"/>
                  </a:lnTo>
                  <a:lnTo>
                    <a:pt x="254" y="3142"/>
                  </a:lnTo>
                  <a:lnTo>
                    <a:pt x="254" y="3144"/>
                  </a:lnTo>
                  <a:lnTo>
                    <a:pt x="254" y="3146"/>
                  </a:lnTo>
                  <a:lnTo>
                    <a:pt x="256" y="3148"/>
                  </a:lnTo>
                  <a:lnTo>
                    <a:pt x="258" y="3150"/>
                  </a:lnTo>
                  <a:lnTo>
                    <a:pt x="260" y="3154"/>
                  </a:lnTo>
                  <a:lnTo>
                    <a:pt x="258" y="3164"/>
                  </a:lnTo>
                  <a:lnTo>
                    <a:pt x="256" y="3166"/>
                  </a:lnTo>
                  <a:lnTo>
                    <a:pt x="252" y="3164"/>
                  </a:lnTo>
                  <a:lnTo>
                    <a:pt x="250" y="3162"/>
                  </a:lnTo>
                  <a:lnTo>
                    <a:pt x="246" y="3162"/>
                  </a:lnTo>
                  <a:lnTo>
                    <a:pt x="244" y="3164"/>
                  </a:lnTo>
                  <a:lnTo>
                    <a:pt x="242" y="3162"/>
                  </a:lnTo>
                  <a:lnTo>
                    <a:pt x="238" y="3162"/>
                  </a:lnTo>
                  <a:lnTo>
                    <a:pt x="236" y="3164"/>
                  </a:lnTo>
                  <a:lnTo>
                    <a:pt x="234" y="3168"/>
                  </a:lnTo>
                  <a:lnTo>
                    <a:pt x="236" y="3172"/>
                  </a:lnTo>
                  <a:lnTo>
                    <a:pt x="238" y="3178"/>
                  </a:lnTo>
                  <a:lnTo>
                    <a:pt x="242" y="3184"/>
                  </a:lnTo>
                  <a:lnTo>
                    <a:pt x="244" y="3190"/>
                  </a:lnTo>
                  <a:lnTo>
                    <a:pt x="246" y="3194"/>
                  </a:lnTo>
                  <a:lnTo>
                    <a:pt x="248" y="3200"/>
                  </a:lnTo>
                  <a:lnTo>
                    <a:pt x="250" y="3200"/>
                  </a:lnTo>
                  <a:lnTo>
                    <a:pt x="252" y="3200"/>
                  </a:lnTo>
                  <a:lnTo>
                    <a:pt x="254" y="3196"/>
                  </a:lnTo>
                  <a:lnTo>
                    <a:pt x="254" y="3190"/>
                  </a:lnTo>
                  <a:lnTo>
                    <a:pt x="252" y="3184"/>
                  </a:lnTo>
                  <a:lnTo>
                    <a:pt x="250" y="3180"/>
                  </a:lnTo>
                  <a:lnTo>
                    <a:pt x="252" y="3178"/>
                  </a:lnTo>
                  <a:lnTo>
                    <a:pt x="254" y="3178"/>
                  </a:lnTo>
                  <a:lnTo>
                    <a:pt x="258" y="3182"/>
                  </a:lnTo>
                  <a:lnTo>
                    <a:pt x="262" y="3184"/>
                  </a:lnTo>
                  <a:lnTo>
                    <a:pt x="262" y="3186"/>
                  </a:lnTo>
                  <a:lnTo>
                    <a:pt x="260" y="3186"/>
                  </a:lnTo>
                  <a:lnTo>
                    <a:pt x="258" y="3190"/>
                  </a:lnTo>
                  <a:lnTo>
                    <a:pt x="258" y="3192"/>
                  </a:lnTo>
                  <a:lnTo>
                    <a:pt x="258" y="3194"/>
                  </a:lnTo>
                  <a:lnTo>
                    <a:pt x="258" y="3198"/>
                  </a:lnTo>
                  <a:lnTo>
                    <a:pt x="258" y="3202"/>
                  </a:lnTo>
                  <a:lnTo>
                    <a:pt x="258" y="3206"/>
                  </a:lnTo>
                  <a:lnTo>
                    <a:pt x="260" y="3208"/>
                  </a:lnTo>
                  <a:lnTo>
                    <a:pt x="266" y="3208"/>
                  </a:lnTo>
                  <a:lnTo>
                    <a:pt x="270" y="3208"/>
                  </a:lnTo>
                  <a:lnTo>
                    <a:pt x="272" y="3206"/>
                  </a:lnTo>
                  <a:lnTo>
                    <a:pt x="274" y="3200"/>
                  </a:lnTo>
                  <a:lnTo>
                    <a:pt x="274" y="3194"/>
                  </a:lnTo>
                  <a:lnTo>
                    <a:pt x="276" y="3192"/>
                  </a:lnTo>
                  <a:lnTo>
                    <a:pt x="276" y="3190"/>
                  </a:lnTo>
                  <a:lnTo>
                    <a:pt x="276" y="3188"/>
                  </a:lnTo>
                  <a:lnTo>
                    <a:pt x="276" y="3186"/>
                  </a:lnTo>
                  <a:lnTo>
                    <a:pt x="272" y="318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1" name="Freeform 6151">
              <a:extLst>
                <a:ext uri="{FF2B5EF4-FFF2-40B4-BE49-F238E27FC236}">
                  <a16:creationId xmlns:a16="http://schemas.microsoft.com/office/drawing/2014/main" id="{381EDDF4-C7FF-41A4-B9F4-DE9B5B67BF5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6266439" y="4430998"/>
              <a:ext cx="1201064" cy="968402"/>
            </a:xfrm>
            <a:custGeom>
              <a:avLst/>
              <a:gdLst>
                <a:gd name="T0" fmla="*/ 441960 w 2690"/>
                <a:gd name="T1" fmla="*/ 349032 h 2404"/>
                <a:gd name="T2" fmla="*/ 1037590 w 2690"/>
                <a:gd name="T3" fmla="*/ 357917 h 2404"/>
                <a:gd name="T4" fmla="*/ 979170 w 2690"/>
                <a:gd name="T5" fmla="*/ 750102 h 2404"/>
                <a:gd name="T6" fmla="*/ 911860 w 2690"/>
                <a:gd name="T7" fmla="*/ 630796 h 2404"/>
                <a:gd name="T8" fmla="*/ 789940 w 2690"/>
                <a:gd name="T9" fmla="*/ 445492 h 2404"/>
                <a:gd name="T10" fmla="*/ 726440 w 2690"/>
                <a:gd name="T11" fmla="*/ 403608 h 2404"/>
                <a:gd name="T12" fmla="*/ 579120 w 2690"/>
                <a:gd name="T13" fmla="*/ 472145 h 2404"/>
                <a:gd name="T14" fmla="*/ 584200 w 2690"/>
                <a:gd name="T15" fmla="*/ 383301 h 2404"/>
                <a:gd name="T16" fmla="*/ 478790 w 2690"/>
                <a:gd name="T17" fmla="*/ 352840 h 2404"/>
                <a:gd name="T18" fmla="*/ 388620 w 2690"/>
                <a:gd name="T19" fmla="*/ 458184 h 2404"/>
                <a:gd name="T20" fmla="*/ 262890 w 2690"/>
                <a:gd name="T21" fmla="*/ 533067 h 2404"/>
                <a:gd name="T22" fmla="*/ 69850 w 2690"/>
                <a:gd name="T23" fmla="*/ 656181 h 2404"/>
                <a:gd name="T24" fmla="*/ 5080 w 2690"/>
                <a:gd name="T25" fmla="*/ 802139 h 2404"/>
                <a:gd name="T26" fmla="*/ 60960 w 2690"/>
                <a:gd name="T27" fmla="*/ 1055981 h 2404"/>
                <a:gd name="T28" fmla="*/ 218440 w 2690"/>
                <a:gd name="T29" fmla="*/ 1077558 h 2404"/>
                <a:gd name="T30" fmla="*/ 490220 w 2690"/>
                <a:gd name="T31" fmla="*/ 1012828 h 2404"/>
                <a:gd name="T32" fmla="*/ 628650 w 2690"/>
                <a:gd name="T33" fmla="*/ 1040751 h 2404"/>
                <a:gd name="T34" fmla="*/ 647700 w 2690"/>
                <a:gd name="T35" fmla="*/ 1137210 h 2404"/>
                <a:gd name="T36" fmla="*/ 810260 w 2690"/>
                <a:gd name="T37" fmla="*/ 1215901 h 2404"/>
                <a:gd name="T38" fmla="*/ 938530 w 2690"/>
                <a:gd name="T39" fmla="*/ 1189248 h 2404"/>
                <a:gd name="T40" fmla="*/ 1033780 w 2690"/>
                <a:gd name="T41" fmla="*/ 896061 h 2404"/>
                <a:gd name="T42" fmla="*/ 1059180 w 2690"/>
                <a:gd name="T43" fmla="*/ 154843 h 2404"/>
                <a:gd name="T44" fmla="*/ 788670 w 2690"/>
                <a:gd name="T45" fmla="*/ 1289515 h 2404"/>
                <a:gd name="T46" fmla="*/ 810260 w 2690"/>
                <a:gd name="T47" fmla="*/ 1344091 h 2404"/>
                <a:gd name="T48" fmla="*/ 881380 w 2690"/>
                <a:gd name="T49" fmla="*/ 1394860 h 2404"/>
                <a:gd name="T50" fmla="*/ 623570 w 2690"/>
                <a:gd name="T51" fmla="*/ 1148633 h 2404"/>
                <a:gd name="T52" fmla="*/ 1405890 w 2690"/>
                <a:gd name="T53" fmla="*/ 516568 h 2404"/>
                <a:gd name="T54" fmla="*/ 1370330 w 2690"/>
                <a:gd name="T55" fmla="*/ 696795 h 2404"/>
                <a:gd name="T56" fmla="*/ 1367790 w 2690"/>
                <a:gd name="T57" fmla="*/ 455646 h 2404"/>
                <a:gd name="T58" fmla="*/ 1125220 w 2690"/>
                <a:gd name="T59" fmla="*/ 244957 h 2404"/>
                <a:gd name="T60" fmla="*/ 1106170 w 2690"/>
                <a:gd name="T61" fmla="*/ 201804 h 2404"/>
                <a:gd name="T62" fmla="*/ 1162050 w 2690"/>
                <a:gd name="T63" fmla="*/ 242419 h 2404"/>
                <a:gd name="T64" fmla="*/ 1210310 w 2690"/>
                <a:gd name="T65" fmla="*/ 365532 h 2404"/>
                <a:gd name="T66" fmla="*/ 1394460 w 2690"/>
                <a:gd name="T67" fmla="*/ 512760 h 2404"/>
                <a:gd name="T68" fmla="*/ 1545590 w 2690"/>
                <a:gd name="T69" fmla="*/ 1325053 h 2404"/>
                <a:gd name="T70" fmla="*/ 1426210 w 2690"/>
                <a:gd name="T71" fmla="*/ 1426590 h 2404"/>
                <a:gd name="T72" fmla="*/ 1432560 w 2690"/>
                <a:gd name="T73" fmla="*/ 1525588 h 2404"/>
                <a:gd name="T74" fmla="*/ 1534160 w 2690"/>
                <a:gd name="T75" fmla="*/ 1393590 h 2404"/>
                <a:gd name="T76" fmla="*/ 1692910 w 2690"/>
                <a:gd name="T77" fmla="*/ 521644 h 2404"/>
                <a:gd name="T78" fmla="*/ 1576070 w 2690"/>
                <a:gd name="T79" fmla="*/ 1165133 h 2404"/>
                <a:gd name="T80" fmla="*/ 1564640 w 2690"/>
                <a:gd name="T81" fmla="*/ 1161325 h 2404"/>
                <a:gd name="T82" fmla="*/ 1588770 w 2690"/>
                <a:gd name="T83" fmla="*/ 1345360 h 2404"/>
                <a:gd name="T84" fmla="*/ 1651000 w 2690"/>
                <a:gd name="T85" fmla="*/ 1208286 h 2404"/>
                <a:gd name="T86" fmla="*/ 1428750 w 2690"/>
                <a:gd name="T87" fmla="*/ 587643 h 2404"/>
                <a:gd name="T88" fmla="*/ 966470 w 2690"/>
                <a:gd name="T89" fmla="*/ 312225 h 2404"/>
                <a:gd name="T90" fmla="*/ 867410 w 2690"/>
                <a:gd name="T91" fmla="*/ 159920 h 2404"/>
                <a:gd name="T92" fmla="*/ 584200 w 2690"/>
                <a:gd name="T93" fmla="*/ 49499 h 2404"/>
                <a:gd name="T94" fmla="*/ 539750 w 2690"/>
                <a:gd name="T95" fmla="*/ 182766 h 2404"/>
                <a:gd name="T96" fmla="*/ 631190 w 2690"/>
                <a:gd name="T97" fmla="*/ 243688 h 2404"/>
                <a:gd name="T98" fmla="*/ 673100 w 2690"/>
                <a:gd name="T99" fmla="*/ 510222 h 2404"/>
                <a:gd name="T100" fmla="*/ 769620 w 2690"/>
                <a:gd name="T101" fmla="*/ 279226 h 2404"/>
                <a:gd name="T102" fmla="*/ 889000 w 2690"/>
                <a:gd name="T103" fmla="*/ 312225 h 2404"/>
                <a:gd name="T104" fmla="*/ 885190 w 2690"/>
                <a:gd name="T105" fmla="*/ 244957 h 2404"/>
                <a:gd name="T106" fmla="*/ 774700 w 2690"/>
                <a:gd name="T107" fmla="*/ 107883 h 2404"/>
                <a:gd name="T108" fmla="*/ 922020 w 2690"/>
                <a:gd name="T109" fmla="*/ 187843 h 2404"/>
                <a:gd name="T110" fmla="*/ 971550 w 2690"/>
                <a:gd name="T111" fmla="*/ 153574 h 2404"/>
                <a:gd name="T112" fmla="*/ 1008380 w 2690"/>
                <a:gd name="T113" fmla="*/ 128190 h 2404"/>
                <a:gd name="T114" fmla="*/ 952500 w 2690"/>
                <a:gd name="T115" fmla="*/ 81229 h 2404"/>
                <a:gd name="T116" fmla="*/ 487680 w 2690"/>
                <a:gd name="T117" fmla="*/ 92652 h 2404"/>
                <a:gd name="T118" fmla="*/ 637540 w 2690"/>
                <a:gd name="T119" fmla="*/ 180228 h 2404"/>
                <a:gd name="T120" fmla="*/ 613410 w 2690"/>
                <a:gd name="T121" fmla="*/ 60922 h 2404"/>
                <a:gd name="T122" fmla="*/ 499110 w 2690"/>
                <a:gd name="T123" fmla="*/ 11423 h 2404"/>
                <a:gd name="T124" fmla="*/ 1026160 w 2690"/>
                <a:gd name="T125" fmla="*/ 776755 h 2404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690"/>
                <a:gd name="T190" fmla="*/ 0 h 2404"/>
                <a:gd name="T191" fmla="*/ 2690 w 2690"/>
                <a:gd name="T192" fmla="*/ 2404 h 2404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690" h="2404">
                  <a:moveTo>
                    <a:pt x="692" y="12"/>
                  </a:moveTo>
                  <a:lnTo>
                    <a:pt x="692" y="12"/>
                  </a:lnTo>
                  <a:lnTo>
                    <a:pt x="698" y="14"/>
                  </a:lnTo>
                  <a:lnTo>
                    <a:pt x="702" y="18"/>
                  </a:lnTo>
                  <a:lnTo>
                    <a:pt x="708" y="20"/>
                  </a:lnTo>
                  <a:lnTo>
                    <a:pt x="714" y="20"/>
                  </a:lnTo>
                  <a:lnTo>
                    <a:pt x="716" y="20"/>
                  </a:lnTo>
                  <a:lnTo>
                    <a:pt x="714" y="18"/>
                  </a:lnTo>
                  <a:lnTo>
                    <a:pt x="712" y="16"/>
                  </a:lnTo>
                  <a:lnTo>
                    <a:pt x="710" y="12"/>
                  </a:lnTo>
                  <a:lnTo>
                    <a:pt x="708" y="12"/>
                  </a:lnTo>
                  <a:lnTo>
                    <a:pt x="710" y="12"/>
                  </a:lnTo>
                  <a:lnTo>
                    <a:pt x="714" y="12"/>
                  </a:lnTo>
                  <a:lnTo>
                    <a:pt x="718" y="16"/>
                  </a:lnTo>
                  <a:lnTo>
                    <a:pt x="722" y="18"/>
                  </a:lnTo>
                  <a:lnTo>
                    <a:pt x="728" y="18"/>
                  </a:lnTo>
                  <a:lnTo>
                    <a:pt x="730" y="16"/>
                  </a:lnTo>
                  <a:lnTo>
                    <a:pt x="730" y="12"/>
                  </a:lnTo>
                  <a:lnTo>
                    <a:pt x="724" y="6"/>
                  </a:lnTo>
                  <a:lnTo>
                    <a:pt x="714" y="2"/>
                  </a:lnTo>
                  <a:lnTo>
                    <a:pt x="708" y="0"/>
                  </a:lnTo>
                  <a:lnTo>
                    <a:pt x="702" y="2"/>
                  </a:lnTo>
                  <a:lnTo>
                    <a:pt x="694" y="4"/>
                  </a:lnTo>
                  <a:lnTo>
                    <a:pt x="688" y="8"/>
                  </a:lnTo>
                  <a:lnTo>
                    <a:pt x="688" y="10"/>
                  </a:lnTo>
                  <a:lnTo>
                    <a:pt x="692" y="12"/>
                  </a:lnTo>
                  <a:close/>
                  <a:moveTo>
                    <a:pt x="742" y="352"/>
                  </a:moveTo>
                  <a:lnTo>
                    <a:pt x="742" y="352"/>
                  </a:lnTo>
                  <a:lnTo>
                    <a:pt x="740" y="350"/>
                  </a:lnTo>
                  <a:lnTo>
                    <a:pt x="736" y="352"/>
                  </a:lnTo>
                  <a:lnTo>
                    <a:pt x="732" y="358"/>
                  </a:lnTo>
                  <a:lnTo>
                    <a:pt x="728" y="366"/>
                  </a:lnTo>
                  <a:lnTo>
                    <a:pt x="724" y="382"/>
                  </a:lnTo>
                  <a:lnTo>
                    <a:pt x="724" y="386"/>
                  </a:lnTo>
                  <a:lnTo>
                    <a:pt x="724" y="388"/>
                  </a:lnTo>
                  <a:lnTo>
                    <a:pt x="726" y="388"/>
                  </a:lnTo>
                  <a:lnTo>
                    <a:pt x="736" y="382"/>
                  </a:lnTo>
                  <a:lnTo>
                    <a:pt x="742" y="374"/>
                  </a:lnTo>
                  <a:lnTo>
                    <a:pt x="744" y="364"/>
                  </a:lnTo>
                  <a:lnTo>
                    <a:pt x="742" y="352"/>
                  </a:lnTo>
                  <a:close/>
                  <a:moveTo>
                    <a:pt x="696" y="550"/>
                  </a:moveTo>
                  <a:lnTo>
                    <a:pt x="696" y="550"/>
                  </a:lnTo>
                  <a:lnTo>
                    <a:pt x="692" y="548"/>
                  </a:lnTo>
                  <a:lnTo>
                    <a:pt x="690" y="548"/>
                  </a:lnTo>
                  <a:lnTo>
                    <a:pt x="690" y="552"/>
                  </a:lnTo>
                  <a:lnTo>
                    <a:pt x="692" y="556"/>
                  </a:lnTo>
                  <a:lnTo>
                    <a:pt x="700" y="566"/>
                  </a:lnTo>
                  <a:lnTo>
                    <a:pt x="710" y="578"/>
                  </a:lnTo>
                  <a:lnTo>
                    <a:pt x="714" y="580"/>
                  </a:lnTo>
                  <a:lnTo>
                    <a:pt x="718" y="578"/>
                  </a:lnTo>
                  <a:lnTo>
                    <a:pt x="724" y="576"/>
                  </a:lnTo>
                  <a:lnTo>
                    <a:pt x="728" y="574"/>
                  </a:lnTo>
                  <a:lnTo>
                    <a:pt x="734" y="568"/>
                  </a:lnTo>
                  <a:lnTo>
                    <a:pt x="736" y="564"/>
                  </a:lnTo>
                  <a:lnTo>
                    <a:pt x="738" y="558"/>
                  </a:lnTo>
                  <a:lnTo>
                    <a:pt x="736" y="552"/>
                  </a:lnTo>
                  <a:lnTo>
                    <a:pt x="730" y="546"/>
                  </a:lnTo>
                  <a:lnTo>
                    <a:pt x="728" y="544"/>
                  </a:lnTo>
                  <a:lnTo>
                    <a:pt x="724" y="546"/>
                  </a:lnTo>
                  <a:lnTo>
                    <a:pt x="722" y="548"/>
                  </a:lnTo>
                  <a:lnTo>
                    <a:pt x="718" y="552"/>
                  </a:lnTo>
                  <a:lnTo>
                    <a:pt x="712" y="554"/>
                  </a:lnTo>
                  <a:lnTo>
                    <a:pt x="706" y="554"/>
                  </a:lnTo>
                  <a:lnTo>
                    <a:pt x="696" y="550"/>
                  </a:lnTo>
                  <a:close/>
                  <a:moveTo>
                    <a:pt x="936" y="688"/>
                  </a:moveTo>
                  <a:lnTo>
                    <a:pt x="936" y="688"/>
                  </a:lnTo>
                  <a:lnTo>
                    <a:pt x="938" y="696"/>
                  </a:lnTo>
                  <a:lnTo>
                    <a:pt x="940" y="696"/>
                  </a:lnTo>
                  <a:lnTo>
                    <a:pt x="942" y="696"/>
                  </a:lnTo>
                  <a:lnTo>
                    <a:pt x="946" y="692"/>
                  </a:lnTo>
                  <a:lnTo>
                    <a:pt x="950" y="684"/>
                  </a:lnTo>
                  <a:lnTo>
                    <a:pt x="950" y="680"/>
                  </a:lnTo>
                  <a:lnTo>
                    <a:pt x="950" y="678"/>
                  </a:lnTo>
                  <a:lnTo>
                    <a:pt x="946" y="676"/>
                  </a:lnTo>
                  <a:lnTo>
                    <a:pt x="942" y="676"/>
                  </a:lnTo>
                  <a:lnTo>
                    <a:pt x="940" y="676"/>
                  </a:lnTo>
                  <a:lnTo>
                    <a:pt x="936" y="680"/>
                  </a:lnTo>
                  <a:lnTo>
                    <a:pt x="934" y="684"/>
                  </a:lnTo>
                  <a:lnTo>
                    <a:pt x="936" y="688"/>
                  </a:lnTo>
                  <a:close/>
                  <a:moveTo>
                    <a:pt x="1610" y="556"/>
                  </a:moveTo>
                  <a:lnTo>
                    <a:pt x="1610" y="556"/>
                  </a:lnTo>
                  <a:lnTo>
                    <a:pt x="1616" y="560"/>
                  </a:lnTo>
                  <a:lnTo>
                    <a:pt x="1624" y="562"/>
                  </a:lnTo>
                  <a:lnTo>
                    <a:pt x="1632" y="564"/>
                  </a:lnTo>
                  <a:lnTo>
                    <a:pt x="1634" y="564"/>
                  </a:lnTo>
                  <a:lnTo>
                    <a:pt x="1634" y="562"/>
                  </a:lnTo>
                  <a:lnTo>
                    <a:pt x="1628" y="558"/>
                  </a:lnTo>
                  <a:lnTo>
                    <a:pt x="1618" y="552"/>
                  </a:lnTo>
                  <a:lnTo>
                    <a:pt x="1610" y="550"/>
                  </a:lnTo>
                  <a:lnTo>
                    <a:pt x="1610" y="552"/>
                  </a:lnTo>
                  <a:lnTo>
                    <a:pt x="1610" y="556"/>
                  </a:lnTo>
                  <a:close/>
                  <a:moveTo>
                    <a:pt x="1402" y="2052"/>
                  </a:moveTo>
                  <a:lnTo>
                    <a:pt x="1402" y="2052"/>
                  </a:lnTo>
                  <a:lnTo>
                    <a:pt x="1404" y="2054"/>
                  </a:lnTo>
                  <a:lnTo>
                    <a:pt x="1410" y="2056"/>
                  </a:lnTo>
                  <a:lnTo>
                    <a:pt x="1416" y="2056"/>
                  </a:lnTo>
                  <a:lnTo>
                    <a:pt x="1420" y="2054"/>
                  </a:lnTo>
                  <a:lnTo>
                    <a:pt x="1420" y="2052"/>
                  </a:lnTo>
                  <a:lnTo>
                    <a:pt x="1418" y="2048"/>
                  </a:lnTo>
                  <a:lnTo>
                    <a:pt x="1412" y="2048"/>
                  </a:lnTo>
                  <a:lnTo>
                    <a:pt x="1404" y="2048"/>
                  </a:lnTo>
                  <a:lnTo>
                    <a:pt x="1402" y="2050"/>
                  </a:lnTo>
                  <a:lnTo>
                    <a:pt x="1402" y="2052"/>
                  </a:lnTo>
                  <a:close/>
                  <a:moveTo>
                    <a:pt x="1610" y="1344"/>
                  </a:moveTo>
                  <a:lnTo>
                    <a:pt x="1610" y="1344"/>
                  </a:lnTo>
                  <a:lnTo>
                    <a:pt x="1612" y="1338"/>
                  </a:lnTo>
                  <a:lnTo>
                    <a:pt x="1614" y="1334"/>
                  </a:lnTo>
                  <a:lnTo>
                    <a:pt x="1612" y="1324"/>
                  </a:lnTo>
                  <a:lnTo>
                    <a:pt x="1610" y="1312"/>
                  </a:lnTo>
                  <a:lnTo>
                    <a:pt x="1608" y="1304"/>
                  </a:lnTo>
                  <a:lnTo>
                    <a:pt x="1610" y="1294"/>
                  </a:lnTo>
                  <a:lnTo>
                    <a:pt x="1610" y="1280"/>
                  </a:lnTo>
                  <a:lnTo>
                    <a:pt x="1608" y="1276"/>
                  </a:lnTo>
                  <a:lnTo>
                    <a:pt x="1606" y="1276"/>
                  </a:lnTo>
                  <a:lnTo>
                    <a:pt x="1604" y="1274"/>
                  </a:lnTo>
                  <a:lnTo>
                    <a:pt x="1600" y="1270"/>
                  </a:lnTo>
                  <a:lnTo>
                    <a:pt x="1598" y="1266"/>
                  </a:lnTo>
                  <a:lnTo>
                    <a:pt x="1596" y="1256"/>
                  </a:lnTo>
                  <a:lnTo>
                    <a:pt x="1594" y="1246"/>
                  </a:lnTo>
                  <a:lnTo>
                    <a:pt x="1590" y="1238"/>
                  </a:lnTo>
                  <a:lnTo>
                    <a:pt x="1582" y="1226"/>
                  </a:lnTo>
                  <a:lnTo>
                    <a:pt x="1570" y="1214"/>
                  </a:lnTo>
                  <a:lnTo>
                    <a:pt x="1560" y="1198"/>
                  </a:lnTo>
                  <a:lnTo>
                    <a:pt x="1550" y="1184"/>
                  </a:lnTo>
                  <a:lnTo>
                    <a:pt x="1548" y="1182"/>
                  </a:lnTo>
                  <a:lnTo>
                    <a:pt x="1546" y="1182"/>
                  </a:lnTo>
                  <a:lnTo>
                    <a:pt x="1542" y="1182"/>
                  </a:lnTo>
                  <a:lnTo>
                    <a:pt x="1538" y="1180"/>
                  </a:lnTo>
                  <a:lnTo>
                    <a:pt x="1534" y="1176"/>
                  </a:lnTo>
                  <a:lnTo>
                    <a:pt x="1526" y="1166"/>
                  </a:lnTo>
                  <a:lnTo>
                    <a:pt x="1518" y="1156"/>
                  </a:lnTo>
                  <a:lnTo>
                    <a:pt x="1514" y="1146"/>
                  </a:lnTo>
                  <a:lnTo>
                    <a:pt x="1514" y="1136"/>
                  </a:lnTo>
                  <a:lnTo>
                    <a:pt x="1514" y="1126"/>
                  </a:lnTo>
                  <a:lnTo>
                    <a:pt x="1514" y="1110"/>
                  </a:lnTo>
                  <a:lnTo>
                    <a:pt x="1514" y="1104"/>
                  </a:lnTo>
                  <a:lnTo>
                    <a:pt x="1510" y="1098"/>
                  </a:lnTo>
                  <a:lnTo>
                    <a:pt x="1508" y="1096"/>
                  </a:lnTo>
                  <a:lnTo>
                    <a:pt x="1506" y="1096"/>
                  </a:lnTo>
                  <a:lnTo>
                    <a:pt x="1502" y="1102"/>
                  </a:lnTo>
                  <a:lnTo>
                    <a:pt x="1502" y="1104"/>
                  </a:lnTo>
                  <a:lnTo>
                    <a:pt x="1498" y="1104"/>
                  </a:lnTo>
                  <a:lnTo>
                    <a:pt x="1494" y="1102"/>
                  </a:lnTo>
                  <a:lnTo>
                    <a:pt x="1490" y="1096"/>
                  </a:lnTo>
                  <a:lnTo>
                    <a:pt x="1484" y="1090"/>
                  </a:lnTo>
                  <a:lnTo>
                    <a:pt x="1480" y="1090"/>
                  </a:lnTo>
                  <a:lnTo>
                    <a:pt x="1480" y="1092"/>
                  </a:lnTo>
                  <a:lnTo>
                    <a:pt x="1480" y="1098"/>
                  </a:lnTo>
                  <a:lnTo>
                    <a:pt x="1478" y="1102"/>
                  </a:lnTo>
                  <a:lnTo>
                    <a:pt x="1478" y="1106"/>
                  </a:lnTo>
                  <a:lnTo>
                    <a:pt x="1474" y="1104"/>
                  </a:lnTo>
                  <a:lnTo>
                    <a:pt x="1470" y="1100"/>
                  </a:lnTo>
                  <a:lnTo>
                    <a:pt x="1464" y="1092"/>
                  </a:lnTo>
                  <a:lnTo>
                    <a:pt x="1462" y="1086"/>
                  </a:lnTo>
                  <a:lnTo>
                    <a:pt x="1462" y="1080"/>
                  </a:lnTo>
                  <a:lnTo>
                    <a:pt x="1462" y="1076"/>
                  </a:lnTo>
                  <a:lnTo>
                    <a:pt x="1464" y="1066"/>
                  </a:lnTo>
                  <a:lnTo>
                    <a:pt x="1462" y="1060"/>
                  </a:lnTo>
                  <a:lnTo>
                    <a:pt x="1462" y="1054"/>
                  </a:lnTo>
                  <a:lnTo>
                    <a:pt x="1458" y="1046"/>
                  </a:lnTo>
                  <a:lnTo>
                    <a:pt x="1452" y="1038"/>
                  </a:lnTo>
                  <a:lnTo>
                    <a:pt x="1440" y="1022"/>
                  </a:lnTo>
                  <a:lnTo>
                    <a:pt x="1430" y="1012"/>
                  </a:lnTo>
                  <a:lnTo>
                    <a:pt x="1428" y="1008"/>
                  </a:lnTo>
                  <a:lnTo>
                    <a:pt x="1432" y="1008"/>
                  </a:lnTo>
                  <a:lnTo>
                    <a:pt x="1436" y="1008"/>
                  </a:lnTo>
                  <a:lnTo>
                    <a:pt x="1438" y="1006"/>
                  </a:lnTo>
                  <a:lnTo>
                    <a:pt x="1440" y="1002"/>
                  </a:lnTo>
                  <a:lnTo>
                    <a:pt x="1438" y="998"/>
                  </a:lnTo>
                  <a:lnTo>
                    <a:pt x="1436" y="994"/>
                  </a:lnTo>
                  <a:lnTo>
                    <a:pt x="1430" y="988"/>
                  </a:lnTo>
                  <a:lnTo>
                    <a:pt x="1422" y="984"/>
                  </a:lnTo>
                  <a:lnTo>
                    <a:pt x="1410" y="978"/>
                  </a:lnTo>
                  <a:lnTo>
                    <a:pt x="1398" y="974"/>
                  </a:lnTo>
                  <a:lnTo>
                    <a:pt x="1392" y="968"/>
                  </a:lnTo>
                  <a:lnTo>
                    <a:pt x="1388" y="964"/>
                  </a:lnTo>
                  <a:lnTo>
                    <a:pt x="1386" y="960"/>
                  </a:lnTo>
                  <a:lnTo>
                    <a:pt x="1384" y="956"/>
                  </a:lnTo>
                  <a:lnTo>
                    <a:pt x="1380" y="952"/>
                  </a:lnTo>
                  <a:lnTo>
                    <a:pt x="1374" y="950"/>
                  </a:lnTo>
                  <a:lnTo>
                    <a:pt x="1364" y="946"/>
                  </a:lnTo>
                  <a:lnTo>
                    <a:pt x="1354" y="942"/>
                  </a:lnTo>
                  <a:lnTo>
                    <a:pt x="1346" y="938"/>
                  </a:lnTo>
                  <a:lnTo>
                    <a:pt x="1340" y="934"/>
                  </a:lnTo>
                  <a:lnTo>
                    <a:pt x="1338" y="928"/>
                  </a:lnTo>
                  <a:lnTo>
                    <a:pt x="1334" y="916"/>
                  </a:lnTo>
                  <a:lnTo>
                    <a:pt x="1332" y="908"/>
                  </a:lnTo>
                  <a:lnTo>
                    <a:pt x="1328" y="902"/>
                  </a:lnTo>
                  <a:lnTo>
                    <a:pt x="1324" y="896"/>
                  </a:lnTo>
                  <a:lnTo>
                    <a:pt x="1324" y="886"/>
                  </a:lnTo>
                  <a:lnTo>
                    <a:pt x="1322" y="864"/>
                  </a:lnTo>
                  <a:lnTo>
                    <a:pt x="1322" y="852"/>
                  </a:lnTo>
                  <a:lnTo>
                    <a:pt x="1320" y="840"/>
                  </a:lnTo>
                  <a:lnTo>
                    <a:pt x="1316" y="828"/>
                  </a:lnTo>
                  <a:lnTo>
                    <a:pt x="1308" y="818"/>
                  </a:lnTo>
                  <a:lnTo>
                    <a:pt x="1304" y="812"/>
                  </a:lnTo>
                  <a:lnTo>
                    <a:pt x="1302" y="806"/>
                  </a:lnTo>
                  <a:lnTo>
                    <a:pt x="1298" y="794"/>
                  </a:lnTo>
                  <a:lnTo>
                    <a:pt x="1296" y="780"/>
                  </a:lnTo>
                  <a:lnTo>
                    <a:pt x="1296" y="764"/>
                  </a:lnTo>
                  <a:lnTo>
                    <a:pt x="1296" y="750"/>
                  </a:lnTo>
                  <a:lnTo>
                    <a:pt x="1294" y="736"/>
                  </a:lnTo>
                  <a:lnTo>
                    <a:pt x="1290" y="726"/>
                  </a:lnTo>
                  <a:lnTo>
                    <a:pt x="1286" y="722"/>
                  </a:lnTo>
                  <a:lnTo>
                    <a:pt x="1282" y="718"/>
                  </a:lnTo>
                  <a:lnTo>
                    <a:pt x="1274" y="712"/>
                  </a:lnTo>
                  <a:lnTo>
                    <a:pt x="1268" y="704"/>
                  </a:lnTo>
                  <a:lnTo>
                    <a:pt x="1262" y="692"/>
                  </a:lnTo>
                  <a:lnTo>
                    <a:pt x="1258" y="690"/>
                  </a:lnTo>
                  <a:lnTo>
                    <a:pt x="1256" y="688"/>
                  </a:lnTo>
                  <a:lnTo>
                    <a:pt x="1254" y="690"/>
                  </a:lnTo>
                  <a:lnTo>
                    <a:pt x="1250" y="698"/>
                  </a:lnTo>
                  <a:lnTo>
                    <a:pt x="1244" y="702"/>
                  </a:lnTo>
                  <a:lnTo>
                    <a:pt x="1240" y="704"/>
                  </a:lnTo>
                  <a:lnTo>
                    <a:pt x="1236" y="702"/>
                  </a:lnTo>
                  <a:lnTo>
                    <a:pt x="1232" y="696"/>
                  </a:lnTo>
                  <a:lnTo>
                    <a:pt x="1228" y="690"/>
                  </a:lnTo>
                  <a:lnTo>
                    <a:pt x="1226" y="682"/>
                  </a:lnTo>
                  <a:lnTo>
                    <a:pt x="1224" y="664"/>
                  </a:lnTo>
                  <a:lnTo>
                    <a:pt x="1224" y="650"/>
                  </a:lnTo>
                  <a:lnTo>
                    <a:pt x="1224" y="634"/>
                  </a:lnTo>
                  <a:lnTo>
                    <a:pt x="1220" y="620"/>
                  </a:lnTo>
                  <a:lnTo>
                    <a:pt x="1216" y="614"/>
                  </a:lnTo>
                  <a:lnTo>
                    <a:pt x="1212" y="606"/>
                  </a:lnTo>
                  <a:lnTo>
                    <a:pt x="1208" y="600"/>
                  </a:lnTo>
                  <a:lnTo>
                    <a:pt x="1206" y="596"/>
                  </a:lnTo>
                  <a:lnTo>
                    <a:pt x="1206" y="588"/>
                  </a:lnTo>
                  <a:lnTo>
                    <a:pt x="1208" y="584"/>
                  </a:lnTo>
                  <a:lnTo>
                    <a:pt x="1206" y="582"/>
                  </a:lnTo>
                  <a:lnTo>
                    <a:pt x="1204" y="578"/>
                  </a:lnTo>
                  <a:lnTo>
                    <a:pt x="1200" y="576"/>
                  </a:lnTo>
                  <a:lnTo>
                    <a:pt x="1196" y="572"/>
                  </a:lnTo>
                  <a:lnTo>
                    <a:pt x="1194" y="562"/>
                  </a:lnTo>
                  <a:lnTo>
                    <a:pt x="1192" y="548"/>
                  </a:lnTo>
                  <a:lnTo>
                    <a:pt x="1190" y="534"/>
                  </a:lnTo>
                  <a:lnTo>
                    <a:pt x="1188" y="526"/>
                  </a:lnTo>
                  <a:lnTo>
                    <a:pt x="1184" y="522"/>
                  </a:lnTo>
                  <a:lnTo>
                    <a:pt x="1180" y="520"/>
                  </a:lnTo>
                  <a:lnTo>
                    <a:pt x="1176" y="520"/>
                  </a:lnTo>
                  <a:lnTo>
                    <a:pt x="1172" y="522"/>
                  </a:lnTo>
                  <a:lnTo>
                    <a:pt x="1170" y="526"/>
                  </a:lnTo>
                  <a:lnTo>
                    <a:pt x="1166" y="532"/>
                  </a:lnTo>
                  <a:lnTo>
                    <a:pt x="1166" y="538"/>
                  </a:lnTo>
                  <a:lnTo>
                    <a:pt x="1164" y="552"/>
                  </a:lnTo>
                  <a:lnTo>
                    <a:pt x="1162" y="564"/>
                  </a:lnTo>
                  <a:lnTo>
                    <a:pt x="1150" y="594"/>
                  </a:lnTo>
                  <a:lnTo>
                    <a:pt x="1146" y="602"/>
                  </a:lnTo>
                  <a:lnTo>
                    <a:pt x="1146" y="608"/>
                  </a:lnTo>
                  <a:lnTo>
                    <a:pt x="1146" y="612"/>
                  </a:lnTo>
                  <a:lnTo>
                    <a:pt x="1150" y="614"/>
                  </a:lnTo>
                  <a:lnTo>
                    <a:pt x="1152" y="616"/>
                  </a:lnTo>
                  <a:lnTo>
                    <a:pt x="1152" y="618"/>
                  </a:lnTo>
                  <a:lnTo>
                    <a:pt x="1150" y="622"/>
                  </a:lnTo>
                  <a:lnTo>
                    <a:pt x="1144" y="630"/>
                  </a:lnTo>
                  <a:lnTo>
                    <a:pt x="1144" y="636"/>
                  </a:lnTo>
                  <a:lnTo>
                    <a:pt x="1144" y="646"/>
                  </a:lnTo>
                  <a:lnTo>
                    <a:pt x="1138" y="658"/>
                  </a:lnTo>
                  <a:lnTo>
                    <a:pt x="1136" y="668"/>
                  </a:lnTo>
                  <a:lnTo>
                    <a:pt x="1136" y="676"/>
                  </a:lnTo>
                  <a:lnTo>
                    <a:pt x="1140" y="700"/>
                  </a:lnTo>
                  <a:lnTo>
                    <a:pt x="1144" y="724"/>
                  </a:lnTo>
                  <a:lnTo>
                    <a:pt x="1144" y="736"/>
                  </a:lnTo>
                  <a:lnTo>
                    <a:pt x="1142" y="748"/>
                  </a:lnTo>
                  <a:lnTo>
                    <a:pt x="1136" y="768"/>
                  </a:lnTo>
                  <a:lnTo>
                    <a:pt x="1136" y="780"/>
                  </a:lnTo>
                  <a:lnTo>
                    <a:pt x="1136" y="792"/>
                  </a:lnTo>
                  <a:lnTo>
                    <a:pt x="1130" y="806"/>
                  </a:lnTo>
                  <a:lnTo>
                    <a:pt x="1124" y="816"/>
                  </a:lnTo>
                  <a:lnTo>
                    <a:pt x="1120" y="826"/>
                  </a:lnTo>
                  <a:lnTo>
                    <a:pt x="1116" y="840"/>
                  </a:lnTo>
                  <a:lnTo>
                    <a:pt x="1114" y="850"/>
                  </a:lnTo>
                  <a:lnTo>
                    <a:pt x="1110" y="856"/>
                  </a:lnTo>
                  <a:lnTo>
                    <a:pt x="1102" y="862"/>
                  </a:lnTo>
                  <a:lnTo>
                    <a:pt x="1096" y="866"/>
                  </a:lnTo>
                  <a:lnTo>
                    <a:pt x="1088" y="866"/>
                  </a:lnTo>
                  <a:lnTo>
                    <a:pt x="1078" y="864"/>
                  </a:lnTo>
                  <a:lnTo>
                    <a:pt x="1068" y="860"/>
                  </a:lnTo>
                  <a:lnTo>
                    <a:pt x="1060" y="854"/>
                  </a:lnTo>
                  <a:lnTo>
                    <a:pt x="1052" y="848"/>
                  </a:lnTo>
                  <a:lnTo>
                    <a:pt x="1046" y="842"/>
                  </a:lnTo>
                  <a:lnTo>
                    <a:pt x="1044" y="836"/>
                  </a:lnTo>
                  <a:lnTo>
                    <a:pt x="1040" y="830"/>
                  </a:lnTo>
                  <a:lnTo>
                    <a:pt x="1036" y="826"/>
                  </a:lnTo>
                  <a:lnTo>
                    <a:pt x="1028" y="824"/>
                  </a:lnTo>
                  <a:lnTo>
                    <a:pt x="1022" y="822"/>
                  </a:lnTo>
                  <a:lnTo>
                    <a:pt x="1014" y="818"/>
                  </a:lnTo>
                  <a:lnTo>
                    <a:pt x="1004" y="812"/>
                  </a:lnTo>
                  <a:lnTo>
                    <a:pt x="990" y="800"/>
                  </a:lnTo>
                  <a:lnTo>
                    <a:pt x="978" y="788"/>
                  </a:lnTo>
                  <a:lnTo>
                    <a:pt x="968" y="782"/>
                  </a:lnTo>
                  <a:lnTo>
                    <a:pt x="962" y="780"/>
                  </a:lnTo>
                  <a:lnTo>
                    <a:pt x="956" y="778"/>
                  </a:lnTo>
                  <a:lnTo>
                    <a:pt x="948" y="776"/>
                  </a:lnTo>
                  <a:lnTo>
                    <a:pt x="942" y="772"/>
                  </a:lnTo>
                  <a:lnTo>
                    <a:pt x="934" y="764"/>
                  </a:lnTo>
                  <a:lnTo>
                    <a:pt x="922" y="752"/>
                  </a:lnTo>
                  <a:lnTo>
                    <a:pt x="912" y="744"/>
                  </a:lnTo>
                  <a:lnTo>
                    <a:pt x="898" y="732"/>
                  </a:lnTo>
                  <a:lnTo>
                    <a:pt x="896" y="728"/>
                  </a:lnTo>
                  <a:lnTo>
                    <a:pt x="896" y="722"/>
                  </a:lnTo>
                  <a:lnTo>
                    <a:pt x="900" y="712"/>
                  </a:lnTo>
                  <a:lnTo>
                    <a:pt x="908" y="700"/>
                  </a:lnTo>
                  <a:lnTo>
                    <a:pt x="916" y="684"/>
                  </a:lnTo>
                  <a:lnTo>
                    <a:pt x="920" y="674"/>
                  </a:lnTo>
                  <a:lnTo>
                    <a:pt x="920" y="670"/>
                  </a:lnTo>
                  <a:lnTo>
                    <a:pt x="918" y="670"/>
                  </a:lnTo>
                  <a:lnTo>
                    <a:pt x="916" y="668"/>
                  </a:lnTo>
                  <a:lnTo>
                    <a:pt x="914" y="666"/>
                  </a:lnTo>
                  <a:lnTo>
                    <a:pt x="914" y="662"/>
                  </a:lnTo>
                  <a:lnTo>
                    <a:pt x="918" y="652"/>
                  </a:lnTo>
                  <a:lnTo>
                    <a:pt x="924" y="644"/>
                  </a:lnTo>
                  <a:lnTo>
                    <a:pt x="928" y="640"/>
                  </a:lnTo>
                  <a:lnTo>
                    <a:pt x="930" y="642"/>
                  </a:lnTo>
                  <a:lnTo>
                    <a:pt x="934" y="646"/>
                  </a:lnTo>
                  <a:lnTo>
                    <a:pt x="936" y="648"/>
                  </a:lnTo>
                  <a:lnTo>
                    <a:pt x="936" y="650"/>
                  </a:lnTo>
                  <a:lnTo>
                    <a:pt x="938" y="646"/>
                  </a:lnTo>
                  <a:lnTo>
                    <a:pt x="940" y="638"/>
                  </a:lnTo>
                  <a:lnTo>
                    <a:pt x="942" y="626"/>
                  </a:lnTo>
                  <a:lnTo>
                    <a:pt x="946" y="618"/>
                  </a:lnTo>
                  <a:lnTo>
                    <a:pt x="950" y="612"/>
                  </a:lnTo>
                  <a:lnTo>
                    <a:pt x="956" y="606"/>
                  </a:lnTo>
                  <a:lnTo>
                    <a:pt x="958" y="604"/>
                  </a:lnTo>
                  <a:lnTo>
                    <a:pt x="960" y="602"/>
                  </a:lnTo>
                  <a:lnTo>
                    <a:pt x="960" y="598"/>
                  </a:lnTo>
                  <a:lnTo>
                    <a:pt x="956" y="596"/>
                  </a:lnTo>
                  <a:lnTo>
                    <a:pt x="950" y="590"/>
                  </a:lnTo>
                  <a:lnTo>
                    <a:pt x="946" y="586"/>
                  </a:lnTo>
                  <a:lnTo>
                    <a:pt x="942" y="580"/>
                  </a:lnTo>
                  <a:lnTo>
                    <a:pt x="942" y="578"/>
                  </a:lnTo>
                  <a:lnTo>
                    <a:pt x="940" y="578"/>
                  </a:lnTo>
                  <a:lnTo>
                    <a:pt x="934" y="582"/>
                  </a:lnTo>
                  <a:lnTo>
                    <a:pt x="930" y="584"/>
                  </a:lnTo>
                  <a:lnTo>
                    <a:pt x="928" y="588"/>
                  </a:lnTo>
                  <a:lnTo>
                    <a:pt x="928" y="594"/>
                  </a:lnTo>
                  <a:lnTo>
                    <a:pt x="930" y="598"/>
                  </a:lnTo>
                  <a:lnTo>
                    <a:pt x="928" y="600"/>
                  </a:lnTo>
                  <a:lnTo>
                    <a:pt x="926" y="602"/>
                  </a:lnTo>
                  <a:lnTo>
                    <a:pt x="922" y="604"/>
                  </a:lnTo>
                  <a:lnTo>
                    <a:pt x="920" y="604"/>
                  </a:lnTo>
                  <a:lnTo>
                    <a:pt x="918" y="598"/>
                  </a:lnTo>
                  <a:lnTo>
                    <a:pt x="918" y="592"/>
                  </a:lnTo>
                  <a:lnTo>
                    <a:pt x="918" y="590"/>
                  </a:lnTo>
                  <a:lnTo>
                    <a:pt x="916" y="590"/>
                  </a:lnTo>
                  <a:lnTo>
                    <a:pt x="914" y="588"/>
                  </a:lnTo>
                  <a:lnTo>
                    <a:pt x="914" y="586"/>
                  </a:lnTo>
                  <a:lnTo>
                    <a:pt x="914" y="578"/>
                  </a:lnTo>
                  <a:lnTo>
                    <a:pt x="914" y="574"/>
                  </a:lnTo>
                  <a:lnTo>
                    <a:pt x="912" y="574"/>
                  </a:lnTo>
                  <a:lnTo>
                    <a:pt x="906" y="576"/>
                  </a:lnTo>
                  <a:lnTo>
                    <a:pt x="898" y="584"/>
                  </a:lnTo>
                  <a:lnTo>
                    <a:pt x="888" y="590"/>
                  </a:lnTo>
                  <a:lnTo>
                    <a:pt x="882" y="594"/>
                  </a:lnTo>
                  <a:lnTo>
                    <a:pt x="878" y="594"/>
                  </a:lnTo>
                  <a:lnTo>
                    <a:pt x="874" y="592"/>
                  </a:lnTo>
                  <a:lnTo>
                    <a:pt x="870" y="586"/>
                  </a:lnTo>
                  <a:lnTo>
                    <a:pt x="866" y="584"/>
                  </a:lnTo>
                  <a:lnTo>
                    <a:pt x="860" y="584"/>
                  </a:lnTo>
                  <a:lnTo>
                    <a:pt x="854" y="586"/>
                  </a:lnTo>
                  <a:lnTo>
                    <a:pt x="848" y="586"/>
                  </a:lnTo>
                  <a:lnTo>
                    <a:pt x="844" y="584"/>
                  </a:lnTo>
                  <a:lnTo>
                    <a:pt x="842" y="580"/>
                  </a:lnTo>
                  <a:lnTo>
                    <a:pt x="834" y="572"/>
                  </a:lnTo>
                  <a:lnTo>
                    <a:pt x="830" y="570"/>
                  </a:lnTo>
                  <a:lnTo>
                    <a:pt x="822" y="570"/>
                  </a:lnTo>
                  <a:lnTo>
                    <a:pt x="814" y="570"/>
                  </a:lnTo>
                  <a:lnTo>
                    <a:pt x="808" y="568"/>
                  </a:lnTo>
                  <a:lnTo>
                    <a:pt x="804" y="564"/>
                  </a:lnTo>
                  <a:lnTo>
                    <a:pt x="802" y="560"/>
                  </a:lnTo>
                  <a:lnTo>
                    <a:pt x="798" y="554"/>
                  </a:lnTo>
                  <a:lnTo>
                    <a:pt x="796" y="554"/>
                  </a:lnTo>
                  <a:lnTo>
                    <a:pt x="792" y="554"/>
                  </a:lnTo>
                  <a:lnTo>
                    <a:pt x="788" y="554"/>
                  </a:lnTo>
                  <a:lnTo>
                    <a:pt x="784" y="554"/>
                  </a:lnTo>
                  <a:lnTo>
                    <a:pt x="782" y="550"/>
                  </a:lnTo>
                  <a:lnTo>
                    <a:pt x="776" y="546"/>
                  </a:lnTo>
                  <a:lnTo>
                    <a:pt x="774" y="544"/>
                  </a:lnTo>
                  <a:lnTo>
                    <a:pt x="768" y="542"/>
                  </a:lnTo>
                  <a:lnTo>
                    <a:pt x="758" y="542"/>
                  </a:lnTo>
                  <a:lnTo>
                    <a:pt x="752" y="544"/>
                  </a:lnTo>
                  <a:lnTo>
                    <a:pt x="750" y="546"/>
                  </a:lnTo>
                  <a:lnTo>
                    <a:pt x="750" y="548"/>
                  </a:lnTo>
                  <a:lnTo>
                    <a:pt x="754" y="556"/>
                  </a:lnTo>
                  <a:lnTo>
                    <a:pt x="756" y="558"/>
                  </a:lnTo>
                  <a:lnTo>
                    <a:pt x="762" y="560"/>
                  </a:lnTo>
                  <a:lnTo>
                    <a:pt x="774" y="560"/>
                  </a:lnTo>
                  <a:lnTo>
                    <a:pt x="778" y="560"/>
                  </a:lnTo>
                  <a:lnTo>
                    <a:pt x="782" y="564"/>
                  </a:lnTo>
                  <a:lnTo>
                    <a:pt x="784" y="570"/>
                  </a:lnTo>
                  <a:lnTo>
                    <a:pt x="782" y="580"/>
                  </a:lnTo>
                  <a:lnTo>
                    <a:pt x="778" y="594"/>
                  </a:lnTo>
                  <a:lnTo>
                    <a:pt x="778" y="596"/>
                  </a:lnTo>
                  <a:lnTo>
                    <a:pt x="776" y="596"/>
                  </a:lnTo>
                  <a:lnTo>
                    <a:pt x="768" y="594"/>
                  </a:lnTo>
                  <a:lnTo>
                    <a:pt x="760" y="594"/>
                  </a:lnTo>
                  <a:lnTo>
                    <a:pt x="750" y="596"/>
                  </a:lnTo>
                  <a:lnTo>
                    <a:pt x="742" y="596"/>
                  </a:lnTo>
                  <a:lnTo>
                    <a:pt x="736" y="596"/>
                  </a:lnTo>
                  <a:lnTo>
                    <a:pt x="728" y="592"/>
                  </a:lnTo>
                  <a:lnTo>
                    <a:pt x="726" y="592"/>
                  </a:lnTo>
                  <a:lnTo>
                    <a:pt x="720" y="594"/>
                  </a:lnTo>
                  <a:lnTo>
                    <a:pt x="700" y="608"/>
                  </a:lnTo>
                  <a:lnTo>
                    <a:pt x="688" y="620"/>
                  </a:lnTo>
                  <a:lnTo>
                    <a:pt x="680" y="628"/>
                  </a:lnTo>
                  <a:lnTo>
                    <a:pt x="678" y="634"/>
                  </a:lnTo>
                  <a:lnTo>
                    <a:pt x="676" y="638"/>
                  </a:lnTo>
                  <a:lnTo>
                    <a:pt x="676" y="644"/>
                  </a:lnTo>
                  <a:lnTo>
                    <a:pt x="674" y="652"/>
                  </a:lnTo>
                  <a:lnTo>
                    <a:pt x="670" y="662"/>
                  </a:lnTo>
                  <a:lnTo>
                    <a:pt x="662" y="674"/>
                  </a:lnTo>
                  <a:lnTo>
                    <a:pt x="654" y="688"/>
                  </a:lnTo>
                  <a:lnTo>
                    <a:pt x="650" y="698"/>
                  </a:lnTo>
                  <a:lnTo>
                    <a:pt x="652" y="706"/>
                  </a:lnTo>
                  <a:lnTo>
                    <a:pt x="654" y="710"/>
                  </a:lnTo>
                  <a:lnTo>
                    <a:pt x="662" y="716"/>
                  </a:lnTo>
                  <a:lnTo>
                    <a:pt x="662" y="720"/>
                  </a:lnTo>
                  <a:lnTo>
                    <a:pt x="658" y="724"/>
                  </a:lnTo>
                  <a:lnTo>
                    <a:pt x="652" y="728"/>
                  </a:lnTo>
                  <a:lnTo>
                    <a:pt x="648" y="730"/>
                  </a:lnTo>
                  <a:lnTo>
                    <a:pt x="644" y="730"/>
                  </a:lnTo>
                  <a:lnTo>
                    <a:pt x="640" y="728"/>
                  </a:lnTo>
                  <a:lnTo>
                    <a:pt x="630" y="722"/>
                  </a:lnTo>
                  <a:lnTo>
                    <a:pt x="626" y="722"/>
                  </a:lnTo>
                  <a:lnTo>
                    <a:pt x="618" y="722"/>
                  </a:lnTo>
                  <a:lnTo>
                    <a:pt x="612" y="722"/>
                  </a:lnTo>
                  <a:lnTo>
                    <a:pt x="608" y="718"/>
                  </a:lnTo>
                  <a:lnTo>
                    <a:pt x="596" y="712"/>
                  </a:lnTo>
                  <a:lnTo>
                    <a:pt x="574" y="688"/>
                  </a:lnTo>
                  <a:lnTo>
                    <a:pt x="562" y="676"/>
                  </a:lnTo>
                  <a:lnTo>
                    <a:pt x="554" y="670"/>
                  </a:lnTo>
                  <a:lnTo>
                    <a:pt x="550" y="668"/>
                  </a:lnTo>
                  <a:lnTo>
                    <a:pt x="548" y="668"/>
                  </a:lnTo>
                  <a:lnTo>
                    <a:pt x="546" y="670"/>
                  </a:lnTo>
                  <a:lnTo>
                    <a:pt x="544" y="674"/>
                  </a:lnTo>
                  <a:lnTo>
                    <a:pt x="542" y="682"/>
                  </a:lnTo>
                  <a:lnTo>
                    <a:pt x="540" y="684"/>
                  </a:lnTo>
                  <a:lnTo>
                    <a:pt x="536" y="684"/>
                  </a:lnTo>
                  <a:lnTo>
                    <a:pt x="532" y="682"/>
                  </a:lnTo>
                  <a:lnTo>
                    <a:pt x="526" y="678"/>
                  </a:lnTo>
                  <a:lnTo>
                    <a:pt x="522" y="678"/>
                  </a:lnTo>
                  <a:lnTo>
                    <a:pt x="518" y="682"/>
                  </a:lnTo>
                  <a:lnTo>
                    <a:pt x="516" y="690"/>
                  </a:lnTo>
                  <a:lnTo>
                    <a:pt x="516" y="698"/>
                  </a:lnTo>
                  <a:lnTo>
                    <a:pt x="514" y="700"/>
                  </a:lnTo>
                  <a:lnTo>
                    <a:pt x="510" y="700"/>
                  </a:lnTo>
                  <a:lnTo>
                    <a:pt x="508" y="698"/>
                  </a:lnTo>
                  <a:lnTo>
                    <a:pt x="502" y="696"/>
                  </a:lnTo>
                  <a:lnTo>
                    <a:pt x="498" y="698"/>
                  </a:lnTo>
                  <a:lnTo>
                    <a:pt x="490" y="704"/>
                  </a:lnTo>
                  <a:lnTo>
                    <a:pt x="482" y="718"/>
                  </a:lnTo>
                  <a:lnTo>
                    <a:pt x="474" y="732"/>
                  </a:lnTo>
                  <a:lnTo>
                    <a:pt x="468" y="742"/>
                  </a:lnTo>
                  <a:lnTo>
                    <a:pt x="458" y="752"/>
                  </a:lnTo>
                  <a:lnTo>
                    <a:pt x="454" y="756"/>
                  </a:lnTo>
                  <a:lnTo>
                    <a:pt x="452" y="762"/>
                  </a:lnTo>
                  <a:lnTo>
                    <a:pt x="450" y="768"/>
                  </a:lnTo>
                  <a:lnTo>
                    <a:pt x="448" y="780"/>
                  </a:lnTo>
                  <a:lnTo>
                    <a:pt x="448" y="794"/>
                  </a:lnTo>
                  <a:lnTo>
                    <a:pt x="446" y="798"/>
                  </a:lnTo>
                  <a:lnTo>
                    <a:pt x="444" y="800"/>
                  </a:lnTo>
                  <a:lnTo>
                    <a:pt x="440" y="798"/>
                  </a:lnTo>
                  <a:lnTo>
                    <a:pt x="434" y="794"/>
                  </a:lnTo>
                  <a:lnTo>
                    <a:pt x="428" y="792"/>
                  </a:lnTo>
                  <a:lnTo>
                    <a:pt x="426" y="792"/>
                  </a:lnTo>
                  <a:lnTo>
                    <a:pt x="422" y="794"/>
                  </a:lnTo>
                  <a:lnTo>
                    <a:pt x="420" y="798"/>
                  </a:lnTo>
                  <a:lnTo>
                    <a:pt x="418" y="804"/>
                  </a:lnTo>
                  <a:lnTo>
                    <a:pt x="416" y="824"/>
                  </a:lnTo>
                  <a:lnTo>
                    <a:pt x="414" y="840"/>
                  </a:lnTo>
                  <a:lnTo>
                    <a:pt x="414" y="842"/>
                  </a:lnTo>
                  <a:lnTo>
                    <a:pt x="412" y="842"/>
                  </a:lnTo>
                  <a:lnTo>
                    <a:pt x="408" y="828"/>
                  </a:lnTo>
                  <a:lnTo>
                    <a:pt x="402" y="818"/>
                  </a:lnTo>
                  <a:lnTo>
                    <a:pt x="400" y="812"/>
                  </a:lnTo>
                  <a:lnTo>
                    <a:pt x="396" y="810"/>
                  </a:lnTo>
                  <a:lnTo>
                    <a:pt x="392" y="810"/>
                  </a:lnTo>
                  <a:lnTo>
                    <a:pt x="386" y="812"/>
                  </a:lnTo>
                  <a:lnTo>
                    <a:pt x="382" y="816"/>
                  </a:lnTo>
                  <a:lnTo>
                    <a:pt x="376" y="822"/>
                  </a:lnTo>
                  <a:lnTo>
                    <a:pt x="366" y="840"/>
                  </a:lnTo>
                  <a:lnTo>
                    <a:pt x="360" y="852"/>
                  </a:lnTo>
                  <a:lnTo>
                    <a:pt x="360" y="864"/>
                  </a:lnTo>
                  <a:lnTo>
                    <a:pt x="362" y="872"/>
                  </a:lnTo>
                  <a:lnTo>
                    <a:pt x="362" y="880"/>
                  </a:lnTo>
                  <a:lnTo>
                    <a:pt x="362" y="886"/>
                  </a:lnTo>
                  <a:lnTo>
                    <a:pt x="358" y="894"/>
                  </a:lnTo>
                  <a:lnTo>
                    <a:pt x="350" y="902"/>
                  </a:lnTo>
                  <a:lnTo>
                    <a:pt x="344" y="908"/>
                  </a:lnTo>
                  <a:lnTo>
                    <a:pt x="338" y="916"/>
                  </a:lnTo>
                  <a:lnTo>
                    <a:pt x="334" y="930"/>
                  </a:lnTo>
                  <a:lnTo>
                    <a:pt x="330" y="940"/>
                  </a:lnTo>
                  <a:lnTo>
                    <a:pt x="324" y="948"/>
                  </a:lnTo>
                  <a:lnTo>
                    <a:pt x="316" y="958"/>
                  </a:lnTo>
                  <a:lnTo>
                    <a:pt x="304" y="968"/>
                  </a:lnTo>
                  <a:lnTo>
                    <a:pt x="290" y="976"/>
                  </a:lnTo>
                  <a:lnTo>
                    <a:pt x="276" y="980"/>
                  </a:lnTo>
                  <a:lnTo>
                    <a:pt x="266" y="982"/>
                  </a:lnTo>
                  <a:lnTo>
                    <a:pt x="256" y="980"/>
                  </a:lnTo>
                  <a:lnTo>
                    <a:pt x="240" y="980"/>
                  </a:lnTo>
                  <a:lnTo>
                    <a:pt x="234" y="982"/>
                  </a:lnTo>
                  <a:lnTo>
                    <a:pt x="232" y="986"/>
                  </a:lnTo>
                  <a:lnTo>
                    <a:pt x="228" y="990"/>
                  </a:lnTo>
                  <a:lnTo>
                    <a:pt x="224" y="994"/>
                  </a:lnTo>
                  <a:lnTo>
                    <a:pt x="212" y="998"/>
                  </a:lnTo>
                  <a:lnTo>
                    <a:pt x="198" y="1002"/>
                  </a:lnTo>
                  <a:lnTo>
                    <a:pt x="180" y="1012"/>
                  </a:lnTo>
                  <a:lnTo>
                    <a:pt x="170" y="1016"/>
                  </a:lnTo>
                  <a:lnTo>
                    <a:pt x="162" y="1016"/>
                  </a:lnTo>
                  <a:lnTo>
                    <a:pt x="150" y="1012"/>
                  </a:lnTo>
                  <a:lnTo>
                    <a:pt x="142" y="1012"/>
                  </a:lnTo>
                  <a:lnTo>
                    <a:pt x="134" y="1014"/>
                  </a:lnTo>
                  <a:lnTo>
                    <a:pt x="124" y="1020"/>
                  </a:lnTo>
                  <a:lnTo>
                    <a:pt x="110" y="1034"/>
                  </a:lnTo>
                  <a:lnTo>
                    <a:pt x="98" y="1048"/>
                  </a:lnTo>
                  <a:lnTo>
                    <a:pt x="86" y="1058"/>
                  </a:lnTo>
                  <a:lnTo>
                    <a:pt x="78" y="1062"/>
                  </a:lnTo>
                  <a:lnTo>
                    <a:pt x="72" y="1066"/>
                  </a:lnTo>
                  <a:lnTo>
                    <a:pt x="66" y="1068"/>
                  </a:lnTo>
                  <a:lnTo>
                    <a:pt x="60" y="1074"/>
                  </a:lnTo>
                  <a:lnTo>
                    <a:pt x="54" y="1082"/>
                  </a:lnTo>
                  <a:lnTo>
                    <a:pt x="50" y="1094"/>
                  </a:lnTo>
                  <a:lnTo>
                    <a:pt x="44" y="1104"/>
                  </a:lnTo>
                  <a:lnTo>
                    <a:pt x="42" y="1106"/>
                  </a:lnTo>
                  <a:lnTo>
                    <a:pt x="42" y="1104"/>
                  </a:lnTo>
                  <a:lnTo>
                    <a:pt x="40" y="1100"/>
                  </a:lnTo>
                  <a:lnTo>
                    <a:pt x="38" y="1092"/>
                  </a:lnTo>
                  <a:lnTo>
                    <a:pt x="38" y="1084"/>
                  </a:lnTo>
                  <a:lnTo>
                    <a:pt x="36" y="1078"/>
                  </a:lnTo>
                  <a:lnTo>
                    <a:pt x="34" y="1078"/>
                  </a:lnTo>
                  <a:lnTo>
                    <a:pt x="30" y="1078"/>
                  </a:lnTo>
                  <a:lnTo>
                    <a:pt x="24" y="1088"/>
                  </a:lnTo>
                  <a:lnTo>
                    <a:pt x="18" y="1100"/>
                  </a:lnTo>
                  <a:lnTo>
                    <a:pt x="16" y="1110"/>
                  </a:lnTo>
                  <a:lnTo>
                    <a:pt x="18" y="1118"/>
                  </a:lnTo>
                  <a:lnTo>
                    <a:pt x="20" y="1126"/>
                  </a:lnTo>
                  <a:lnTo>
                    <a:pt x="22" y="1134"/>
                  </a:lnTo>
                  <a:lnTo>
                    <a:pt x="22" y="1144"/>
                  </a:lnTo>
                  <a:lnTo>
                    <a:pt x="20" y="1154"/>
                  </a:lnTo>
                  <a:lnTo>
                    <a:pt x="12" y="1170"/>
                  </a:lnTo>
                  <a:lnTo>
                    <a:pt x="8" y="1180"/>
                  </a:lnTo>
                  <a:lnTo>
                    <a:pt x="4" y="1188"/>
                  </a:lnTo>
                  <a:lnTo>
                    <a:pt x="4" y="1196"/>
                  </a:lnTo>
                  <a:lnTo>
                    <a:pt x="4" y="1204"/>
                  </a:lnTo>
                  <a:lnTo>
                    <a:pt x="8" y="1220"/>
                  </a:lnTo>
                  <a:lnTo>
                    <a:pt x="16" y="1236"/>
                  </a:lnTo>
                  <a:lnTo>
                    <a:pt x="34" y="1266"/>
                  </a:lnTo>
                  <a:lnTo>
                    <a:pt x="40" y="1280"/>
                  </a:lnTo>
                  <a:lnTo>
                    <a:pt x="40" y="1288"/>
                  </a:lnTo>
                  <a:lnTo>
                    <a:pt x="42" y="1294"/>
                  </a:lnTo>
                  <a:lnTo>
                    <a:pt x="40" y="1304"/>
                  </a:lnTo>
                  <a:lnTo>
                    <a:pt x="38" y="1304"/>
                  </a:lnTo>
                  <a:lnTo>
                    <a:pt x="36" y="1304"/>
                  </a:lnTo>
                  <a:lnTo>
                    <a:pt x="32" y="1298"/>
                  </a:lnTo>
                  <a:lnTo>
                    <a:pt x="26" y="1288"/>
                  </a:lnTo>
                  <a:lnTo>
                    <a:pt x="14" y="1268"/>
                  </a:lnTo>
                  <a:lnTo>
                    <a:pt x="10" y="1264"/>
                  </a:lnTo>
                  <a:lnTo>
                    <a:pt x="8" y="1264"/>
                  </a:lnTo>
                  <a:lnTo>
                    <a:pt x="6" y="1270"/>
                  </a:lnTo>
                  <a:lnTo>
                    <a:pt x="8" y="1276"/>
                  </a:lnTo>
                  <a:lnTo>
                    <a:pt x="14" y="1290"/>
                  </a:lnTo>
                  <a:lnTo>
                    <a:pt x="20" y="1304"/>
                  </a:lnTo>
                  <a:lnTo>
                    <a:pt x="22" y="1310"/>
                  </a:lnTo>
                  <a:lnTo>
                    <a:pt x="22" y="1316"/>
                  </a:lnTo>
                  <a:lnTo>
                    <a:pt x="20" y="1316"/>
                  </a:lnTo>
                  <a:lnTo>
                    <a:pt x="16" y="1312"/>
                  </a:lnTo>
                  <a:lnTo>
                    <a:pt x="10" y="1298"/>
                  </a:lnTo>
                  <a:lnTo>
                    <a:pt x="6" y="1292"/>
                  </a:lnTo>
                  <a:lnTo>
                    <a:pt x="2" y="1288"/>
                  </a:lnTo>
                  <a:lnTo>
                    <a:pt x="0" y="1290"/>
                  </a:lnTo>
                  <a:lnTo>
                    <a:pt x="0" y="1298"/>
                  </a:lnTo>
                  <a:lnTo>
                    <a:pt x="0" y="1306"/>
                  </a:lnTo>
                  <a:lnTo>
                    <a:pt x="4" y="1316"/>
                  </a:lnTo>
                  <a:lnTo>
                    <a:pt x="18" y="1334"/>
                  </a:lnTo>
                  <a:lnTo>
                    <a:pt x="30" y="1354"/>
                  </a:lnTo>
                  <a:lnTo>
                    <a:pt x="34" y="1364"/>
                  </a:lnTo>
                  <a:lnTo>
                    <a:pt x="36" y="1374"/>
                  </a:lnTo>
                  <a:lnTo>
                    <a:pt x="36" y="1390"/>
                  </a:lnTo>
                  <a:lnTo>
                    <a:pt x="40" y="1402"/>
                  </a:lnTo>
                  <a:lnTo>
                    <a:pt x="48" y="1414"/>
                  </a:lnTo>
                  <a:lnTo>
                    <a:pt x="60" y="1438"/>
                  </a:lnTo>
                  <a:lnTo>
                    <a:pt x="66" y="1452"/>
                  </a:lnTo>
                  <a:lnTo>
                    <a:pt x="68" y="1462"/>
                  </a:lnTo>
                  <a:lnTo>
                    <a:pt x="68" y="1482"/>
                  </a:lnTo>
                  <a:lnTo>
                    <a:pt x="70" y="1494"/>
                  </a:lnTo>
                  <a:lnTo>
                    <a:pt x="72" y="1510"/>
                  </a:lnTo>
                  <a:lnTo>
                    <a:pt x="76" y="1530"/>
                  </a:lnTo>
                  <a:lnTo>
                    <a:pt x="86" y="1556"/>
                  </a:lnTo>
                  <a:lnTo>
                    <a:pt x="96" y="1580"/>
                  </a:lnTo>
                  <a:lnTo>
                    <a:pt x="100" y="1598"/>
                  </a:lnTo>
                  <a:lnTo>
                    <a:pt x="102" y="1610"/>
                  </a:lnTo>
                  <a:lnTo>
                    <a:pt x="100" y="1620"/>
                  </a:lnTo>
                  <a:lnTo>
                    <a:pt x="96" y="1632"/>
                  </a:lnTo>
                  <a:lnTo>
                    <a:pt x="94" y="1638"/>
                  </a:lnTo>
                  <a:lnTo>
                    <a:pt x="94" y="1646"/>
                  </a:lnTo>
                  <a:lnTo>
                    <a:pt x="96" y="1656"/>
                  </a:lnTo>
                  <a:lnTo>
                    <a:pt x="96" y="1664"/>
                  </a:lnTo>
                  <a:lnTo>
                    <a:pt x="94" y="1672"/>
                  </a:lnTo>
                  <a:lnTo>
                    <a:pt x="92" y="1678"/>
                  </a:lnTo>
                  <a:lnTo>
                    <a:pt x="88" y="1682"/>
                  </a:lnTo>
                  <a:lnTo>
                    <a:pt x="84" y="1684"/>
                  </a:lnTo>
                  <a:lnTo>
                    <a:pt x="80" y="1684"/>
                  </a:lnTo>
                  <a:lnTo>
                    <a:pt x="74" y="1684"/>
                  </a:lnTo>
                  <a:lnTo>
                    <a:pt x="70" y="1684"/>
                  </a:lnTo>
                  <a:lnTo>
                    <a:pt x="68" y="1688"/>
                  </a:lnTo>
                  <a:lnTo>
                    <a:pt x="66" y="1694"/>
                  </a:lnTo>
                  <a:lnTo>
                    <a:pt x="66" y="1702"/>
                  </a:lnTo>
                  <a:lnTo>
                    <a:pt x="68" y="1710"/>
                  </a:lnTo>
                  <a:lnTo>
                    <a:pt x="70" y="1716"/>
                  </a:lnTo>
                  <a:lnTo>
                    <a:pt x="76" y="1722"/>
                  </a:lnTo>
                  <a:lnTo>
                    <a:pt x="82" y="1722"/>
                  </a:lnTo>
                  <a:lnTo>
                    <a:pt x="88" y="1722"/>
                  </a:lnTo>
                  <a:lnTo>
                    <a:pt x="92" y="1726"/>
                  </a:lnTo>
                  <a:lnTo>
                    <a:pt x="104" y="1738"/>
                  </a:lnTo>
                  <a:lnTo>
                    <a:pt x="114" y="1746"/>
                  </a:lnTo>
                  <a:lnTo>
                    <a:pt x="124" y="1754"/>
                  </a:lnTo>
                  <a:lnTo>
                    <a:pt x="138" y="1760"/>
                  </a:lnTo>
                  <a:lnTo>
                    <a:pt x="156" y="1762"/>
                  </a:lnTo>
                  <a:lnTo>
                    <a:pt x="174" y="1764"/>
                  </a:lnTo>
                  <a:lnTo>
                    <a:pt x="188" y="1760"/>
                  </a:lnTo>
                  <a:lnTo>
                    <a:pt x="200" y="1756"/>
                  </a:lnTo>
                  <a:lnTo>
                    <a:pt x="208" y="1750"/>
                  </a:lnTo>
                  <a:lnTo>
                    <a:pt x="222" y="1736"/>
                  </a:lnTo>
                  <a:lnTo>
                    <a:pt x="230" y="1732"/>
                  </a:lnTo>
                  <a:lnTo>
                    <a:pt x="238" y="1730"/>
                  </a:lnTo>
                  <a:lnTo>
                    <a:pt x="246" y="1728"/>
                  </a:lnTo>
                  <a:lnTo>
                    <a:pt x="252" y="1724"/>
                  </a:lnTo>
                  <a:lnTo>
                    <a:pt x="254" y="1720"/>
                  </a:lnTo>
                  <a:lnTo>
                    <a:pt x="258" y="1714"/>
                  </a:lnTo>
                  <a:lnTo>
                    <a:pt x="260" y="1708"/>
                  </a:lnTo>
                  <a:lnTo>
                    <a:pt x="264" y="1704"/>
                  </a:lnTo>
                  <a:lnTo>
                    <a:pt x="270" y="1702"/>
                  </a:lnTo>
                  <a:lnTo>
                    <a:pt x="278" y="1700"/>
                  </a:lnTo>
                  <a:lnTo>
                    <a:pt x="290" y="1700"/>
                  </a:lnTo>
                  <a:lnTo>
                    <a:pt x="300" y="1700"/>
                  </a:lnTo>
                  <a:lnTo>
                    <a:pt x="316" y="1696"/>
                  </a:lnTo>
                  <a:lnTo>
                    <a:pt x="322" y="1694"/>
                  </a:lnTo>
                  <a:lnTo>
                    <a:pt x="328" y="1694"/>
                  </a:lnTo>
                  <a:lnTo>
                    <a:pt x="336" y="1694"/>
                  </a:lnTo>
                  <a:lnTo>
                    <a:pt x="344" y="1698"/>
                  </a:lnTo>
                  <a:lnTo>
                    <a:pt x="354" y="1702"/>
                  </a:lnTo>
                  <a:lnTo>
                    <a:pt x="360" y="1704"/>
                  </a:lnTo>
                  <a:lnTo>
                    <a:pt x="364" y="1704"/>
                  </a:lnTo>
                  <a:lnTo>
                    <a:pt x="368" y="1702"/>
                  </a:lnTo>
                  <a:lnTo>
                    <a:pt x="372" y="1698"/>
                  </a:lnTo>
                  <a:lnTo>
                    <a:pt x="378" y="1698"/>
                  </a:lnTo>
                  <a:lnTo>
                    <a:pt x="386" y="1698"/>
                  </a:lnTo>
                  <a:lnTo>
                    <a:pt x="398" y="1702"/>
                  </a:lnTo>
                  <a:lnTo>
                    <a:pt x="406" y="1702"/>
                  </a:lnTo>
                  <a:lnTo>
                    <a:pt x="410" y="1702"/>
                  </a:lnTo>
                  <a:lnTo>
                    <a:pt x="416" y="1702"/>
                  </a:lnTo>
                  <a:lnTo>
                    <a:pt x="420" y="1698"/>
                  </a:lnTo>
                  <a:lnTo>
                    <a:pt x="426" y="1690"/>
                  </a:lnTo>
                  <a:lnTo>
                    <a:pt x="430" y="1678"/>
                  </a:lnTo>
                  <a:lnTo>
                    <a:pt x="434" y="1668"/>
                  </a:lnTo>
                  <a:lnTo>
                    <a:pt x="438" y="1656"/>
                  </a:lnTo>
                  <a:lnTo>
                    <a:pt x="446" y="1650"/>
                  </a:lnTo>
                  <a:lnTo>
                    <a:pt x="450" y="1646"/>
                  </a:lnTo>
                  <a:lnTo>
                    <a:pt x="454" y="1646"/>
                  </a:lnTo>
                  <a:lnTo>
                    <a:pt x="464" y="1644"/>
                  </a:lnTo>
                  <a:lnTo>
                    <a:pt x="472" y="1640"/>
                  </a:lnTo>
                  <a:lnTo>
                    <a:pt x="484" y="1628"/>
                  </a:lnTo>
                  <a:lnTo>
                    <a:pt x="492" y="1622"/>
                  </a:lnTo>
                  <a:lnTo>
                    <a:pt x="502" y="1616"/>
                  </a:lnTo>
                  <a:lnTo>
                    <a:pt x="514" y="1614"/>
                  </a:lnTo>
                  <a:lnTo>
                    <a:pt x="530" y="1614"/>
                  </a:lnTo>
                  <a:lnTo>
                    <a:pt x="544" y="1614"/>
                  </a:lnTo>
                  <a:lnTo>
                    <a:pt x="556" y="1614"/>
                  </a:lnTo>
                  <a:lnTo>
                    <a:pt x="578" y="1610"/>
                  </a:lnTo>
                  <a:lnTo>
                    <a:pt x="596" y="1602"/>
                  </a:lnTo>
                  <a:lnTo>
                    <a:pt x="614" y="1594"/>
                  </a:lnTo>
                  <a:lnTo>
                    <a:pt x="630" y="1586"/>
                  </a:lnTo>
                  <a:lnTo>
                    <a:pt x="644" y="1580"/>
                  </a:lnTo>
                  <a:lnTo>
                    <a:pt x="660" y="1574"/>
                  </a:lnTo>
                  <a:lnTo>
                    <a:pt x="668" y="1574"/>
                  </a:lnTo>
                  <a:lnTo>
                    <a:pt x="676" y="1574"/>
                  </a:lnTo>
                  <a:lnTo>
                    <a:pt x="696" y="1578"/>
                  </a:lnTo>
                  <a:lnTo>
                    <a:pt x="706" y="1576"/>
                  </a:lnTo>
                  <a:lnTo>
                    <a:pt x="712" y="1574"/>
                  </a:lnTo>
                  <a:lnTo>
                    <a:pt x="716" y="1572"/>
                  </a:lnTo>
                  <a:lnTo>
                    <a:pt x="718" y="1570"/>
                  </a:lnTo>
                  <a:lnTo>
                    <a:pt x="724" y="1572"/>
                  </a:lnTo>
                  <a:lnTo>
                    <a:pt x="752" y="1586"/>
                  </a:lnTo>
                  <a:lnTo>
                    <a:pt x="772" y="1596"/>
                  </a:lnTo>
                  <a:lnTo>
                    <a:pt x="786" y="1602"/>
                  </a:lnTo>
                  <a:lnTo>
                    <a:pt x="798" y="1606"/>
                  </a:lnTo>
                  <a:lnTo>
                    <a:pt x="806" y="1606"/>
                  </a:lnTo>
                  <a:lnTo>
                    <a:pt x="822" y="1608"/>
                  </a:lnTo>
                  <a:lnTo>
                    <a:pt x="828" y="1612"/>
                  </a:lnTo>
                  <a:lnTo>
                    <a:pt x="838" y="1618"/>
                  </a:lnTo>
                  <a:lnTo>
                    <a:pt x="846" y="1626"/>
                  </a:lnTo>
                  <a:lnTo>
                    <a:pt x="848" y="1632"/>
                  </a:lnTo>
                  <a:lnTo>
                    <a:pt x="848" y="1636"/>
                  </a:lnTo>
                  <a:lnTo>
                    <a:pt x="846" y="1642"/>
                  </a:lnTo>
                  <a:lnTo>
                    <a:pt x="844" y="1646"/>
                  </a:lnTo>
                  <a:lnTo>
                    <a:pt x="844" y="1650"/>
                  </a:lnTo>
                  <a:lnTo>
                    <a:pt x="848" y="1656"/>
                  </a:lnTo>
                  <a:lnTo>
                    <a:pt x="860" y="1662"/>
                  </a:lnTo>
                  <a:lnTo>
                    <a:pt x="866" y="1666"/>
                  </a:lnTo>
                  <a:lnTo>
                    <a:pt x="870" y="1672"/>
                  </a:lnTo>
                  <a:lnTo>
                    <a:pt x="876" y="1682"/>
                  </a:lnTo>
                  <a:lnTo>
                    <a:pt x="880" y="1694"/>
                  </a:lnTo>
                  <a:lnTo>
                    <a:pt x="882" y="1708"/>
                  </a:lnTo>
                  <a:lnTo>
                    <a:pt x="884" y="1722"/>
                  </a:lnTo>
                  <a:lnTo>
                    <a:pt x="886" y="1732"/>
                  </a:lnTo>
                  <a:lnTo>
                    <a:pt x="892" y="1742"/>
                  </a:lnTo>
                  <a:lnTo>
                    <a:pt x="894" y="1746"/>
                  </a:lnTo>
                  <a:lnTo>
                    <a:pt x="900" y="1748"/>
                  </a:lnTo>
                  <a:lnTo>
                    <a:pt x="914" y="1756"/>
                  </a:lnTo>
                  <a:lnTo>
                    <a:pt x="914" y="1758"/>
                  </a:lnTo>
                  <a:lnTo>
                    <a:pt x="914" y="1756"/>
                  </a:lnTo>
                  <a:lnTo>
                    <a:pt x="914" y="1750"/>
                  </a:lnTo>
                  <a:lnTo>
                    <a:pt x="916" y="1742"/>
                  </a:lnTo>
                  <a:lnTo>
                    <a:pt x="920" y="1730"/>
                  </a:lnTo>
                  <a:lnTo>
                    <a:pt x="932" y="1716"/>
                  </a:lnTo>
                  <a:lnTo>
                    <a:pt x="944" y="1702"/>
                  </a:lnTo>
                  <a:lnTo>
                    <a:pt x="952" y="1694"/>
                  </a:lnTo>
                  <a:lnTo>
                    <a:pt x="958" y="1690"/>
                  </a:lnTo>
                  <a:lnTo>
                    <a:pt x="962" y="1690"/>
                  </a:lnTo>
                  <a:lnTo>
                    <a:pt x="964" y="1690"/>
                  </a:lnTo>
                  <a:lnTo>
                    <a:pt x="966" y="1680"/>
                  </a:lnTo>
                  <a:lnTo>
                    <a:pt x="968" y="1672"/>
                  </a:lnTo>
                  <a:lnTo>
                    <a:pt x="972" y="1666"/>
                  </a:lnTo>
                  <a:lnTo>
                    <a:pt x="980" y="1658"/>
                  </a:lnTo>
                  <a:lnTo>
                    <a:pt x="986" y="1650"/>
                  </a:lnTo>
                  <a:lnTo>
                    <a:pt x="988" y="1646"/>
                  </a:lnTo>
                  <a:lnTo>
                    <a:pt x="990" y="1640"/>
                  </a:lnTo>
                  <a:lnTo>
                    <a:pt x="990" y="1632"/>
                  </a:lnTo>
                  <a:lnTo>
                    <a:pt x="990" y="1630"/>
                  </a:lnTo>
                  <a:lnTo>
                    <a:pt x="990" y="1632"/>
                  </a:lnTo>
                  <a:lnTo>
                    <a:pt x="998" y="1646"/>
                  </a:lnTo>
                  <a:lnTo>
                    <a:pt x="998" y="1654"/>
                  </a:lnTo>
                  <a:lnTo>
                    <a:pt x="996" y="1664"/>
                  </a:lnTo>
                  <a:lnTo>
                    <a:pt x="988" y="1686"/>
                  </a:lnTo>
                  <a:lnTo>
                    <a:pt x="980" y="1710"/>
                  </a:lnTo>
                  <a:lnTo>
                    <a:pt x="978" y="1718"/>
                  </a:lnTo>
                  <a:lnTo>
                    <a:pt x="978" y="1726"/>
                  </a:lnTo>
                  <a:lnTo>
                    <a:pt x="980" y="1736"/>
                  </a:lnTo>
                  <a:lnTo>
                    <a:pt x="980" y="1746"/>
                  </a:lnTo>
                  <a:lnTo>
                    <a:pt x="976" y="1750"/>
                  </a:lnTo>
                  <a:lnTo>
                    <a:pt x="972" y="1752"/>
                  </a:lnTo>
                  <a:lnTo>
                    <a:pt x="968" y="1752"/>
                  </a:lnTo>
                  <a:lnTo>
                    <a:pt x="964" y="1754"/>
                  </a:lnTo>
                  <a:lnTo>
                    <a:pt x="960" y="1756"/>
                  </a:lnTo>
                  <a:lnTo>
                    <a:pt x="956" y="1758"/>
                  </a:lnTo>
                  <a:lnTo>
                    <a:pt x="954" y="1762"/>
                  </a:lnTo>
                  <a:lnTo>
                    <a:pt x="954" y="1766"/>
                  </a:lnTo>
                  <a:lnTo>
                    <a:pt x="958" y="1770"/>
                  </a:lnTo>
                  <a:lnTo>
                    <a:pt x="962" y="1770"/>
                  </a:lnTo>
                  <a:lnTo>
                    <a:pt x="972" y="1770"/>
                  </a:lnTo>
                  <a:lnTo>
                    <a:pt x="978" y="1770"/>
                  </a:lnTo>
                  <a:lnTo>
                    <a:pt x="982" y="1766"/>
                  </a:lnTo>
                  <a:lnTo>
                    <a:pt x="990" y="1758"/>
                  </a:lnTo>
                  <a:lnTo>
                    <a:pt x="994" y="1750"/>
                  </a:lnTo>
                  <a:lnTo>
                    <a:pt x="996" y="1740"/>
                  </a:lnTo>
                  <a:lnTo>
                    <a:pt x="1000" y="1730"/>
                  </a:lnTo>
                  <a:lnTo>
                    <a:pt x="1002" y="1726"/>
                  </a:lnTo>
                  <a:lnTo>
                    <a:pt x="1004" y="1726"/>
                  </a:lnTo>
                  <a:lnTo>
                    <a:pt x="1006" y="1726"/>
                  </a:lnTo>
                  <a:lnTo>
                    <a:pt x="1012" y="1734"/>
                  </a:lnTo>
                  <a:lnTo>
                    <a:pt x="1016" y="1744"/>
                  </a:lnTo>
                  <a:lnTo>
                    <a:pt x="1018" y="1754"/>
                  </a:lnTo>
                  <a:lnTo>
                    <a:pt x="1016" y="1762"/>
                  </a:lnTo>
                  <a:lnTo>
                    <a:pt x="1014" y="1770"/>
                  </a:lnTo>
                  <a:lnTo>
                    <a:pt x="1006" y="1784"/>
                  </a:lnTo>
                  <a:lnTo>
                    <a:pt x="1004" y="1788"/>
                  </a:lnTo>
                  <a:lnTo>
                    <a:pt x="1006" y="1792"/>
                  </a:lnTo>
                  <a:lnTo>
                    <a:pt x="1008" y="1794"/>
                  </a:lnTo>
                  <a:lnTo>
                    <a:pt x="1012" y="1794"/>
                  </a:lnTo>
                  <a:lnTo>
                    <a:pt x="1020" y="1792"/>
                  </a:lnTo>
                  <a:lnTo>
                    <a:pt x="1030" y="1792"/>
                  </a:lnTo>
                  <a:lnTo>
                    <a:pt x="1036" y="1792"/>
                  </a:lnTo>
                  <a:lnTo>
                    <a:pt x="1042" y="1794"/>
                  </a:lnTo>
                  <a:lnTo>
                    <a:pt x="1048" y="1800"/>
                  </a:lnTo>
                  <a:lnTo>
                    <a:pt x="1054" y="1806"/>
                  </a:lnTo>
                  <a:lnTo>
                    <a:pt x="1060" y="1814"/>
                  </a:lnTo>
                  <a:lnTo>
                    <a:pt x="1066" y="1824"/>
                  </a:lnTo>
                  <a:lnTo>
                    <a:pt x="1070" y="1832"/>
                  </a:lnTo>
                  <a:lnTo>
                    <a:pt x="1072" y="1842"/>
                  </a:lnTo>
                  <a:lnTo>
                    <a:pt x="1072" y="1850"/>
                  </a:lnTo>
                  <a:lnTo>
                    <a:pt x="1070" y="1858"/>
                  </a:lnTo>
                  <a:lnTo>
                    <a:pt x="1068" y="1866"/>
                  </a:lnTo>
                  <a:lnTo>
                    <a:pt x="1068" y="1874"/>
                  </a:lnTo>
                  <a:lnTo>
                    <a:pt x="1074" y="1886"/>
                  </a:lnTo>
                  <a:lnTo>
                    <a:pt x="1080" y="1896"/>
                  </a:lnTo>
                  <a:lnTo>
                    <a:pt x="1088" y="1904"/>
                  </a:lnTo>
                  <a:lnTo>
                    <a:pt x="1098" y="1914"/>
                  </a:lnTo>
                  <a:lnTo>
                    <a:pt x="1106" y="1920"/>
                  </a:lnTo>
                  <a:lnTo>
                    <a:pt x="1114" y="1924"/>
                  </a:lnTo>
                  <a:lnTo>
                    <a:pt x="1120" y="1926"/>
                  </a:lnTo>
                  <a:lnTo>
                    <a:pt x="1126" y="1930"/>
                  </a:lnTo>
                  <a:lnTo>
                    <a:pt x="1134" y="1938"/>
                  </a:lnTo>
                  <a:lnTo>
                    <a:pt x="1138" y="1944"/>
                  </a:lnTo>
                  <a:lnTo>
                    <a:pt x="1142" y="1944"/>
                  </a:lnTo>
                  <a:lnTo>
                    <a:pt x="1146" y="1942"/>
                  </a:lnTo>
                  <a:lnTo>
                    <a:pt x="1152" y="1936"/>
                  </a:lnTo>
                  <a:lnTo>
                    <a:pt x="1156" y="1936"/>
                  </a:lnTo>
                  <a:lnTo>
                    <a:pt x="1160" y="1936"/>
                  </a:lnTo>
                  <a:lnTo>
                    <a:pt x="1176" y="1942"/>
                  </a:lnTo>
                  <a:lnTo>
                    <a:pt x="1198" y="1956"/>
                  </a:lnTo>
                  <a:lnTo>
                    <a:pt x="1210" y="1962"/>
                  </a:lnTo>
                  <a:lnTo>
                    <a:pt x="1218" y="1964"/>
                  </a:lnTo>
                  <a:lnTo>
                    <a:pt x="1224" y="1964"/>
                  </a:lnTo>
                  <a:lnTo>
                    <a:pt x="1230" y="1960"/>
                  </a:lnTo>
                  <a:lnTo>
                    <a:pt x="1238" y="1952"/>
                  </a:lnTo>
                  <a:lnTo>
                    <a:pt x="1244" y="1946"/>
                  </a:lnTo>
                  <a:lnTo>
                    <a:pt x="1252" y="1940"/>
                  </a:lnTo>
                  <a:lnTo>
                    <a:pt x="1260" y="1936"/>
                  </a:lnTo>
                  <a:lnTo>
                    <a:pt x="1264" y="1930"/>
                  </a:lnTo>
                  <a:lnTo>
                    <a:pt x="1270" y="1920"/>
                  </a:lnTo>
                  <a:lnTo>
                    <a:pt x="1270" y="1918"/>
                  </a:lnTo>
                  <a:lnTo>
                    <a:pt x="1272" y="1916"/>
                  </a:lnTo>
                  <a:lnTo>
                    <a:pt x="1276" y="1916"/>
                  </a:lnTo>
                  <a:lnTo>
                    <a:pt x="1282" y="1918"/>
                  </a:lnTo>
                  <a:lnTo>
                    <a:pt x="1286" y="1924"/>
                  </a:lnTo>
                  <a:lnTo>
                    <a:pt x="1288" y="1928"/>
                  </a:lnTo>
                  <a:lnTo>
                    <a:pt x="1284" y="1930"/>
                  </a:lnTo>
                  <a:lnTo>
                    <a:pt x="1280" y="1934"/>
                  </a:lnTo>
                  <a:lnTo>
                    <a:pt x="1274" y="1940"/>
                  </a:lnTo>
                  <a:lnTo>
                    <a:pt x="1274" y="1944"/>
                  </a:lnTo>
                  <a:lnTo>
                    <a:pt x="1278" y="1946"/>
                  </a:lnTo>
                  <a:lnTo>
                    <a:pt x="1282" y="1948"/>
                  </a:lnTo>
                  <a:lnTo>
                    <a:pt x="1288" y="1948"/>
                  </a:lnTo>
                  <a:lnTo>
                    <a:pt x="1290" y="1944"/>
                  </a:lnTo>
                  <a:lnTo>
                    <a:pt x="1292" y="1942"/>
                  </a:lnTo>
                  <a:lnTo>
                    <a:pt x="1296" y="1936"/>
                  </a:lnTo>
                  <a:lnTo>
                    <a:pt x="1296" y="1942"/>
                  </a:lnTo>
                  <a:lnTo>
                    <a:pt x="1298" y="1948"/>
                  </a:lnTo>
                  <a:lnTo>
                    <a:pt x="1300" y="1952"/>
                  </a:lnTo>
                  <a:lnTo>
                    <a:pt x="1306" y="1956"/>
                  </a:lnTo>
                  <a:lnTo>
                    <a:pt x="1316" y="1964"/>
                  </a:lnTo>
                  <a:lnTo>
                    <a:pt x="1324" y="1970"/>
                  </a:lnTo>
                  <a:lnTo>
                    <a:pt x="1334" y="1982"/>
                  </a:lnTo>
                  <a:lnTo>
                    <a:pt x="1338" y="1988"/>
                  </a:lnTo>
                  <a:lnTo>
                    <a:pt x="1340" y="1988"/>
                  </a:lnTo>
                  <a:lnTo>
                    <a:pt x="1340" y="1980"/>
                  </a:lnTo>
                  <a:lnTo>
                    <a:pt x="1340" y="1974"/>
                  </a:lnTo>
                  <a:lnTo>
                    <a:pt x="1340" y="1968"/>
                  </a:lnTo>
                  <a:lnTo>
                    <a:pt x="1342" y="1962"/>
                  </a:lnTo>
                  <a:lnTo>
                    <a:pt x="1346" y="1960"/>
                  </a:lnTo>
                  <a:lnTo>
                    <a:pt x="1354" y="1956"/>
                  </a:lnTo>
                  <a:lnTo>
                    <a:pt x="1362" y="1950"/>
                  </a:lnTo>
                  <a:lnTo>
                    <a:pt x="1386" y="1930"/>
                  </a:lnTo>
                  <a:lnTo>
                    <a:pt x="1398" y="1920"/>
                  </a:lnTo>
                  <a:lnTo>
                    <a:pt x="1412" y="1912"/>
                  </a:lnTo>
                  <a:lnTo>
                    <a:pt x="1428" y="1908"/>
                  </a:lnTo>
                  <a:lnTo>
                    <a:pt x="1434" y="1908"/>
                  </a:lnTo>
                  <a:lnTo>
                    <a:pt x="1442" y="1908"/>
                  </a:lnTo>
                  <a:lnTo>
                    <a:pt x="1456" y="1910"/>
                  </a:lnTo>
                  <a:lnTo>
                    <a:pt x="1466" y="1906"/>
                  </a:lnTo>
                  <a:lnTo>
                    <a:pt x="1474" y="1902"/>
                  </a:lnTo>
                  <a:lnTo>
                    <a:pt x="1478" y="1896"/>
                  </a:lnTo>
                  <a:lnTo>
                    <a:pt x="1482" y="1890"/>
                  </a:lnTo>
                  <a:lnTo>
                    <a:pt x="1482" y="1884"/>
                  </a:lnTo>
                  <a:lnTo>
                    <a:pt x="1482" y="1878"/>
                  </a:lnTo>
                  <a:lnTo>
                    <a:pt x="1478" y="1874"/>
                  </a:lnTo>
                  <a:lnTo>
                    <a:pt x="1476" y="1870"/>
                  </a:lnTo>
                  <a:lnTo>
                    <a:pt x="1476" y="1866"/>
                  </a:lnTo>
                  <a:lnTo>
                    <a:pt x="1480" y="1856"/>
                  </a:lnTo>
                  <a:lnTo>
                    <a:pt x="1486" y="1842"/>
                  </a:lnTo>
                  <a:lnTo>
                    <a:pt x="1488" y="1836"/>
                  </a:lnTo>
                  <a:lnTo>
                    <a:pt x="1488" y="1828"/>
                  </a:lnTo>
                  <a:lnTo>
                    <a:pt x="1490" y="1812"/>
                  </a:lnTo>
                  <a:lnTo>
                    <a:pt x="1494" y="1794"/>
                  </a:lnTo>
                  <a:lnTo>
                    <a:pt x="1502" y="1776"/>
                  </a:lnTo>
                  <a:lnTo>
                    <a:pt x="1506" y="1770"/>
                  </a:lnTo>
                  <a:lnTo>
                    <a:pt x="1510" y="1766"/>
                  </a:lnTo>
                  <a:lnTo>
                    <a:pt x="1514" y="1760"/>
                  </a:lnTo>
                  <a:lnTo>
                    <a:pt x="1518" y="1750"/>
                  </a:lnTo>
                  <a:lnTo>
                    <a:pt x="1526" y="1718"/>
                  </a:lnTo>
                  <a:lnTo>
                    <a:pt x="1530" y="1700"/>
                  </a:lnTo>
                  <a:lnTo>
                    <a:pt x="1538" y="1680"/>
                  </a:lnTo>
                  <a:lnTo>
                    <a:pt x="1548" y="1662"/>
                  </a:lnTo>
                  <a:lnTo>
                    <a:pt x="1554" y="1654"/>
                  </a:lnTo>
                  <a:lnTo>
                    <a:pt x="1562" y="1646"/>
                  </a:lnTo>
                  <a:lnTo>
                    <a:pt x="1574" y="1634"/>
                  </a:lnTo>
                  <a:lnTo>
                    <a:pt x="1582" y="1626"/>
                  </a:lnTo>
                  <a:lnTo>
                    <a:pt x="1586" y="1618"/>
                  </a:lnTo>
                  <a:lnTo>
                    <a:pt x="1588" y="1612"/>
                  </a:lnTo>
                  <a:lnTo>
                    <a:pt x="1588" y="1604"/>
                  </a:lnTo>
                  <a:lnTo>
                    <a:pt x="1590" y="1598"/>
                  </a:lnTo>
                  <a:lnTo>
                    <a:pt x="1594" y="1590"/>
                  </a:lnTo>
                  <a:lnTo>
                    <a:pt x="1598" y="1576"/>
                  </a:lnTo>
                  <a:lnTo>
                    <a:pt x="1602" y="1566"/>
                  </a:lnTo>
                  <a:lnTo>
                    <a:pt x="1602" y="1556"/>
                  </a:lnTo>
                  <a:lnTo>
                    <a:pt x="1602" y="1546"/>
                  </a:lnTo>
                  <a:lnTo>
                    <a:pt x="1602" y="1532"/>
                  </a:lnTo>
                  <a:lnTo>
                    <a:pt x="1604" y="1524"/>
                  </a:lnTo>
                  <a:lnTo>
                    <a:pt x="1606" y="1516"/>
                  </a:lnTo>
                  <a:lnTo>
                    <a:pt x="1612" y="1504"/>
                  </a:lnTo>
                  <a:lnTo>
                    <a:pt x="1614" y="1494"/>
                  </a:lnTo>
                  <a:lnTo>
                    <a:pt x="1616" y="1476"/>
                  </a:lnTo>
                  <a:lnTo>
                    <a:pt x="1618" y="1458"/>
                  </a:lnTo>
                  <a:lnTo>
                    <a:pt x="1620" y="1448"/>
                  </a:lnTo>
                  <a:lnTo>
                    <a:pt x="1626" y="1438"/>
                  </a:lnTo>
                  <a:lnTo>
                    <a:pt x="1628" y="1432"/>
                  </a:lnTo>
                  <a:lnTo>
                    <a:pt x="1630" y="1426"/>
                  </a:lnTo>
                  <a:lnTo>
                    <a:pt x="1628" y="1412"/>
                  </a:lnTo>
                  <a:lnTo>
                    <a:pt x="1626" y="1398"/>
                  </a:lnTo>
                  <a:lnTo>
                    <a:pt x="1622" y="1384"/>
                  </a:lnTo>
                  <a:lnTo>
                    <a:pt x="1612" y="1358"/>
                  </a:lnTo>
                  <a:lnTo>
                    <a:pt x="1610" y="1350"/>
                  </a:lnTo>
                  <a:lnTo>
                    <a:pt x="1610" y="1344"/>
                  </a:lnTo>
                  <a:close/>
                  <a:moveTo>
                    <a:pt x="1412" y="2026"/>
                  </a:moveTo>
                  <a:lnTo>
                    <a:pt x="1412" y="2026"/>
                  </a:lnTo>
                  <a:lnTo>
                    <a:pt x="1408" y="2024"/>
                  </a:lnTo>
                  <a:lnTo>
                    <a:pt x="1406" y="2020"/>
                  </a:lnTo>
                  <a:lnTo>
                    <a:pt x="1404" y="2016"/>
                  </a:lnTo>
                  <a:lnTo>
                    <a:pt x="1402" y="2014"/>
                  </a:lnTo>
                  <a:lnTo>
                    <a:pt x="1400" y="2014"/>
                  </a:lnTo>
                  <a:lnTo>
                    <a:pt x="1396" y="2018"/>
                  </a:lnTo>
                  <a:lnTo>
                    <a:pt x="1392" y="2022"/>
                  </a:lnTo>
                  <a:lnTo>
                    <a:pt x="1392" y="2024"/>
                  </a:lnTo>
                  <a:lnTo>
                    <a:pt x="1394" y="2024"/>
                  </a:lnTo>
                  <a:lnTo>
                    <a:pt x="1396" y="2026"/>
                  </a:lnTo>
                  <a:lnTo>
                    <a:pt x="1398" y="2028"/>
                  </a:lnTo>
                  <a:lnTo>
                    <a:pt x="1400" y="2038"/>
                  </a:lnTo>
                  <a:lnTo>
                    <a:pt x="1402" y="2040"/>
                  </a:lnTo>
                  <a:lnTo>
                    <a:pt x="1404" y="2042"/>
                  </a:lnTo>
                  <a:lnTo>
                    <a:pt x="1410" y="2044"/>
                  </a:lnTo>
                  <a:lnTo>
                    <a:pt x="1414" y="2042"/>
                  </a:lnTo>
                  <a:lnTo>
                    <a:pt x="1414" y="2040"/>
                  </a:lnTo>
                  <a:lnTo>
                    <a:pt x="1414" y="2036"/>
                  </a:lnTo>
                  <a:lnTo>
                    <a:pt x="1412" y="2034"/>
                  </a:lnTo>
                  <a:lnTo>
                    <a:pt x="1412" y="2032"/>
                  </a:lnTo>
                  <a:lnTo>
                    <a:pt x="1414" y="2030"/>
                  </a:lnTo>
                  <a:lnTo>
                    <a:pt x="1416" y="2028"/>
                  </a:lnTo>
                  <a:lnTo>
                    <a:pt x="1412" y="2026"/>
                  </a:lnTo>
                  <a:close/>
                  <a:moveTo>
                    <a:pt x="1708" y="300"/>
                  </a:moveTo>
                  <a:lnTo>
                    <a:pt x="1708" y="300"/>
                  </a:lnTo>
                  <a:lnTo>
                    <a:pt x="1704" y="298"/>
                  </a:lnTo>
                  <a:lnTo>
                    <a:pt x="1700" y="294"/>
                  </a:lnTo>
                  <a:lnTo>
                    <a:pt x="1694" y="284"/>
                  </a:lnTo>
                  <a:lnTo>
                    <a:pt x="1688" y="274"/>
                  </a:lnTo>
                  <a:lnTo>
                    <a:pt x="1686" y="272"/>
                  </a:lnTo>
                  <a:lnTo>
                    <a:pt x="1682" y="268"/>
                  </a:lnTo>
                  <a:lnTo>
                    <a:pt x="1678" y="266"/>
                  </a:lnTo>
                  <a:lnTo>
                    <a:pt x="1676" y="262"/>
                  </a:lnTo>
                  <a:lnTo>
                    <a:pt x="1672" y="252"/>
                  </a:lnTo>
                  <a:lnTo>
                    <a:pt x="1668" y="244"/>
                  </a:lnTo>
                  <a:lnTo>
                    <a:pt x="1668" y="242"/>
                  </a:lnTo>
                  <a:lnTo>
                    <a:pt x="1664" y="244"/>
                  </a:lnTo>
                  <a:lnTo>
                    <a:pt x="1662" y="248"/>
                  </a:lnTo>
                  <a:lnTo>
                    <a:pt x="1662" y="250"/>
                  </a:lnTo>
                  <a:lnTo>
                    <a:pt x="1666" y="256"/>
                  </a:lnTo>
                  <a:lnTo>
                    <a:pt x="1670" y="264"/>
                  </a:lnTo>
                  <a:lnTo>
                    <a:pt x="1672" y="268"/>
                  </a:lnTo>
                  <a:lnTo>
                    <a:pt x="1672" y="276"/>
                  </a:lnTo>
                  <a:lnTo>
                    <a:pt x="1672" y="282"/>
                  </a:lnTo>
                  <a:lnTo>
                    <a:pt x="1672" y="288"/>
                  </a:lnTo>
                  <a:lnTo>
                    <a:pt x="1680" y="298"/>
                  </a:lnTo>
                  <a:lnTo>
                    <a:pt x="1688" y="306"/>
                  </a:lnTo>
                  <a:lnTo>
                    <a:pt x="1690" y="310"/>
                  </a:lnTo>
                  <a:lnTo>
                    <a:pt x="1692" y="316"/>
                  </a:lnTo>
                  <a:lnTo>
                    <a:pt x="1694" y="324"/>
                  </a:lnTo>
                  <a:lnTo>
                    <a:pt x="1700" y="330"/>
                  </a:lnTo>
                  <a:lnTo>
                    <a:pt x="1708" y="332"/>
                  </a:lnTo>
                  <a:lnTo>
                    <a:pt x="1716" y="330"/>
                  </a:lnTo>
                  <a:lnTo>
                    <a:pt x="1720" y="328"/>
                  </a:lnTo>
                  <a:lnTo>
                    <a:pt x="1722" y="326"/>
                  </a:lnTo>
                  <a:lnTo>
                    <a:pt x="1722" y="322"/>
                  </a:lnTo>
                  <a:lnTo>
                    <a:pt x="1720" y="316"/>
                  </a:lnTo>
                  <a:lnTo>
                    <a:pt x="1716" y="306"/>
                  </a:lnTo>
                  <a:lnTo>
                    <a:pt x="1712" y="304"/>
                  </a:lnTo>
                  <a:lnTo>
                    <a:pt x="1708" y="300"/>
                  </a:lnTo>
                  <a:close/>
                  <a:moveTo>
                    <a:pt x="1712" y="342"/>
                  </a:moveTo>
                  <a:lnTo>
                    <a:pt x="1712" y="342"/>
                  </a:lnTo>
                  <a:lnTo>
                    <a:pt x="1712" y="346"/>
                  </a:lnTo>
                  <a:lnTo>
                    <a:pt x="1716" y="346"/>
                  </a:lnTo>
                  <a:lnTo>
                    <a:pt x="1718" y="346"/>
                  </a:lnTo>
                  <a:lnTo>
                    <a:pt x="1720" y="344"/>
                  </a:lnTo>
                  <a:lnTo>
                    <a:pt x="1718" y="340"/>
                  </a:lnTo>
                  <a:lnTo>
                    <a:pt x="1716" y="338"/>
                  </a:lnTo>
                  <a:lnTo>
                    <a:pt x="1712" y="340"/>
                  </a:lnTo>
                  <a:lnTo>
                    <a:pt x="1712" y="342"/>
                  </a:lnTo>
                  <a:close/>
                  <a:moveTo>
                    <a:pt x="1238" y="2006"/>
                  </a:moveTo>
                  <a:lnTo>
                    <a:pt x="1238" y="2006"/>
                  </a:lnTo>
                  <a:lnTo>
                    <a:pt x="1236" y="2012"/>
                  </a:lnTo>
                  <a:lnTo>
                    <a:pt x="1234" y="2024"/>
                  </a:lnTo>
                  <a:lnTo>
                    <a:pt x="1236" y="2032"/>
                  </a:lnTo>
                  <a:lnTo>
                    <a:pt x="1240" y="2034"/>
                  </a:lnTo>
                  <a:lnTo>
                    <a:pt x="1242" y="2032"/>
                  </a:lnTo>
                  <a:lnTo>
                    <a:pt x="1244" y="2028"/>
                  </a:lnTo>
                  <a:lnTo>
                    <a:pt x="1246" y="2024"/>
                  </a:lnTo>
                  <a:lnTo>
                    <a:pt x="1246" y="2014"/>
                  </a:lnTo>
                  <a:lnTo>
                    <a:pt x="1242" y="2006"/>
                  </a:lnTo>
                  <a:lnTo>
                    <a:pt x="1240" y="2004"/>
                  </a:lnTo>
                  <a:lnTo>
                    <a:pt x="1238" y="2006"/>
                  </a:lnTo>
                  <a:close/>
                  <a:moveTo>
                    <a:pt x="1414" y="2116"/>
                  </a:moveTo>
                  <a:lnTo>
                    <a:pt x="1414" y="2116"/>
                  </a:lnTo>
                  <a:lnTo>
                    <a:pt x="1414" y="2106"/>
                  </a:lnTo>
                  <a:lnTo>
                    <a:pt x="1414" y="2096"/>
                  </a:lnTo>
                  <a:lnTo>
                    <a:pt x="1414" y="2088"/>
                  </a:lnTo>
                  <a:lnTo>
                    <a:pt x="1412" y="2082"/>
                  </a:lnTo>
                  <a:lnTo>
                    <a:pt x="1408" y="2076"/>
                  </a:lnTo>
                  <a:lnTo>
                    <a:pt x="1406" y="2072"/>
                  </a:lnTo>
                  <a:lnTo>
                    <a:pt x="1402" y="2072"/>
                  </a:lnTo>
                  <a:lnTo>
                    <a:pt x="1400" y="2074"/>
                  </a:lnTo>
                  <a:lnTo>
                    <a:pt x="1398" y="2078"/>
                  </a:lnTo>
                  <a:lnTo>
                    <a:pt x="1396" y="2078"/>
                  </a:lnTo>
                  <a:lnTo>
                    <a:pt x="1392" y="2076"/>
                  </a:lnTo>
                  <a:lnTo>
                    <a:pt x="1388" y="2076"/>
                  </a:lnTo>
                  <a:lnTo>
                    <a:pt x="1386" y="2078"/>
                  </a:lnTo>
                  <a:lnTo>
                    <a:pt x="1382" y="2080"/>
                  </a:lnTo>
                  <a:lnTo>
                    <a:pt x="1380" y="2082"/>
                  </a:lnTo>
                  <a:lnTo>
                    <a:pt x="1378" y="2082"/>
                  </a:lnTo>
                  <a:lnTo>
                    <a:pt x="1370" y="2082"/>
                  </a:lnTo>
                  <a:lnTo>
                    <a:pt x="1352" y="2088"/>
                  </a:lnTo>
                  <a:lnTo>
                    <a:pt x="1340" y="2092"/>
                  </a:lnTo>
                  <a:lnTo>
                    <a:pt x="1332" y="2094"/>
                  </a:lnTo>
                  <a:lnTo>
                    <a:pt x="1324" y="2092"/>
                  </a:lnTo>
                  <a:lnTo>
                    <a:pt x="1320" y="2088"/>
                  </a:lnTo>
                  <a:lnTo>
                    <a:pt x="1310" y="2080"/>
                  </a:lnTo>
                  <a:lnTo>
                    <a:pt x="1304" y="2076"/>
                  </a:lnTo>
                  <a:lnTo>
                    <a:pt x="1296" y="2076"/>
                  </a:lnTo>
                  <a:lnTo>
                    <a:pt x="1288" y="2074"/>
                  </a:lnTo>
                  <a:lnTo>
                    <a:pt x="1282" y="2072"/>
                  </a:lnTo>
                  <a:lnTo>
                    <a:pt x="1274" y="2066"/>
                  </a:lnTo>
                  <a:lnTo>
                    <a:pt x="1272" y="2064"/>
                  </a:lnTo>
                  <a:lnTo>
                    <a:pt x="1270" y="2064"/>
                  </a:lnTo>
                  <a:lnTo>
                    <a:pt x="1266" y="2078"/>
                  </a:lnTo>
                  <a:lnTo>
                    <a:pt x="1264" y="2086"/>
                  </a:lnTo>
                  <a:lnTo>
                    <a:pt x="1266" y="2094"/>
                  </a:lnTo>
                  <a:lnTo>
                    <a:pt x="1276" y="2118"/>
                  </a:lnTo>
                  <a:lnTo>
                    <a:pt x="1280" y="2130"/>
                  </a:lnTo>
                  <a:lnTo>
                    <a:pt x="1284" y="2134"/>
                  </a:lnTo>
                  <a:lnTo>
                    <a:pt x="1288" y="2136"/>
                  </a:lnTo>
                  <a:lnTo>
                    <a:pt x="1288" y="2144"/>
                  </a:lnTo>
                  <a:lnTo>
                    <a:pt x="1288" y="2158"/>
                  </a:lnTo>
                  <a:lnTo>
                    <a:pt x="1292" y="2174"/>
                  </a:lnTo>
                  <a:lnTo>
                    <a:pt x="1296" y="2186"/>
                  </a:lnTo>
                  <a:lnTo>
                    <a:pt x="1300" y="2192"/>
                  </a:lnTo>
                  <a:lnTo>
                    <a:pt x="1304" y="2198"/>
                  </a:lnTo>
                  <a:lnTo>
                    <a:pt x="1310" y="2202"/>
                  </a:lnTo>
                  <a:lnTo>
                    <a:pt x="1312" y="2206"/>
                  </a:lnTo>
                  <a:lnTo>
                    <a:pt x="1318" y="2216"/>
                  </a:lnTo>
                  <a:lnTo>
                    <a:pt x="1322" y="2224"/>
                  </a:lnTo>
                  <a:lnTo>
                    <a:pt x="1324" y="2226"/>
                  </a:lnTo>
                  <a:lnTo>
                    <a:pt x="1328" y="2226"/>
                  </a:lnTo>
                  <a:lnTo>
                    <a:pt x="1332" y="2226"/>
                  </a:lnTo>
                  <a:lnTo>
                    <a:pt x="1338" y="2226"/>
                  </a:lnTo>
                  <a:lnTo>
                    <a:pt x="1352" y="2230"/>
                  </a:lnTo>
                  <a:lnTo>
                    <a:pt x="1356" y="2232"/>
                  </a:lnTo>
                  <a:lnTo>
                    <a:pt x="1358" y="2230"/>
                  </a:lnTo>
                  <a:lnTo>
                    <a:pt x="1360" y="2226"/>
                  </a:lnTo>
                  <a:lnTo>
                    <a:pt x="1362" y="2220"/>
                  </a:lnTo>
                  <a:lnTo>
                    <a:pt x="1366" y="2214"/>
                  </a:lnTo>
                  <a:lnTo>
                    <a:pt x="1370" y="2212"/>
                  </a:lnTo>
                  <a:lnTo>
                    <a:pt x="1372" y="2208"/>
                  </a:lnTo>
                  <a:lnTo>
                    <a:pt x="1374" y="2200"/>
                  </a:lnTo>
                  <a:lnTo>
                    <a:pt x="1376" y="2194"/>
                  </a:lnTo>
                  <a:lnTo>
                    <a:pt x="1378" y="2194"/>
                  </a:lnTo>
                  <a:lnTo>
                    <a:pt x="1378" y="2196"/>
                  </a:lnTo>
                  <a:lnTo>
                    <a:pt x="1380" y="2198"/>
                  </a:lnTo>
                  <a:lnTo>
                    <a:pt x="1382" y="2198"/>
                  </a:lnTo>
                  <a:lnTo>
                    <a:pt x="1382" y="2194"/>
                  </a:lnTo>
                  <a:lnTo>
                    <a:pt x="1384" y="2190"/>
                  </a:lnTo>
                  <a:lnTo>
                    <a:pt x="1386" y="2188"/>
                  </a:lnTo>
                  <a:lnTo>
                    <a:pt x="1388" y="2188"/>
                  </a:lnTo>
                  <a:lnTo>
                    <a:pt x="1392" y="2192"/>
                  </a:lnTo>
                  <a:lnTo>
                    <a:pt x="1394" y="2194"/>
                  </a:lnTo>
                  <a:lnTo>
                    <a:pt x="1394" y="2196"/>
                  </a:lnTo>
                  <a:lnTo>
                    <a:pt x="1392" y="2196"/>
                  </a:lnTo>
                  <a:lnTo>
                    <a:pt x="1388" y="2198"/>
                  </a:lnTo>
                  <a:lnTo>
                    <a:pt x="1388" y="2202"/>
                  </a:lnTo>
                  <a:lnTo>
                    <a:pt x="1390" y="2206"/>
                  </a:lnTo>
                  <a:lnTo>
                    <a:pt x="1398" y="2210"/>
                  </a:lnTo>
                  <a:lnTo>
                    <a:pt x="1402" y="2208"/>
                  </a:lnTo>
                  <a:lnTo>
                    <a:pt x="1404" y="2206"/>
                  </a:lnTo>
                  <a:lnTo>
                    <a:pt x="1402" y="2194"/>
                  </a:lnTo>
                  <a:lnTo>
                    <a:pt x="1400" y="2180"/>
                  </a:lnTo>
                  <a:lnTo>
                    <a:pt x="1400" y="2174"/>
                  </a:lnTo>
                  <a:lnTo>
                    <a:pt x="1402" y="2170"/>
                  </a:lnTo>
                  <a:lnTo>
                    <a:pt x="1404" y="2168"/>
                  </a:lnTo>
                  <a:lnTo>
                    <a:pt x="1404" y="2166"/>
                  </a:lnTo>
                  <a:lnTo>
                    <a:pt x="1402" y="2160"/>
                  </a:lnTo>
                  <a:lnTo>
                    <a:pt x="1402" y="2152"/>
                  </a:lnTo>
                  <a:lnTo>
                    <a:pt x="1402" y="2150"/>
                  </a:lnTo>
                  <a:lnTo>
                    <a:pt x="1404" y="2146"/>
                  </a:lnTo>
                  <a:lnTo>
                    <a:pt x="1408" y="2144"/>
                  </a:lnTo>
                  <a:lnTo>
                    <a:pt x="1410" y="2144"/>
                  </a:lnTo>
                  <a:lnTo>
                    <a:pt x="1410" y="2150"/>
                  </a:lnTo>
                  <a:lnTo>
                    <a:pt x="1412" y="2154"/>
                  </a:lnTo>
                  <a:lnTo>
                    <a:pt x="1414" y="2152"/>
                  </a:lnTo>
                  <a:lnTo>
                    <a:pt x="1416" y="2148"/>
                  </a:lnTo>
                  <a:lnTo>
                    <a:pt x="1416" y="2146"/>
                  </a:lnTo>
                  <a:lnTo>
                    <a:pt x="1414" y="2140"/>
                  </a:lnTo>
                  <a:lnTo>
                    <a:pt x="1412" y="2132"/>
                  </a:lnTo>
                  <a:lnTo>
                    <a:pt x="1412" y="2124"/>
                  </a:lnTo>
                  <a:lnTo>
                    <a:pt x="1414" y="2116"/>
                  </a:lnTo>
                  <a:close/>
                  <a:moveTo>
                    <a:pt x="984" y="1792"/>
                  </a:moveTo>
                  <a:lnTo>
                    <a:pt x="984" y="1792"/>
                  </a:lnTo>
                  <a:lnTo>
                    <a:pt x="980" y="1788"/>
                  </a:lnTo>
                  <a:lnTo>
                    <a:pt x="974" y="1788"/>
                  </a:lnTo>
                  <a:lnTo>
                    <a:pt x="966" y="1788"/>
                  </a:lnTo>
                  <a:lnTo>
                    <a:pt x="958" y="1792"/>
                  </a:lnTo>
                  <a:lnTo>
                    <a:pt x="950" y="1794"/>
                  </a:lnTo>
                  <a:lnTo>
                    <a:pt x="944" y="1798"/>
                  </a:lnTo>
                  <a:lnTo>
                    <a:pt x="942" y="1804"/>
                  </a:lnTo>
                  <a:lnTo>
                    <a:pt x="940" y="1808"/>
                  </a:lnTo>
                  <a:lnTo>
                    <a:pt x="942" y="1810"/>
                  </a:lnTo>
                  <a:lnTo>
                    <a:pt x="948" y="1812"/>
                  </a:lnTo>
                  <a:lnTo>
                    <a:pt x="960" y="1814"/>
                  </a:lnTo>
                  <a:lnTo>
                    <a:pt x="974" y="1812"/>
                  </a:lnTo>
                  <a:lnTo>
                    <a:pt x="982" y="1810"/>
                  </a:lnTo>
                  <a:lnTo>
                    <a:pt x="990" y="1808"/>
                  </a:lnTo>
                  <a:lnTo>
                    <a:pt x="998" y="1808"/>
                  </a:lnTo>
                  <a:lnTo>
                    <a:pt x="1004" y="1806"/>
                  </a:lnTo>
                  <a:lnTo>
                    <a:pt x="1004" y="1804"/>
                  </a:lnTo>
                  <a:lnTo>
                    <a:pt x="1002" y="1800"/>
                  </a:lnTo>
                  <a:lnTo>
                    <a:pt x="1000" y="1798"/>
                  </a:lnTo>
                  <a:lnTo>
                    <a:pt x="994" y="1798"/>
                  </a:lnTo>
                  <a:lnTo>
                    <a:pt x="990" y="1796"/>
                  </a:lnTo>
                  <a:lnTo>
                    <a:pt x="984" y="1792"/>
                  </a:lnTo>
                  <a:close/>
                  <a:moveTo>
                    <a:pt x="2204" y="1064"/>
                  </a:moveTo>
                  <a:lnTo>
                    <a:pt x="2204" y="1064"/>
                  </a:lnTo>
                  <a:lnTo>
                    <a:pt x="2206" y="1066"/>
                  </a:lnTo>
                  <a:lnTo>
                    <a:pt x="2208" y="1066"/>
                  </a:lnTo>
                  <a:lnTo>
                    <a:pt x="2212" y="1066"/>
                  </a:lnTo>
                  <a:lnTo>
                    <a:pt x="2214" y="1060"/>
                  </a:lnTo>
                  <a:lnTo>
                    <a:pt x="2214" y="1058"/>
                  </a:lnTo>
                  <a:lnTo>
                    <a:pt x="2212" y="1054"/>
                  </a:lnTo>
                  <a:lnTo>
                    <a:pt x="2210" y="1050"/>
                  </a:lnTo>
                  <a:lnTo>
                    <a:pt x="2208" y="1048"/>
                  </a:lnTo>
                  <a:lnTo>
                    <a:pt x="2206" y="1048"/>
                  </a:lnTo>
                  <a:lnTo>
                    <a:pt x="2204" y="1050"/>
                  </a:lnTo>
                  <a:lnTo>
                    <a:pt x="2202" y="1054"/>
                  </a:lnTo>
                  <a:lnTo>
                    <a:pt x="2204" y="1064"/>
                  </a:lnTo>
                  <a:close/>
                  <a:moveTo>
                    <a:pt x="2218" y="862"/>
                  </a:moveTo>
                  <a:lnTo>
                    <a:pt x="2218" y="862"/>
                  </a:lnTo>
                  <a:lnTo>
                    <a:pt x="2216" y="866"/>
                  </a:lnTo>
                  <a:lnTo>
                    <a:pt x="2218" y="870"/>
                  </a:lnTo>
                  <a:lnTo>
                    <a:pt x="2222" y="872"/>
                  </a:lnTo>
                  <a:lnTo>
                    <a:pt x="2228" y="874"/>
                  </a:lnTo>
                  <a:lnTo>
                    <a:pt x="2230" y="872"/>
                  </a:lnTo>
                  <a:lnTo>
                    <a:pt x="2230" y="870"/>
                  </a:lnTo>
                  <a:lnTo>
                    <a:pt x="2228" y="864"/>
                  </a:lnTo>
                  <a:lnTo>
                    <a:pt x="2222" y="860"/>
                  </a:lnTo>
                  <a:lnTo>
                    <a:pt x="2220" y="860"/>
                  </a:lnTo>
                  <a:lnTo>
                    <a:pt x="2218" y="862"/>
                  </a:lnTo>
                  <a:close/>
                  <a:moveTo>
                    <a:pt x="2220" y="824"/>
                  </a:moveTo>
                  <a:lnTo>
                    <a:pt x="2220" y="824"/>
                  </a:lnTo>
                  <a:lnTo>
                    <a:pt x="2222" y="824"/>
                  </a:lnTo>
                  <a:lnTo>
                    <a:pt x="2222" y="822"/>
                  </a:lnTo>
                  <a:lnTo>
                    <a:pt x="2216" y="814"/>
                  </a:lnTo>
                  <a:lnTo>
                    <a:pt x="2216" y="812"/>
                  </a:lnTo>
                  <a:lnTo>
                    <a:pt x="2214" y="814"/>
                  </a:lnTo>
                  <a:lnTo>
                    <a:pt x="2212" y="816"/>
                  </a:lnTo>
                  <a:lnTo>
                    <a:pt x="2214" y="822"/>
                  </a:lnTo>
                  <a:lnTo>
                    <a:pt x="2216" y="822"/>
                  </a:lnTo>
                  <a:lnTo>
                    <a:pt x="2220" y="824"/>
                  </a:lnTo>
                  <a:close/>
                  <a:moveTo>
                    <a:pt x="2124" y="1064"/>
                  </a:moveTo>
                  <a:lnTo>
                    <a:pt x="2124" y="1064"/>
                  </a:lnTo>
                  <a:lnTo>
                    <a:pt x="2118" y="1060"/>
                  </a:lnTo>
                  <a:lnTo>
                    <a:pt x="2116" y="1060"/>
                  </a:lnTo>
                  <a:lnTo>
                    <a:pt x="2114" y="1062"/>
                  </a:lnTo>
                  <a:lnTo>
                    <a:pt x="2096" y="1042"/>
                  </a:lnTo>
                  <a:lnTo>
                    <a:pt x="2094" y="1038"/>
                  </a:lnTo>
                  <a:lnTo>
                    <a:pt x="2090" y="1032"/>
                  </a:lnTo>
                  <a:lnTo>
                    <a:pt x="2076" y="1018"/>
                  </a:lnTo>
                  <a:lnTo>
                    <a:pt x="2060" y="1008"/>
                  </a:lnTo>
                  <a:lnTo>
                    <a:pt x="2050" y="1000"/>
                  </a:lnTo>
                  <a:lnTo>
                    <a:pt x="2050" y="1004"/>
                  </a:lnTo>
                  <a:lnTo>
                    <a:pt x="2044" y="998"/>
                  </a:lnTo>
                  <a:lnTo>
                    <a:pt x="2040" y="994"/>
                  </a:lnTo>
                  <a:lnTo>
                    <a:pt x="2036" y="992"/>
                  </a:lnTo>
                  <a:lnTo>
                    <a:pt x="2040" y="1000"/>
                  </a:lnTo>
                  <a:lnTo>
                    <a:pt x="2050" y="1020"/>
                  </a:lnTo>
                  <a:lnTo>
                    <a:pt x="2052" y="1024"/>
                  </a:lnTo>
                  <a:lnTo>
                    <a:pt x="2052" y="1026"/>
                  </a:lnTo>
                  <a:lnTo>
                    <a:pt x="2064" y="1036"/>
                  </a:lnTo>
                  <a:lnTo>
                    <a:pt x="2070" y="1042"/>
                  </a:lnTo>
                  <a:lnTo>
                    <a:pt x="2076" y="1056"/>
                  </a:lnTo>
                  <a:lnTo>
                    <a:pt x="2076" y="1054"/>
                  </a:lnTo>
                  <a:lnTo>
                    <a:pt x="2078" y="1058"/>
                  </a:lnTo>
                  <a:lnTo>
                    <a:pt x="2082" y="1058"/>
                  </a:lnTo>
                  <a:lnTo>
                    <a:pt x="2088" y="1064"/>
                  </a:lnTo>
                  <a:lnTo>
                    <a:pt x="2094" y="1070"/>
                  </a:lnTo>
                  <a:lnTo>
                    <a:pt x="2102" y="1074"/>
                  </a:lnTo>
                  <a:lnTo>
                    <a:pt x="2110" y="1080"/>
                  </a:lnTo>
                  <a:lnTo>
                    <a:pt x="2116" y="1086"/>
                  </a:lnTo>
                  <a:lnTo>
                    <a:pt x="2136" y="1098"/>
                  </a:lnTo>
                  <a:lnTo>
                    <a:pt x="2136" y="1102"/>
                  </a:lnTo>
                  <a:lnTo>
                    <a:pt x="2136" y="1104"/>
                  </a:lnTo>
                  <a:lnTo>
                    <a:pt x="2154" y="1100"/>
                  </a:lnTo>
                  <a:lnTo>
                    <a:pt x="2158" y="1098"/>
                  </a:lnTo>
                  <a:lnTo>
                    <a:pt x="2158" y="1096"/>
                  </a:lnTo>
                  <a:lnTo>
                    <a:pt x="2148" y="1086"/>
                  </a:lnTo>
                  <a:lnTo>
                    <a:pt x="2124" y="1064"/>
                  </a:lnTo>
                  <a:close/>
                  <a:moveTo>
                    <a:pt x="2172" y="1036"/>
                  </a:moveTo>
                  <a:lnTo>
                    <a:pt x="2172" y="1036"/>
                  </a:lnTo>
                  <a:lnTo>
                    <a:pt x="2178" y="1038"/>
                  </a:lnTo>
                  <a:lnTo>
                    <a:pt x="2182" y="1040"/>
                  </a:lnTo>
                  <a:lnTo>
                    <a:pt x="2184" y="1038"/>
                  </a:lnTo>
                  <a:lnTo>
                    <a:pt x="2186" y="1036"/>
                  </a:lnTo>
                  <a:lnTo>
                    <a:pt x="2186" y="1030"/>
                  </a:lnTo>
                  <a:lnTo>
                    <a:pt x="2182" y="1024"/>
                  </a:lnTo>
                  <a:lnTo>
                    <a:pt x="2176" y="1018"/>
                  </a:lnTo>
                  <a:lnTo>
                    <a:pt x="2172" y="1016"/>
                  </a:lnTo>
                  <a:lnTo>
                    <a:pt x="2168" y="1018"/>
                  </a:lnTo>
                  <a:lnTo>
                    <a:pt x="2168" y="1020"/>
                  </a:lnTo>
                  <a:lnTo>
                    <a:pt x="2170" y="1020"/>
                  </a:lnTo>
                  <a:lnTo>
                    <a:pt x="2172" y="1022"/>
                  </a:lnTo>
                  <a:lnTo>
                    <a:pt x="2172" y="1024"/>
                  </a:lnTo>
                  <a:lnTo>
                    <a:pt x="2170" y="1028"/>
                  </a:lnTo>
                  <a:lnTo>
                    <a:pt x="2168" y="1032"/>
                  </a:lnTo>
                  <a:lnTo>
                    <a:pt x="2170" y="1034"/>
                  </a:lnTo>
                  <a:lnTo>
                    <a:pt x="2172" y="1036"/>
                  </a:lnTo>
                  <a:close/>
                  <a:moveTo>
                    <a:pt x="2152" y="752"/>
                  </a:moveTo>
                  <a:lnTo>
                    <a:pt x="2152" y="752"/>
                  </a:lnTo>
                  <a:lnTo>
                    <a:pt x="2154" y="760"/>
                  </a:lnTo>
                  <a:lnTo>
                    <a:pt x="2156" y="764"/>
                  </a:lnTo>
                  <a:lnTo>
                    <a:pt x="2160" y="766"/>
                  </a:lnTo>
                  <a:lnTo>
                    <a:pt x="2168" y="764"/>
                  </a:lnTo>
                  <a:lnTo>
                    <a:pt x="2172" y="762"/>
                  </a:lnTo>
                  <a:lnTo>
                    <a:pt x="2174" y="760"/>
                  </a:lnTo>
                  <a:lnTo>
                    <a:pt x="2176" y="758"/>
                  </a:lnTo>
                  <a:lnTo>
                    <a:pt x="2176" y="754"/>
                  </a:lnTo>
                  <a:lnTo>
                    <a:pt x="2174" y="746"/>
                  </a:lnTo>
                  <a:lnTo>
                    <a:pt x="2170" y="736"/>
                  </a:lnTo>
                  <a:lnTo>
                    <a:pt x="2168" y="732"/>
                  </a:lnTo>
                  <a:lnTo>
                    <a:pt x="2166" y="732"/>
                  </a:lnTo>
                  <a:lnTo>
                    <a:pt x="2164" y="734"/>
                  </a:lnTo>
                  <a:lnTo>
                    <a:pt x="2162" y="736"/>
                  </a:lnTo>
                  <a:lnTo>
                    <a:pt x="2158" y="730"/>
                  </a:lnTo>
                  <a:lnTo>
                    <a:pt x="2156" y="724"/>
                  </a:lnTo>
                  <a:lnTo>
                    <a:pt x="2154" y="718"/>
                  </a:lnTo>
                  <a:lnTo>
                    <a:pt x="2152" y="716"/>
                  </a:lnTo>
                  <a:lnTo>
                    <a:pt x="2148" y="716"/>
                  </a:lnTo>
                  <a:lnTo>
                    <a:pt x="2146" y="718"/>
                  </a:lnTo>
                  <a:lnTo>
                    <a:pt x="2146" y="722"/>
                  </a:lnTo>
                  <a:lnTo>
                    <a:pt x="2148" y="726"/>
                  </a:lnTo>
                  <a:lnTo>
                    <a:pt x="2152" y="736"/>
                  </a:lnTo>
                  <a:lnTo>
                    <a:pt x="2152" y="742"/>
                  </a:lnTo>
                  <a:lnTo>
                    <a:pt x="2152" y="746"/>
                  </a:lnTo>
                  <a:lnTo>
                    <a:pt x="2152" y="752"/>
                  </a:lnTo>
                  <a:close/>
                  <a:moveTo>
                    <a:pt x="2196" y="758"/>
                  </a:moveTo>
                  <a:lnTo>
                    <a:pt x="2196" y="758"/>
                  </a:lnTo>
                  <a:lnTo>
                    <a:pt x="2202" y="754"/>
                  </a:lnTo>
                  <a:lnTo>
                    <a:pt x="2206" y="750"/>
                  </a:lnTo>
                  <a:lnTo>
                    <a:pt x="2208" y="748"/>
                  </a:lnTo>
                  <a:lnTo>
                    <a:pt x="2206" y="746"/>
                  </a:lnTo>
                  <a:lnTo>
                    <a:pt x="2202" y="746"/>
                  </a:lnTo>
                  <a:lnTo>
                    <a:pt x="2198" y="748"/>
                  </a:lnTo>
                  <a:lnTo>
                    <a:pt x="2194" y="752"/>
                  </a:lnTo>
                  <a:lnTo>
                    <a:pt x="2194" y="754"/>
                  </a:lnTo>
                  <a:lnTo>
                    <a:pt x="2196" y="758"/>
                  </a:lnTo>
                  <a:close/>
                  <a:moveTo>
                    <a:pt x="2206" y="798"/>
                  </a:moveTo>
                  <a:lnTo>
                    <a:pt x="2206" y="798"/>
                  </a:lnTo>
                  <a:lnTo>
                    <a:pt x="2210" y="800"/>
                  </a:lnTo>
                  <a:lnTo>
                    <a:pt x="2214" y="800"/>
                  </a:lnTo>
                  <a:lnTo>
                    <a:pt x="2216" y="798"/>
                  </a:lnTo>
                  <a:lnTo>
                    <a:pt x="2216" y="792"/>
                  </a:lnTo>
                  <a:lnTo>
                    <a:pt x="2216" y="790"/>
                  </a:lnTo>
                  <a:lnTo>
                    <a:pt x="2214" y="788"/>
                  </a:lnTo>
                  <a:lnTo>
                    <a:pt x="2208" y="790"/>
                  </a:lnTo>
                  <a:lnTo>
                    <a:pt x="2204" y="794"/>
                  </a:lnTo>
                  <a:lnTo>
                    <a:pt x="2204" y="796"/>
                  </a:lnTo>
                  <a:lnTo>
                    <a:pt x="2206" y="798"/>
                  </a:lnTo>
                  <a:close/>
                  <a:moveTo>
                    <a:pt x="1762" y="382"/>
                  </a:moveTo>
                  <a:lnTo>
                    <a:pt x="1762" y="382"/>
                  </a:lnTo>
                  <a:lnTo>
                    <a:pt x="1762" y="386"/>
                  </a:lnTo>
                  <a:lnTo>
                    <a:pt x="1764" y="392"/>
                  </a:lnTo>
                  <a:lnTo>
                    <a:pt x="1768" y="394"/>
                  </a:lnTo>
                  <a:lnTo>
                    <a:pt x="1770" y="394"/>
                  </a:lnTo>
                  <a:lnTo>
                    <a:pt x="1772" y="392"/>
                  </a:lnTo>
                  <a:lnTo>
                    <a:pt x="1774" y="390"/>
                  </a:lnTo>
                  <a:lnTo>
                    <a:pt x="1772" y="386"/>
                  </a:lnTo>
                  <a:lnTo>
                    <a:pt x="1770" y="382"/>
                  </a:lnTo>
                  <a:lnTo>
                    <a:pt x="1766" y="378"/>
                  </a:lnTo>
                  <a:lnTo>
                    <a:pt x="1764" y="380"/>
                  </a:lnTo>
                  <a:lnTo>
                    <a:pt x="1762" y="382"/>
                  </a:lnTo>
                  <a:close/>
                  <a:moveTo>
                    <a:pt x="1786" y="386"/>
                  </a:moveTo>
                  <a:lnTo>
                    <a:pt x="1786" y="386"/>
                  </a:lnTo>
                  <a:lnTo>
                    <a:pt x="1784" y="386"/>
                  </a:lnTo>
                  <a:lnTo>
                    <a:pt x="1780" y="388"/>
                  </a:lnTo>
                  <a:lnTo>
                    <a:pt x="1776" y="396"/>
                  </a:lnTo>
                  <a:lnTo>
                    <a:pt x="1776" y="402"/>
                  </a:lnTo>
                  <a:lnTo>
                    <a:pt x="1778" y="404"/>
                  </a:lnTo>
                  <a:lnTo>
                    <a:pt x="1780" y="404"/>
                  </a:lnTo>
                  <a:lnTo>
                    <a:pt x="1784" y="402"/>
                  </a:lnTo>
                  <a:lnTo>
                    <a:pt x="1788" y="404"/>
                  </a:lnTo>
                  <a:lnTo>
                    <a:pt x="1790" y="410"/>
                  </a:lnTo>
                  <a:lnTo>
                    <a:pt x="1794" y="414"/>
                  </a:lnTo>
                  <a:lnTo>
                    <a:pt x="1796" y="416"/>
                  </a:lnTo>
                  <a:lnTo>
                    <a:pt x="1800" y="412"/>
                  </a:lnTo>
                  <a:lnTo>
                    <a:pt x="1798" y="408"/>
                  </a:lnTo>
                  <a:lnTo>
                    <a:pt x="1794" y="402"/>
                  </a:lnTo>
                  <a:lnTo>
                    <a:pt x="1790" y="396"/>
                  </a:lnTo>
                  <a:lnTo>
                    <a:pt x="1790" y="392"/>
                  </a:lnTo>
                  <a:lnTo>
                    <a:pt x="1790" y="390"/>
                  </a:lnTo>
                  <a:lnTo>
                    <a:pt x="1786" y="386"/>
                  </a:lnTo>
                  <a:close/>
                  <a:moveTo>
                    <a:pt x="1754" y="340"/>
                  </a:moveTo>
                  <a:lnTo>
                    <a:pt x="1754" y="340"/>
                  </a:lnTo>
                  <a:lnTo>
                    <a:pt x="1758" y="346"/>
                  </a:lnTo>
                  <a:lnTo>
                    <a:pt x="1766" y="354"/>
                  </a:lnTo>
                  <a:lnTo>
                    <a:pt x="1776" y="360"/>
                  </a:lnTo>
                  <a:lnTo>
                    <a:pt x="1780" y="360"/>
                  </a:lnTo>
                  <a:lnTo>
                    <a:pt x="1784" y="360"/>
                  </a:lnTo>
                  <a:lnTo>
                    <a:pt x="1788" y="358"/>
                  </a:lnTo>
                  <a:lnTo>
                    <a:pt x="1784" y="356"/>
                  </a:lnTo>
                  <a:lnTo>
                    <a:pt x="1776" y="352"/>
                  </a:lnTo>
                  <a:lnTo>
                    <a:pt x="1774" y="348"/>
                  </a:lnTo>
                  <a:lnTo>
                    <a:pt x="1772" y="344"/>
                  </a:lnTo>
                  <a:lnTo>
                    <a:pt x="1768" y="336"/>
                  </a:lnTo>
                  <a:lnTo>
                    <a:pt x="1764" y="332"/>
                  </a:lnTo>
                  <a:lnTo>
                    <a:pt x="1746" y="320"/>
                  </a:lnTo>
                  <a:lnTo>
                    <a:pt x="1742" y="318"/>
                  </a:lnTo>
                  <a:lnTo>
                    <a:pt x="1740" y="320"/>
                  </a:lnTo>
                  <a:lnTo>
                    <a:pt x="1742" y="328"/>
                  </a:lnTo>
                  <a:lnTo>
                    <a:pt x="1744" y="332"/>
                  </a:lnTo>
                  <a:lnTo>
                    <a:pt x="1748" y="334"/>
                  </a:lnTo>
                  <a:lnTo>
                    <a:pt x="1752" y="336"/>
                  </a:lnTo>
                  <a:lnTo>
                    <a:pt x="1754" y="340"/>
                  </a:lnTo>
                  <a:close/>
                  <a:moveTo>
                    <a:pt x="1744" y="368"/>
                  </a:moveTo>
                  <a:lnTo>
                    <a:pt x="1744" y="368"/>
                  </a:lnTo>
                  <a:lnTo>
                    <a:pt x="1744" y="374"/>
                  </a:lnTo>
                  <a:lnTo>
                    <a:pt x="1748" y="378"/>
                  </a:lnTo>
                  <a:lnTo>
                    <a:pt x="1752" y="382"/>
                  </a:lnTo>
                  <a:lnTo>
                    <a:pt x="1754" y="380"/>
                  </a:lnTo>
                  <a:lnTo>
                    <a:pt x="1756" y="380"/>
                  </a:lnTo>
                  <a:lnTo>
                    <a:pt x="1758" y="376"/>
                  </a:lnTo>
                  <a:lnTo>
                    <a:pt x="1758" y="374"/>
                  </a:lnTo>
                  <a:lnTo>
                    <a:pt x="1752" y="368"/>
                  </a:lnTo>
                  <a:lnTo>
                    <a:pt x="1746" y="366"/>
                  </a:lnTo>
                  <a:lnTo>
                    <a:pt x="1744" y="366"/>
                  </a:lnTo>
                  <a:lnTo>
                    <a:pt x="1744" y="368"/>
                  </a:lnTo>
                  <a:close/>
                  <a:moveTo>
                    <a:pt x="1802" y="416"/>
                  </a:moveTo>
                  <a:lnTo>
                    <a:pt x="1802" y="416"/>
                  </a:lnTo>
                  <a:lnTo>
                    <a:pt x="1800" y="420"/>
                  </a:lnTo>
                  <a:lnTo>
                    <a:pt x="1800" y="424"/>
                  </a:lnTo>
                  <a:lnTo>
                    <a:pt x="1804" y="426"/>
                  </a:lnTo>
                  <a:lnTo>
                    <a:pt x="1810" y="424"/>
                  </a:lnTo>
                  <a:lnTo>
                    <a:pt x="1810" y="422"/>
                  </a:lnTo>
                  <a:lnTo>
                    <a:pt x="1812" y="420"/>
                  </a:lnTo>
                  <a:lnTo>
                    <a:pt x="1810" y="416"/>
                  </a:lnTo>
                  <a:lnTo>
                    <a:pt x="1806" y="414"/>
                  </a:lnTo>
                  <a:lnTo>
                    <a:pt x="1804" y="414"/>
                  </a:lnTo>
                  <a:lnTo>
                    <a:pt x="1802" y="416"/>
                  </a:lnTo>
                  <a:close/>
                  <a:moveTo>
                    <a:pt x="1858" y="386"/>
                  </a:moveTo>
                  <a:lnTo>
                    <a:pt x="1858" y="386"/>
                  </a:lnTo>
                  <a:lnTo>
                    <a:pt x="1848" y="382"/>
                  </a:lnTo>
                  <a:lnTo>
                    <a:pt x="1844" y="378"/>
                  </a:lnTo>
                  <a:lnTo>
                    <a:pt x="1840" y="374"/>
                  </a:lnTo>
                  <a:lnTo>
                    <a:pt x="1832" y="368"/>
                  </a:lnTo>
                  <a:lnTo>
                    <a:pt x="1828" y="366"/>
                  </a:lnTo>
                  <a:lnTo>
                    <a:pt x="1826" y="368"/>
                  </a:lnTo>
                  <a:lnTo>
                    <a:pt x="1828" y="378"/>
                  </a:lnTo>
                  <a:lnTo>
                    <a:pt x="1830" y="382"/>
                  </a:lnTo>
                  <a:lnTo>
                    <a:pt x="1834" y="386"/>
                  </a:lnTo>
                  <a:lnTo>
                    <a:pt x="1848" y="394"/>
                  </a:lnTo>
                  <a:lnTo>
                    <a:pt x="1864" y="404"/>
                  </a:lnTo>
                  <a:lnTo>
                    <a:pt x="1878" y="414"/>
                  </a:lnTo>
                  <a:lnTo>
                    <a:pt x="1880" y="416"/>
                  </a:lnTo>
                  <a:lnTo>
                    <a:pt x="1882" y="416"/>
                  </a:lnTo>
                  <a:lnTo>
                    <a:pt x="1878" y="408"/>
                  </a:lnTo>
                  <a:lnTo>
                    <a:pt x="1870" y="396"/>
                  </a:lnTo>
                  <a:lnTo>
                    <a:pt x="1864" y="390"/>
                  </a:lnTo>
                  <a:lnTo>
                    <a:pt x="1858" y="386"/>
                  </a:lnTo>
                  <a:close/>
                  <a:moveTo>
                    <a:pt x="1882" y="456"/>
                  </a:moveTo>
                  <a:lnTo>
                    <a:pt x="1882" y="456"/>
                  </a:lnTo>
                  <a:lnTo>
                    <a:pt x="1876" y="450"/>
                  </a:lnTo>
                  <a:lnTo>
                    <a:pt x="1872" y="450"/>
                  </a:lnTo>
                  <a:lnTo>
                    <a:pt x="1870" y="454"/>
                  </a:lnTo>
                  <a:lnTo>
                    <a:pt x="1870" y="462"/>
                  </a:lnTo>
                  <a:lnTo>
                    <a:pt x="1870" y="468"/>
                  </a:lnTo>
                  <a:lnTo>
                    <a:pt x="1876" y="474"/>
                  </a:lnTo>
                  <a:lnTo>
                    <a:pt x="1882" y="478"/>
                  </a:lnTo>
                  <a:lnTo>
                    <a:pt x="1892" y="478"/>
                  </a:lnTo>
                  <a:lnTo>
                    <a:pt x="1900" y="476"/>
                  </a:lnTo>
                  <a:lnTo>
                    <a:pt x="1900" y="478"/>
                  </a:lnTo>
                  <a:lnTo>
                    <a:pt x="1902" y="480"/>
                  </a:lnTo>
                  <a:lnTo>
                    <a:pt x="1912" y="482"/>
                  </a:lnTo>
                  <a:lnTo>
                    <a:pt x="1916" y="482"/>
                  </a:lnTo>
                  <a:lnTo>
                    <a:pt x="1920" y="482"/>
                  </a:lnTo>
                  <a:lnTo>
                    <a:pt x="1920" y="480"/>
                  </a:lnTo>
                  <a:lnTo>
                    <a:pt x="1918" y="476"/>
                  </a:lnTo>
                  <a:lnTo>
                    <a:pt x="1914" y="468"/>
                  </a:lnTo>
                  <a:lnTo>
                    <a:pt x="1906" y="460"/>
                  </a:lnTo>
                  <a:lnTo>
                    <a:pt x="1902" y="458"/>
                  </a:lnTo>
                  <a:lnTo>
                    <a:pt x="1900" y="456"/>
                  </a:lnTo>
                  <a:lnTo>
                    <a:pt x="1892" y="456"/>
                  </a:lnTo>
                  <a:lnTo>
                    <a:pt x="1886" y="458"/>
                  </a:lnTo>
                  <a:lnTo>
                    <a:pt x="1884" y="456"/>
                  </a:lnTo>
                  <a:lnTo>
                    <a:pt x="1882" y="456"/>
                  </a:lnTo>
                  <a:close/>
                  <a:moveTo>
                    <a:pt x="1884" y="560"/>
                  </a:moveTo>
                  <a:lnTo>
                    <a:pt x="1884" y="560"/>
                  </a:lnTo>
                  <a:lnTo>
                    <a:pt x="1886" y="564"/>
                  </a:lnTo>
                  <a:lnTo>
                    <a:pt x="1894" y="570"/>
                  </a:lnTo>
                  <a:lnTo>
                    <a:pt x="1902" y="576"/>
                  </a:lnTo>
                  <a:lnTo>
                    <a:pt x="1906" y="576"/>
                  </a:lnTo>
                  <a:lnTo>
                    <a:pt x="1910" y="576"/>
                  </a:lnTo>
                  <a:lnTo>
                    <a:pt x="1910" y="574"/>
                  </a:lnTo>
                  <a:lnTo>
                    <a:pt x="1908" y="570"/>
                  </a:lnTo>
                  <a:lnTo>
                    <a:pt x="1900" y="562"/>
                  </a:lnTo>
                  <a:lnTo>
                    <a:pt x="1890" y="558"/>
                  </a:lnTo>
                  <a:lnTo>
                    <a:pt x="1886" y="558"/>
                  </a:lnTo>
                  <a:lnTo>
                    <a:pt x="1884" y="560"/>
                  </a:lnTo>
                  <a:close/>
                  <a:moveTo>
                    <a:pt x="1966" y="508"/>
                  </a:moveTo>
                  <a:lnTo>
                    <a:pt x="1966" y="508"/>
                  </a:lnTo>
                  <a:lnTo>
                    <a:pt x="1958" y="506"/>
                  </a:lnTo>
                  <a:lnTo>
                    <a:pt x="1950" y="502"/>
                  </a:lnTo>
                  <a:lnTo>
                    <a:pt x="1942" y="498"/>
                  </a:lnTo>
                  <a:lnTo>
                    <a:pt x="1938" y="498"/>
                  </a:lnTo>
                  <a:lnTo>
                    <a:pt x="1936" y="500"/>
                  </a:lnTo>
                  <a:lnTo>
                    <a:pt x="1934" y="500"/>
                  </a:lnTo>
                  <a:lnTo>
                    <a:pt x="1934" y="502"/>
                  </a:lnTo>
                  <a:lnTo>
                    <a:pt x="1938" y="504"/>
                  </a:lnTo>
                  <a:lnTo>
                    <a:pt x="1942" y="506"/>
                  </a:lnTo>
                  <a:lnTo>
                    <a:pt x="1944" y="510"/>
                  </a:lnTo>
                  <a:lnTo>
                    <a:pt x="1944" y="512"/>
                  </a:lnTo>
                  <a:lnTo>
                    <a:pt x="1946" y="516"/>
                  </a:lnTo>
                  <a:lnTo>
                    <a:pt x="1948" y="518"/>
                  </a:lnTo>
                  <a:lnTo>
                    <a:pt x="1956" y="524"/>
                  </a:lnTo>
                  <a:lnTo>
                    <a:pt x="1966" y="528"/>
                  </a:lnTo>
                  <a:lnTo>
                    <a:pt x="1974" y="528"/>
                  </a:lnTo>
                  <a:lnTo>
                    <a:pt x="1976" y="528"/>
                  </a:lnTo>
                  <a:lnTo>
                    <a:pt x="1978" y="526"/>
                  </a:lnTo>
                  <a:lnTo>
                    <a:pt x="1976" y="518"/>
                  </a:lnTo>
                  <a:lnTo>
                    <a:pt x="1972" y="512"/>
                  </a:lnTo>
                  <a:lnTo>
                    <a:pt x="1968" y="510"/>
                  </a:lnTo>
                  <a:lnTo>
                    <a:pt x="1966" y="508"/>
                  </a:lnTo>
                  <a:close/>
                  <a:moveTo>
                    <a:pt x="2174" y="784"/>
                  </a:moveTo>
                  <a:lnTo>
                    <a:pt x="2174" y="784"/>
                  </a:lnTo>
                  <a:lnTo>
                    <a:pt x="2174" y="788"/>
                  </a:lnTo>
                  <a:lnTo>
                    <a:pt x="2180" y="792"/>
                  </a:lnTo>
                  <a:lnTo>
                    <a:pt x="2182" y="794"/>
                  </a:lnTo>
                  <a:lnTo>
                    <a:pt x="2184" y="798"/>
                  </a:lnTo>
                  <a:lnTo>
                    <a:pt x="2186" y="804"/>
                  </a:lnTo>
                  <a:lnTo>
                    <a:pt x="2188" y="808"/>
                  </a:lnTo>
                  <a:lnTo>
                    <a:pt x="2192" y="808"/>
                  </a:lnTo>
                  <a:lnTo>
                    <a:pt x="2196" y="808"/>
                  </a:lnTo>
                  <a:lnTo>
                    <a:pt x="2198" y="806"/>
                  </a:lnTo>
                  <a:lnTo>
                    <a:pt x="2198" y="800"/>
                  </a:lnTo>
                  <a:lnTo>
                    <a:pt x="2196" y="794"/>
                  </a:lnTo>
                  <a:lnTo>
                    <a:pt x="2190" y="788"/>
                  </a:lnTo>
                  <a:lnTo>
                    <a:pt x="2186" y="784"/>
                  </a:lnTo>
                  <a:lnTo>
                    <a:pt x="2180" y="780"/>
                  </a:lnTo>
                  <a:lnTo>
                    <a:pt x="2176" y="780"/>
                  </a:lnTo>
                  <a:lnTo>
                    <a:pt x="2174" y="784"/>
                  </a:lnTo>
                  <a:close/>
                  <a:moveTo>
                    <a:pt x="1938" y="458"/>
                  </a:moveTo>
                  <a:lnTo>
                    <a:pt x="1938" y="458"/>
                  </a:lnTo>
                  <a:lnTo>
                    <a:pt x="1938" y="454"/>
                  </a:lnTo>
                  <a:lnTo>
                    <a:pt x="1938" y="448"/>
                  </a:lnTo>
                  <a:lnTo>
                    <a:pt x="1936" y="444"/>
                  </a:lnTo>
                  <a:lnTo>
                    <a:pt x="1930" y="438"/>
                  </a:lnTo>
                  <a:lnTo>
                    <a:pt x="1928" y="434"/>
                  </a:lnTo>
                  <a:lnTo>
                    <a:pt x="1926" y="428"/>
                  </a:lnTo>
                  <a:lnTo>
                    <a:pt x="1922" y="420"/>
                  </a:lnTo>
                  <a:lnTo>
                    <a:pt x="1920" y="410"/>
                  </a:lnTo>
                  <a:lnTo>
                    <a:pt x="1916" y="408"/>
                  </a:lnTo>
                  <a:lnTo>
                    <a:pt x="1910" y="406"/>
                  </a:lnTo>
                  <a:lnTo>
                    <a:pt x="1908" y="404"/>
                  </a:lnTo>
                  <a:lnTo>
                    <a:pt x="1906" y="406"/>
                  </a:lnTo>
                  <a:lnTo>
                    <a:pt x="1906" y="412"/>
                  </a:lnTo>
                  <a:lnTo>
                    <a:pt x="1912" y="422"/>
                  </a:lnTo>
                  <a:lnTo>
                    <a:pt x="1916" y="440"/>
                  </a:lnTo>
                  <a:lnTo>
                    <a:pt x="1918" y="446"/>
                  </a:lnTo>
                  <a:lnTo>
                    <a:pt x="1920" y="448"/>
                  </a:lnTo>
                  <a:lnTo>
                    <a:pt x="1926" y="452"/>
                  </a:lnTo>
                  <a:lnTo>
                    <a:pt x="1930" y="460"/>
                  </a:lnTo>
                  <a:lnTo>
                    <a:pt x="1936" y="466"/>
                  </a:lnTo>
                  <a:lnTo>
                    <a:pt x="1940" y="470"/>
                  </a:lnTo>
                  <a:lnTo>
                    <a:pt x="1942" y="468"/>
                  </a:lnTo>
                  <a:lnTo>
                    <a:pt x="1938" y="458"/>
                  </a:lnTo>
                  <a:close/>
                  <a:moveTo>
                    <a:pt x="2456" y="2102"/>
                  </a:moveTo>
                  <a:lnTo>
                    <a:pt x="2456" y="2102"/>
                  </a:lnTo>
                  <a:lnTo>
                    <a:pt x="2460" y="2096"/>
                  </a:lnTo>
                  <a:lnTo>
                    <a:pt x="2460" y="2090"/>
                  </a:lnTo>
                  <a:lnTo>
                    <a:pt x="2458" y="2084"/>
                  </a:lnTo>
                  <a:lnTo>
                    <a:pt x="2456" y="2082"/>
                  </a:lnTo>
                  <a:lnTo>
                    <a:pt x="2450" y="2082"/>
                  </a:lnTo>
                  <a:lnTo>
                    <a:pt x="2442" y="2084"/>
                  </a:lnTo>
                  <a:lnTo>
                    <a:pt x="2434" y="2088"/>
                  </a:lnTo>
                  <a:lnTo>
                    <a:pt x="2426" y="2094"/>
                  </a:lnTo>
                  <a:lnTo>
                    <a:pt x="2418" y="2100"/>
                  </a:lnTo>
                  <a:lnTo>
                    <a:pt x="2412" y="2100"/>
                  </a:lnTo>
                  <a:lnTo>
                    <a:pt x="2410" y="2098"/>
                  </a:lnTo>
                  <a:lnTo>
                    <a:pt x="2410" y="2094"/>
                  </a:lnTo>
                  <a:lnTo>
                    <a:pt x="2410" y="2080"/>
                  </a:lnTo>
                  <a:lnTo>
                    <a:pt x="2410" y="2076"/>
                  </a:lnTo>
                  <a:lnTo>
                    <a:pt x="2408" y="2074"/>
                  </a:lnTo>
                  <a:lnTo>
                    <a:pt x="2400" y="2072"/>
                  </a:lnTo>
                  <a:lnTo>
                    <a:pt x="2398" y="2070"/>
                  </a:lnTo>
                  <a:lnTo>
                    <a:pt x="2398" y="2068"/>
                  </a:lnTo>
                  <a:lnTo>
                    <a:pt x="2404" y="2064"/>
                  </a:lnTo>
                  <a:lnTo>
                    <a:pt x="2408" y="2062"/>
                  </a:lnTo>
                  <a:lnTo>
                    <a:pt x="2408" y="2058"/>
                  </a:lnTo>
                  <a:lnTo>
                    <a:pt x="2408" y="2056"/>
                  </a:lnTo>
                  <a:lnTo>
                    <a:pt x="2404" y="2054"/>
                  </a:lnTo>
                  <a:lnTo>
                    <a:pt x="2400" y="2054"/>
                  </a:lnTo>
                  <a:lnTo>
                    <a:pt x="2396" y="2056"/>
                  </a:lnTo>
                  <a:lnTo>
                    <a:pt x="2388" y="2060"/>
                  </a:lnTo>
                  <a:lnTo>
                    <a:pt x="2380" y="2068"/>
                  </a:lnTo>
                  <a:lnTo>
                    <a:pt x="2376" y="2074"/>
                  </a:lnTo>
                  <a:lnTo>
                    <a:pt x="2374" y="2080"/>
                  </a:lnTo>
                  <a:lnTo>
                    <a:pt x="2374" y="2096"/>
                  </a:lnTo>
                  <a:lnTo>
                    <a:pt x="2372" y="2104"/>
                  </a:lnTo>
                  <a:lnTo>
                    <a:pt x="2370" y="2110"/>
                  </a:lnTo>
                  <a:lnTo>
                    <a:pt x="2366" y="2116"/>
                  </a:lnTo>
                  <a:lnTo>
                    <a:pt x="2358" y="2120"/>
                  </a:lnTo>
                  <a:lnTo>
                    <a:pt x="2352" y="2126"/>
                  </a:lnTo>
                  <a:lnTo>
                    <a:pt x="2346" y="2134"/>
                  </a:lnTo>
                  <a:lnTo>
                    <a:pt x="2336" y="2156"/>
                  </a:lnTo>
                  <a:lnTo>
                    <a:pt x="2324" y="2180"/>
                  </a:lnTo>
                  <a:lnTo>
                    <a:pt x="2318" y="2190"/>
                  </a:lnTo>
                  <a:lnTo>
                    <a:pt x="2310" y="2196"/>
                  </a:lnTo>
                  <a:lnTo>
                    <a:pt x="2298" y="2206"/>
                  </a:lnTo>
                  <a:lnTo>
                    <a:pt x="2286" y="2218"/>
                  </a:lnTo>
                  <a:lnTo>
                    <a:pt x="2274" y="2228"/>
                  </a:lnTo>
                  <a:lnTo>
                    <a:pt x="2270" y="2230"/>
                  </a:lnTo>
                  <a:lnTo>
                    <a:pt x="2264" y="2232"/>
                  </a:lnTo>
                  <a:lnTo>
                    <a:pt x="2260" y="2234"/>
                  </a:lnTo>
                  <a:lnTo>
                    <a:pt x="2256" y="2236"/>
                  </a:lnTo>
                  <a:lnTo>
                    <a:pt x="2250" y="2242"/>
                  </a:lnTo>
                  <a:lnTo>
                    <a:pt x="2246" y="2248"/>
                  </a:lnTo>
                  <a:lnTo>
                    <a:pt x="2242" y="2250"/>
                  </a:lnTo>
                  <a:lnTo>
                    <a:pt x="2236" y="2250"/>
                  </a:lnTo>
                  <a:lnTo>
                    <a:pt x="2228" y="2250"/>
                  </a:lnTo>
                  <a:lnTo>
                    <a:pt x="2222" y="2254"/>
                  </a:lnTo>
                  <a:lnTo>
                    <a:pt x="2216" y="2260"/>
                  </a:lnTo>
                  <a:lnTo>
                    <a:pt x="2210" y="2266"/>
                  </a:lnTo>
                  <a:lnTo>
                    <a:pt x="2200" y="2282"/>
                  </a:lnTo>
                  <a:lnTo>
                    <a:pt x="2186" y="2298"/>
                  </a:lnTo>
                  <a:lnTo>
                    <a:pt x="2174" y="2310"/>
                  </a:lnTo>
                  <a:lnTo>
                    <a:pt x="2162" y="2322"/>
                  </a:lnTo>
                  <a:lnTo>
                    <a:pt x="2160" y="2328"/>
                  </a:lnTo>
                  <a:lnTo>
                    <a:pt x="2156" y="2334"/>
                  </a:lnTo>
                  <a:lnTo>
                    <a:pt x="2156" y="2338"/>
                  </a:lnTo>
                  <a:lnTo>
                    <a:pt x="2158" y="2344"/>
                  </a:lnTo>
                  <a:lnTo>
                    <a:pt x="2160" y="2348"/>
                  </a:lnTo>
                  <a:lnTo>
                    <a:pt x="2158" y="2352"/>
                  </a:lnTo>
                  <a:lnTo>
                    <a:pt x="2152" y="2356"/>
                  </a:lnTo>
                  <a:lnTo>
                    <a:pt x="2146" y="2360"/>
                  </a:lnTo>
                  <a:lnTo>
                    <a:pt x="2146" y="2362"/>
                  </a:lnTo>
                  <a:lnTo>
                    <a:pt x="2146" y="2368"/>
                  </a:lnTo>
                  <a:lnTo>
                    <a:pt x="2152" y="2376"/>
                  </a:lnTo>
                  <a:lnTo>
                    <a:pt x="2162" y="2382"/>
                  </a:lnTo>
                  <a:lnTo>
                    <a:pt x="2168" y="2384"/>
                  </a:lnTo>
                  <a:lnTo>
                    <a:pt x="2172" y="2384"/>
                  </a:lnTo>
                  <a:lnTo>
                    <a:pt x="2178" y="2382"/>
                  </a:lnTo>
                  <a:lnTo>
                    <a:pt x="2184" y="2378"/>
                  </a:lnTo>
                  <a:lnTo>
                    <a:pt x="2190" y="2376"/>
                  </a:lnTo>
                  <a:lnTo>
                    <a:pt x="2192" y="2374"/>
                  </a:lnTo>
                  <a:lnTo>
                    <a:pt x="2194" y="2376"/>
                  </a:lnTo>
                  <a:lnTo>
                    <a:pt x="2196" y="2378"/>
                  </a:lnTo>
                  <a:lnTo>
                    <a:pt x="2200" y="2384"/>
                  </a:lnTo>
                  <a:lnTo>
                    <a:pt x="2202" y="2386"/>
                  </a:lnTo>
                  <a:lnTo>
                    <a:pt x="2208" y="2386"/>
                  </a:lnTo>
                  <a:lnTo>
                    <a:pt x="2212" y="2386"/>
                  </a:lnTo>
                  <a:lnTo>
                    <a:pt x="2216" y="2388"/>
                  </a:lnTo>
                  <a:lnTo>
                    <a:pt x="2218" y="2392"/>
                  </a:lnTo>
                  <a:lnTo>
                    <a:pt x="2218" y="2396"/>
                  </a:lnTo>
                  <a:lnTo>
                    <a:pt x="2220" y="2398"/>
                  </a:lnTo>
                  <a:lnTo>
                    <a:pt x="2224" y="2402"/>
                  </a:lnTo>
                  <a:lnTo>
                    <a:pt x="2232" y="2402"/>
                  </a:lnTo>
                  <a:lnTo>
                    <a:pt x="2248" y="2404"/>
                  </a:lnTo>
                  <a:lnTo>
                    <a:pt x="2256" y="2404"/>
                  </a:lnTo>
                  <a:lnTo>
                    <a:pt x="2262" y="2404"/>
                  </a:lnTo>
                  <a:lnTo>
                    <a:pt x="2268" y="2402"/>
                  </a:lnTo>
                  <a:lnTo>
                    <a:pt x="2276" y="2398"/>
                  </a:lnTo>
                  <a:lnTo>
                    <a:pt x="2282" y="2390"/>
                  </a:lnTo>
                  <a:lnTo>
                    <a:pt x="2288" y="2380"/>
                  </a:lnTo>
                  <a:lnTo>
                    <a:pt x="2296" y="2372"/>
                  </a:lnTo>
                  <a:lnTo>
                    <a:pt x="2302" y="2366"/>
                  </a:lnTo>
                  <a:lnTo>
                    <a:pt x="2308" y="2362"/>
                  </a:lnTo>
                  <a:lnTo>
                    <a:pt x="2314" y="2360"/>
                  </a:lnTo>
                  <a:lnTo>
                    <a:pt x="2320" y="2358"/>
                  </a:lnTo>
                  <a:lnTo>
                    <a:pt x="2320" y="2356"/>
                  </a:lnTo>
                  <a:lnTo>
                    <a:pt x="2318" y="2352"/>
                  </a:lnTo>
                  <a:lnTo>
                    <a:pt x="2318" y="2346"/>
                  </a:lnTo>
                  <a:lnTo>
                    <a:pt x="2318" y="2340"/>
                  </a:lnTo>
                  <a:lnTo>
                    <a:pt x="2324" y="2328"/>
                  </a:lnTo>
                  <a:lnTo>
                    <a:pt x="2332" y="2312"/>
                  </a:lnTo>
                  <a:lnTo>
                    <a:pt x="2336" y="2300"/>
                  </a:lnTo>
                  <a:lnTo>
                    <a:pt x="2336" y="2288"/>
                  </a:lnTo>
                  <a:lnTo>
                    <a:pt x="2340" y="2276"/>
                  </a:lnTo>
                  <a:lnTo>
                    <a:pt x="2346" y="2266"/>
                  </a:lnTo>
                  <a:lnTo>
                    <a:pt x="2354" y="2258"/>
                  </a:lnTo>
                  <a:lnTo>
                    <a:pt x="2364" y="2252"/>
                  </a:lnTo>
                  <a:lnTo>
                    <a:pt x="2376" y="2248"/>
                  </a:lnTo>
                  <a:lnTo>
                    <a:pt x="2386" y="2246"/>
                  </a:lnTo>
                  <a:lnTo>
                    <a:pt x="2394" y="2244"/>
                  </a:lnTo>
                  <a:lnTo>
                    <a:pt x="2400" y="2246"/>
                  </a:lnTo>
                  <a:lnTo>
                    <a:pt x="2406" y="2246"/>
                  </a:lnTo>
                  <a:lnTo>
                    <a:pt x="2410" y="2246"/>
                  </a:lnTo>
                  <a:lnTo>
                    <a:pt x="2414" y="2244"/>
                  </a:lnTo>
                  <a:lnTo>
                    <a:pt x="2416" y="2242"/>
                  </a:lnTo>
                  <a:lnTo>
                    <a:pt x="2418" y="2238"/>
                  </a:lnTo>
                  <a:lnTo>
                    <a:pt x="2418" y="2236"/>
                  </a:lnTo>
                  <a:lnTo>
                    <a:pt x="2416" y="2232"/>
                  </a:lnTo>
                  <a:lnTo>
                    <a:pt x="2410" y="2230"/>
                  </a:lnTo>
                  <a:lnTo>
                    <a:pt x="2404" y="2228"/>
                  </a:lnTo>
                  <a:lnTo>
                    <a:pt x="2402" y="2224"/>
                  </a:lnTo>
                  <a:lnTo>
                    <a:pt x="2400" y="2218"/>
                  </a:lnTo>
                  <a:lnTo>
                    <a:pt x="2400" y="2214"/>
                  </a:lnTo>
                  <a:lnTo>
                    <a:pt x="2400" y="2208"/>
                  </a:lnTo>
                  <a:lnTo>
                    <a:pt x="2402" y="2204"/>
                  </a:lnTo>
                  <a:lnTo>
                    <a:pt x="2406" y="2200"/>
                  </a:lnTo>
                  <a:lnTo>
                    <a:pt x="2410" y="2198"/>
                  </a:lnTo>
                  <a:lnTo>
                    <a:pt x="2416" y="2196"/>
                  </a:lnTo>
                  <a:lnTo>
                    <a:pt x="2420" y="2192"/>
                  </a:lnTo>
                  <a:lnTo>
                    <a:pt x="2430" y="2178"/>
                  </a:lnTo>
                  <a:lnTo>
                    <a:pt x="2440" y="2160"/>
                  </a:lnTo>
                  <a:lnTo>
                    <a:pt x="2454" y="2138"/>
                  </a:lnTo>
                  <a:lnTo>
                    <a:pt x="2460" y="2130"/>
                  </a:lnTo>
                  <a:lnTo>
                    <a:pt x="2462" y="2124"/>
                  </a:lnTo>
                  <a:lnTo>
                    <a:pt x="2462" y="2120"/>
                  </a:lnTo>
                  <a:lnTo>
                    <a:pt x="2460" y="2118"/>
                  </a:lnTo>
                  <a:lnTo>
                    <a:pt x="2456" y="2116"/>
                  </a:lnTo>
                  <a:lnTo>
                    <a:pt x="2454" y="2114"/>
                  </a:lnTo>
                  <a:lnTo>
                    <a:pt x="2454" y="2110"/>
                  </a:lnTo>
                  <a:lnTo>
                    <a:pt x="2456" y="2102"/>
                  </a:lnTo>
                  <a:close/>
                  <a:moveTo>
                    <a:pt x="2684" y="808"/>
                  </a:moveTo>
                  <a:lnTo>
                    <a:pt x="2684" y="808"/>
                  </a:lnTo>
                  <a:lnTo>
                    <a:pt x="2680" y="812"/>
                  </a:lnTo>
                  <a:lnTo>
                    <a:pt x="2678" y="810"/>
                  </a:lnTo>
                  <a:lnTo>
                    <a:pt x="2682" y="802"/>
                  </a:lnTo>
                  <a:lnTo>
                    <a:pt x="2688" y="794"/>
                  </a:lnTo>
                  <a:lnTo>
                    <a:pt x="2690" y="792"/>
                  </a:lnTo>
                  <a:lnTo>
                    <a:pt x="2690" y="790"/>
                  </a:lnTo>
                  <a:lnTo>
                    <a:pt x="2688" y="788"/>
                  </a:lnTo>
                  <a:lnTo>
                    <a:pt x="2684" y="790"/>
                  </a:lnTo>
                  <a:lnTo>
                    <a:pt x="2676" y="794"/>
                  </a:lnTo>
                  <a:lnTo>
                    <a:pt x="2664" y="800"/>
                  </a:lnTo>
                  <a:lnTo>
                    <a:pt x="2658" y="804"/>
                  </a:lnTo>
                  <a:lnTo>
                    <a:pt x="2652" y="806"/>
                  </a:lnTo>
                  <a:lnTo>
                    <a:pt x="2648" y="806"/>
                  </a:lnTo>
                  <a:lnTo>
                    <a:pt x="2646" y="812"/>
                  </a:lnTo>
                  <a:lnTo>
                    <a:pt x="2644" y="814"/>
                  </a:lnTo>
                  <a:lnTo>
                    <a:pt x="2642" y="816"/>
                  </a:lnTo>
                  <a:lnTo>
                    <a:pt x="2636" y="814"/>
                  </a:lnTo>
                  <a:lnTo>
                    <a:pt x="2634" y="814"/>
                  </a:lnTo>
                  <a:lnTo>
                    <a:pt x="2634" y="816"/>
                  </a:lnTo>
                  <a:lnTo>
                    <a:pt x="2636" y="826"/>
                  </a:lnTo>
                  <a:lnTo>
                    <a:pt x="2640" y="832"/>
                  </a:lnTo>
                  <a:lnTo>
                    <a:pt x="2642" y="832"/>
                  </a:lnTo>
                  <a:lnTo>
                    <a:pt x="2656" y="822"/>
                  </a:lnTo>
                  <a:lnTo>
                    <a:pt x="2660" y="820"/>
                  </a:lnTo>
                  <a:lnTo>
                    <a:pt x="2662" y="820"/>
                  </a:lnTo>
                  <a:lnTo>
                    <a:pt x="2664" y="820"/>
                  </a:lnTo>
                  <a:lnTo>
                    <a:pt x="2666" y="822"/>
                  </a:lnTo>
                  <a:lnTo>
                    <a:pt x="2666" y="824"/>
                  </a:lnTo>
                  <a:lnTo>
                    <a:pt x="2668" y="824"/>
                  </a:lnTo>
                  <a:lnTo>
                    <a:pt x="2670" y="824"/>
                  </a:lnTo>
                  <a:lnTo>
                    <a:pt x="2678" y="820"/>
                  </a:lnTo>
                  <a:lnTo>
                    <a:pt x="2684" y="820"/>
                  </a:lnTo>
                  <a:lnTo>
                    <a:pt x="2690" y="820"/>
                  </a:lnTo>
                  <a:lnTo>
                    <a:pt x="2688" y="816"/>
                  </a:lnTo>
                  <a:lnTo>
                    <a:pt x="2688" y="810"/>
                  </a:lnTo>
                  <a:lnTo>
                    <a:pt x="2688" y="806"/>
                  </a:lnTo>
                  <a:lnTo>
                    <a:pt x="2684" y="808"/>
                  </a:lnTo>
                  <a:close/>
                  <a:moveTo>
                    <a:pt x="2600" y="1904"/>
                  </a:moveTo>
                  <a:lnTo>
                    <a:pt x="2600" y="1904"/>
                  </a:lnTo>
                  <a:lnTo>
                    <a:pt x="2596" y="1910"/>
                  </a:lnTo>
                  <a:lnTo>
                    <a:pt x="2592" y="1916"/>
                  </a:lnTo>
                  <a:lnTo>
                    <a:pt x="2586" y="1918"/>
                  </a:lnTo>
                  <a:lnTo>
                    <a:pt x="2580" y="1918"/>
                  </a:lnTo>
                  <a:lnTo>
                    <a:pt x="2574" y="1918"/>
                  </a:lnTo>
                  <a:lnTo>
                    <a:pt x="2566" y="1914"/>
                  </a:lnTo>
                  <a:lnTo>
                    <a:pt x="2548" y="1906"/>
                  </a:lnTo>
                  <a:lnTo>
                    <a:pt x="2540" y="1900"/>
                  </a:lnTo>
                  <a:lnTo>
                    <a:pt x="2534" y="1892"/>
                  </a:lnTo>
                  <a:lnTo>
                    <a:pt x="2530" y="1884"/>
                  </a:lnTo>
                  <a:lnTo>
                    <a:pt x="2528" y="1876"/>
                  </a:lnTo>
                  <a:lnTo>
                    <a:pt x="2522" y="1856"/>
                  </a:lnTo>
                  <a:lnTo>
                    <a:pt x="2518" y="1848"/>
                  </a:lnTo>
                  <a:lnTo>
                    <a:pt x="2514" y="1840"/>
                  </a:lnTo>
                  <a:lnTo>
                    <a:pt x="2508" y="1834"/>
                  </a:lnTo>
                  <a:lnTo>
                    <a:pt x="2504" y="1832"/>
                  </a:lnTo>
                  <a:lnTo>
                    <a:pt x="2504" y="1834"/>
                  </a:lnTo>
                  <a:lnTo>
                    <a:pt x="2504" y="1838"/>
                  </a:lnTo>
                  <a:lnTo>
                    <a:pt x="2506" y="1850"/>
                  </a:lnTo>
                  <a:lnTo>
                    <a:pt x="2512" y="1868"/>
                  </a:lnTo>
                  <a:lnTo>
                    <a:pt x="2514" y="1874"/>
                  </a:lnTo>
                  <a:lnTo>
                    <a:pt x="2512" y="1876"/>
                  </a:lnTo>
                  <a:lnTo>
                    <a:pt x="2506" y="1874"/>
                  </a:lnTo>
                  <a:lnTo>
                    <a:pt x="2498" y="1868"/>
                  </a:lnTo>
                  <a:lnTo>
                    <a:pt x="2490" y="1862"/>
                  </a:lnTo>
                  <a:lnTo>
                    <a:pt x="2484" y="1854"/>
                  </a:lnTo>
                  <a:lnTo>
                    <a:pt x="2482" y="1844"/>
                  </a:lnTo>
                  <a:lnTo>
                    <a:pt x="2482" y="1836"/>
                  </a:lnTo>
                  <a:lnTo>
                    <a:pt x="2482" y="1830"/>
                  </a:lnTo>
                  <a:lnTo>
                    <a:pt x="2482" y="1826"/>
                  </a:lnTo>
                  <a:lnTo>
                    <a:pt x="2478" y="1818"/>
                  </a:lnTo>
                  <a:lnTo>
                    <a:pt x="2474" y="1810"/>
                  </a:lnTo>
                  <a:lnTo>
                    <a:pt x="2472" y="1806"/>
                  </a:lnTo>
                  <a:lnTo>
                    <a:pt x="2472" y="1802"/>
                  </a:lnTo>
                  <a:lnTo>
                    <a:pt x="2472" y="1792"/>
                  </a:lnTo>
                  <a:lnTo>
                    <a:pt x="2470" y="1786"/>
                  </a:lnTo>
                  <a:lnTo>
                    <a:pt x="2466" y="1780"/>
                  </a:lnTo>
                  <a:lnTo>
                    <a:pt x="2462" y="1770"/>
                  </a:lnTo>
                  <a:lnTo>
                    <a:pt x="2454" y="1762"/>
                  </a:lnTo>
                  <a:lnTo>
                    <a:pt x="2448" y="1758"/>
                  </a:lnTo>
                  <a:lnTo>
                    <a:pt x="2440" y="1754"/>
                  </a:lnTo>
                  <a:lnTo>
                    <a:pt x="2428" y="1752"/>
                  </a:lnTo>
                  <a:lnTo>
                    <a:pt x="2424" y="1750"/>
                  </a:lnTo>
                  <a:lnTo>
                    <a:pt x="2422" y="1748"/>
                  </a:lnTo>
                  <a:lnTo>
                    <a:pt x="2418" y="1738"/>
                  </a:lnTo>
                  <a:lnTo>
                    <a:pt x="2412" y="1730"/>
                  </a:lnTo>
                  <a:lnTo>
                    <a:pt x="2408" y="1726"/>
                  </a:lnTo>
                  <a:lnTo>
                    <a:pt x="2402" y="1726"/>
                  </a:lnTo>
                  <a:lnTo>
                    <a:pt x="2394" y="1726"/>
                  </a:lnTo>
                  <a:lnTo>
                    <a:pt x="2394" y="1728"/>
                  </a:lnTo>
                  <a:lnTo>
                    <a:pt x="2394" y="1730"/>
                  </a:lnTo>
                  <a:lnTo>
                    <a:pt x="2400" y="1736"/>
                  </a:lnTo>
                  <a:lnTo>
                    <a:pt x="2410" y="1748"/>
                  </a:lnTo>
                  <a:lnTo>
                    <a:pt x="2414" y="1754"/>
                  </a:lnTo>
                  <a:lnTo>
                    <a:pt x="2416" y="1758"/>
                  </a:lnTo>
                  <a:lnTo>
                    <a:pt x="2416" y="1762"/>
                  </a:lnTo>
                  <a:lnTo>
                    <a:pt x="2416" y="1764"/>
                  </a:lnTo>
                  <a:lnTo>
                    <a:pt x="2414" y="1768"/>
                  </a:lnTo>
                  <a:lnTo>
                    <a:pt x="2420" y="1776"/>
                  </a:lnTo>
                  <a:lnTo>
                    <a:pt x="2426" y="1784"/>
                  </a:lnTo>
                  <a:lnTo>
                    <a:pt x="2430" y="1794"/>
                  </a:lnTo>
                  <a:lnTo>
                    <a:pt x="2440" y="1814"/>
                  </a:lnTo>
                  <a:lnTo>
                    <a:pt x="2444" y="1822"/>
                  </a:lnTo>
                  <a:lnTo>
                    <a:pt x="2448" y="1828"/>
                  </a:lnTo>
                  <a:lnTo>
                    <a:pt x="2452" y="1830"/>
                  </a:lnTo>
                  <a:lnTo>
                    <a:pt x="2454" y="1826"/>
                  </a:lnTo>
                  <a:lnTo>
                    <a:pt x="2456" y="1822"/>
                  </a:lnTo>
                  <a:lnTo>
                    <a:pt x="2460" y="1822"/>
                  </a:lnTo>
                  <a:lnTo>
                    <a:pt x="2464" y="1830"/>
                  </a:lnTo>
                  <a:lnTo>
                    <a:pt x="2466" y="1840"/>
                  </a:lnTo>
                  <a:lnTo>
                    <a:pt x="2466" y="1842"/>
                  </a:lnTo>
                  <a:lnTo>
                    <a:pt x="2464" y="1842"/>
                  </a:lnTo>
                  <a:lnTo>
                    <a:pt x="2458" y="1838"/>
                  </a:lnTo>
                  <a:lnTo>
                    <a:pt x="2458" y="1842"/>
                  </a:lnTo>
                  <a:lnTo>
                    <a:pt x="2474" y="1878"/>
                  </a:lnTo>
                  <a:lnTo>
                    <a:pt x="2480" y="1892"/>
                  </a:lnTo>
                  <a:lnTo>
                    <a:pt x="2482" y="1902"/>
                  </a:lnTo>
                  <a:lnTo>
                    <a:pt x="2482" y="1910"/>
                  </a:lnTo>
                  <a:lnTo>
                    <a:pt x="2482" y="1916"/>
                  </a:lnTo>
                  <a:lnTo>
                    <a:pt x="2478" y="1928"/>
                  </a:lnTo>
                  <a:lnTo>
                    <a:pt x="2476" y="1936"/>
                  </a:lnTo>
                  <a:lnTo>
                    <a:pt x="2476" y="1946"/>
                  </a:lnTo>
                  <a:lnTo>
                    <a:pt x="2476" y="1954"/>
                  </a:lnTo>
                  <a:lnTo>
                    <a:pt x="2472" y="1962"/>
                  </a:lnTo>
                  <a:lnTo>
                    <a:pt x="2466" y="1968"/>
                  </a:lnTo>
                  <a:lnTo>
                    <a:pt x="2460" y="1972"/>
                  </a:lnTo>
                  <a:lnTo>
                    <a:pt x="2446" y="1980"/>
                  </a:lnTo>
                  <a:lnTo>
                    <a:pt x="2442" y="1984"/>
                  </a:lnTo>
                  <a:lnTo>
                    <a:pt x="2440" y="1988"/>
                  </a:lnTo>
                  <a:lnTo>
                    <a:pt x="2440" y="1994"/>
                  </a:lnTo>
                  <a:lnTo>
                    <a:pt x="2444" y="2000"/>
                  </a:lnTo>
                  <a:lnTo>
                    <a:pt x="2456" y="2010"/>
                  </a:lnTo>
                  <a:lnTo>
                    <a:pt x="2474" y="2020"/>
                  </a:lnTo>
                  <a:lnTo>
                    <a:pt x="2488" y="2028"/>
                  </a:lnTo>
                  <a:lnTo>
                    <a:pt x="2494" y="2032"/>
                  </a:lnTo>
                  <a:lnTo>
                    <a:pt x="2496" y="2040"/>
                  </a:lnTo>
                  <a:lnTo>
                    <a:pt x="2498" y="2048"/>
                  </a:lnTo>
                  <a:lnTo>
                    <a:pt x="2496" y="2058"/>
                  </a:lnTo>
                  <a:lnTo>
                    <a:pt x="2492" y="2076"/>
                  </a:lnTo>
                  <a:lnTo>
                    <a:pt x="2488" y="2082"/>
                  </a:lnTo>
                  <a:lnTo>
                    <a:pt x="2484" y="2088"/>
                  </a:lnTo>
                  <a:lnTo>
                    <a:pt x="2478" y="2092"/>
                  </a:lnTo>
                  <a:lnTo>
                    <a:pt x="2474" y="2098"/>
                  </a:lnTo>
                  <a:lnTo>
                    <a:pt x="2474" y="2100"/>
                  </a:lnTo>
                  <a:lnTo>
                    <a:pt x="2476" y="2100"/>
                  </a:lnTo>
                  <a:lnTo>
                    <a:pt x="2488" y="2106"/>
                  </a:lnTo>
                  <a:lnTo>
                    <a:pt x="2492" y="2108"/>
                  </a:lnTo>
                  <a:lnTo>
                    <a:pt x="2494" y="2110"/>
                  </a:lnTo>
                  <a:lnTo>
                    <a:pt x="2498" y="2116"/>
                  </a:lnTo>
                  <a:lnTo>
                    <a:pt x="2498" y="2120"/>
                  </a:lnTo>
                  <a:lnTo>
                    <a:pt x="2502" y="2120"/>
                  </a:lnTo>
                  <a:lnTo>
                    <a:pt x="2506" y="2118"/>
                  </a:lnTo>
                  <a:lnTo>
                    <a:pt x="2512" y="2114"/>
                  </a:lnTo>
                  <a:lnTo>
                    <a:pt x="2520" y="2108"/>
                  </a:lnTo>
                  <a:lnTo>
                    <a:pt x="2530" y="2094"/>
                  </a:lnTo>
                  <a:lnTo>
                    <a:pt x="2552" y="2062"/>
                  </a:lnTo>
                  <a:lnTo>
                    <a:pt x="2560" y="2044"/>
                  </a:lnTo>
                  <a:lnTo>
                    <a:pt x="2568" y="2028"/>
                  </a:lnTo>
                  <a:lnTo>
                    <a:pt x="2570" y="2016"/>
                  </a:lnTo>
                  <a:lnTo>
                    <a:pt x="2570" y="2010"/>
                  </a:lnTo>
                  <a:lnTo>
                    <a:pt x="2568" y="2006"/>
                  </a:lnTo>
                  <a:lnTo>
                    <a:pt x="2566" y="2002"/>
                  </a:lnTo>
                  <a:lnTo>
                    <a:pt x="2568" y="1998"/>
                  </a:lnTo>
                  <a:lnTo>
                    <a:pt x="2570" y="1992"/>
                  </a:lnTo>
                  <a:lnTo>
                    <a:pt x="2574" y="1986"/>
                  </a:lnTo>
                  <a:lnTo>
                    <a:pt x="2580" y="1982"/>
                  </a:lnTo>
                  <a:lnTo>
                    <a:pt x="2586" y="1980"/>
                  </a:lnTo>
                  <a:lnTo>
                    <a:pt x="2594" y="1982"/>
                  </a:lnTo>
                  <a:lnTo>
                    <a:pt x="2602" y="1986"/>
                  </a:lnTo>
                  <a:lnTo>
                    <a:pt x="2608" y="1990"/>
                  </a:lnTo>
                  <a:lnTo>
                    <a:pt x="2610" y="1990"/>
                  </a:lnTo>
                  <a:lnTo>
                    <a:pt x="2612" y="1988"/>
                  </a:lnTo>
                  <a:lnTo>
                    <a:pt x="2612" y="1984"/>
                  </a:lnTo>
                  <a:lnTo>
                    <a:pt x="2610" y="1978"/>
                  </a:lnTo>
                  <a:lnTo>
                    <a:pt x="2608" y="1970"/>
                  </a:lnTo>
                  <a:lnTo>
                    <a:pt x="2608" y="1964"/>
                  </a:lnTo>
                  <a:lnTo>
                    <a:pt x="2610" y="1958"/>
                  </a:lnTo>
                  <a:lnTo>
                    <a:pt x="2612" y="1956"/>
                  </a:lnTo>
                  <a:lnTo>
                    <a:pt x="2614" y="1954"/>
                  </a:lnTo>
                  <a:lnTo>
                    <a:pt x="2620" y="1952"/>
                  </a:lnTo>
                  <a:lnTo>
                    <a:pt x="2624" y="1948"/>
                  </a:lnTo>
                  <a:lnTo>
                    <a:pt x="2626" y="1942"/>
                  </a:lnTo>
                  <a:lnTo>
                    <a:pt x="2626" y="1934"/>
                  </a:lnTo>
                  <a:lnTo>
                    <a:pt x="2628" y="1920"/>
                  </a:lnTo>
                  <a:lnTo>
                    <a:pt x="2628" y="1912"/>
                  </a:lnTo>
                  <a:lnTo>
                    <a:pt x="2630" y="1908"/>
                  </a:lnTo>
                  <a:lnTo>
                    <a:pt x="2632" y="1904"/>
                  </a:lnTo>
                  <a:lnTo>
                    <a:pt x="2630" y="1900"/>
                  </a:lnTo>
                  <a:lnTo>
                    <a:pt x="2626" y="1896"/>
                  </a:lnTo>
                  <a:lnTo>
                    <a:pt x="2620" y="1894"/>
                  </a:lnTo>
                  <a:lnTo>
                    <a:pt x="2614" y="1894"/>
                  </a:lnTo>
                  <a:lnTo>
                    <a:pt x="2608" y="1896"/>
                  </a:lnTo>
                  <a:lnTo>
                    <a:pt x="2604" y="1900"/>
                  </a:lnTo>
                  <a:lnTo>
                    <a:pt x="2600" y="1904"/>
                  </a:lnTo>
                  <a:close/>
                  <a:moveTo>
                    <a:pt x="2636" y="868"/>
                  </a:moveTo>
                  <a:lnTo>
                    <a:pt x="2636" y="868"/>
                  </a:lnTo>
                  <a:lnTo>
                    <a:pt x="2636" y="864"/>
                  </a:lnTo>
                  <a:lnTo>
                    <a:pt x="2634" y="860"/>
                  </a:lnTo>
                  <a:lnTo>
                    <a:pt x="2630" y="856"/>
                  </a:lnTo>
                  <a:lnTo>
                    <a:pt x="2626" y="854"/>
                  </a:lnTo>
                  <a:lnTo>
                    <a:pt x="2616" y="850"/>
                  </a:lnTo>
                  <a:lnTo>
                    <a:pt x="2606" y="852"/>
                  </a:lnTo>
                  <a:lnTo>
                    <a:pt x="2596" y="858"/>
                  </a:lnTo>
                  <a:lnTo>
                    <a:pt x="2588" y="864"/>
                  </a:lnTo>
                  <a:lnTo>
                    <a:pt x="2582" y="870"/>
                  </a:lnTo>
                  <a:lnTo>
                    <a:pt x="2580" y="876"/>
                  </a:lnTo>
                  <a:lnTo>
                    <a:pt x="2580" y="880"/>
                  </a:lnTo>
                  <a:lnTo>
                    <a:pt x="2580" y="882"/>
                  </a:lnTo>
                  <a:lnTo>
                    <a:pt x="2582" y="886"/>
                  </a:lnTo>
                  <a:lnTo>
                    <a:pt x="2586" y="888"/>
                  </a:lnTo>
                  <a:lnTo>
                    <a:pt x="2600" y="892"/>
                  </a:lnTo>
                  <a:lnTo>
                    <a:pt x="2610" y="896"/>
                  </a:lnTo>
                  <a:lnTo>
                    <a:pt x="2616" y="894"/>
                  </a:lnTo>
                  <a:lnTo>
                    <a:pt x="2620" y="890"/>
                  </a:lnTo>
                  <a:lnTo>
                    <a:pt x="2624" y="888"/>
                  </a:lnTo>
                  <a:lnTo>
                    <a:pt x="2626" y="886"/>
                  </a:lnTo>
                  <a:lnTo>
                    <a:pt x="2630" y="888"/>
                  </a:lnTo>
                  <a:lnTo>
                    <a:pt x="2636" y="890"/>
                  </a:lnTo>
                  <a:lnTo>
                    <a:pt x="2638" y="890"/>
                  </a:lnTo>
                  <a:lnTo>
                    <a:pt x="2640" y="888"/>
                  </a:lnTo>
                  <a:lnTo>
                    <a:pt x="2642" y="886"/>
                  </a:lnTo>
                  <a:lnTo>
                    <a:pt x="2640" y="882"/>
                  </a:lnTo>
                  <a:lnTo>
                    <a:pt x="2636" y="876"/>
                  </a:lnTo>
                  <a:lnTo>
                    <a:pt x="2636" y="872"/>
                  </a:lnTo>
                  <a:lnTo>
                    <a:pt x="2636" y="868"/>
                  </a:lnTo>
                  <a:close/>
                  <a:moveTo>
                    <a:pt x="2260" y="930"/>
                  </a:moveTo>
                  <a:lnTo>
                    <a:pt x="2260" y="930"/>
                  </a:lnTo>
                  <a:lnTo>
                    <a:pt x="2260" y="928"/>
                  </a:lnTo>
                  <a:lnTo>
                    <a:pt x="2262" y="924"/>
                  </a:lnTo>
                  <a:lnTo>
                    <a:pt x="2258" y="918"/>
                  </a:lnTo>
                  <a:lnTo>
                    <a:pt x="2254" y="912"/>
                  </a:lnTo>
                  <a:lnTo>
                    <a:pt x="2252" y="912"/>
                  </a:lnTo>
                  <a:lnTo>
                    <a:pt x="2248" y="914"/>
                  </a:lnTo>
                  <a:lnTo>
                    <a:pt x="2248" y="918"/>
                  </a:lnTo>
                  <a:lnTo>
                    <a:pt x="2248" y="920"/>
                  </a:lnTo>
                  <a:lnTo>
                    <a:pt x="2250" y="926"/>
                  </a:lnTo>
                  <a:lnTo>
                    <a:pt x="2256" y="930"/>
                  </a:lnTo>
                  <a:lnTo>
                    <a:pt x="2258" y="930"/>
                  </a:lnTo>
                  <a:lnTo>
                    <a:pt x="2260" y="930"/>
                  </a:lnTo>
                  <a:close/>
                  <a:moveTo>
                    <a:pt x="2258" y="948"/>
                  </a:moveTo>
                  <a:lnTo>
                    <a:pt x="2258" y="948"/>
                  </a:lnTo>
                  <a:lnTo>
                    <a:pt x="2256" y="950"/>
                  </a:lnTo>
                  <a:lnTo>
                    <a:pt x="2256" y="954"/>
                  </a:lnTo>
                  <a:lnTo>
                    <a:pt x="2258" y="960"/>
                  </a:lnTo>
                  <a:lnTo>
                    <a:pt x="2262" y="964"/>
                  </a:lnTo>
                  <a:lnTo>
                    <a:pt x="2266" y="966"/>
                  </a:lnTo>
                  <a:lnTo>
                    <a:pt x="2268" y="964"/>
                  </a:lnTo>
                  <a:lnTo>
                    <a:pt x="2268" y="962"/>
                  </a:lnTo>
                  <a:lnTo>
                    <a:pt x="2266" y="954"/>
                  </a:lnTo>
                  <a:lnTo>
                    <a:pt x="2262" y="948"/>
                  </a:lnTo>
                  <a:lnTo>
                    <a:pt x="2260" y="948"/>
                  </a:lnTo>
                  <a:lnTo>
                    <a:pt x="2258" y="948"/>
                  </a:lnTo>
                  <a:close/>
                  <a:moveTo>
                    <a:pt x="1490" y="460"/>
                  </a:moveTo>
                  <a:lnTo>
                    <a:pt x="1490" y="460"/>
                  </a:lnTo>
                  <a:lnTo>
                    <a:pt x="1492" y="462"/>
                  </a:lnTo>
                  <a:lnTo>
                    <a:pt x="1494" y="464"/>
                  </a:lnTo>
                  <a:lnTo>
                    <a:pt x="1496" y="462"/>
                  </a:lnTo>
                  <a:lnTo>
                    <a:pt x="1496" y="460"/>
                  </a:lnTo>
                  <a:lnTo>
                    <a:pt x="1496" y="454"/>
                  </a:lnTo>
                  <a:lnTo>
                    <a:pt x="1494" y="448"/>
                  </a:lnTo>
                  <a:lnTo>
                    <a:pt x="1490" y="446"/>
                  </a:lnTo>
                  <a:lnTo>
                    <a:pt x="1486" y="448"/>
                  </a:lnTo>
                  <a:lnTo>
                    <a:pt x="1486" y="452"/>
                  </a:lnTo>
                  <a:lnTo>
                    <a:pt x="1490" y="460"/>
                  </a:lnTo>
                  <a:close/>
                  <a:moveTo>
                    <a:pt x="1532" y="492"/>
                  </a:moveTo>
                  <a:lnTo>
                    <a:pt x="1532" y="492"/>
                  </a:lnTo>
                  <a:lnTo>
                    <a:pt x="1534" y="486"/>
                  </a:lnTo>
                  <a:lnTo>
                    <a:pt x="1534" y="482"/>
                  </a:lnTo>
                  <a:lnTo>
                    <a:pt x="1532" y="482"/>
                  </a:lnTo>
                  <a:lnTo>
                    <a:pt x="1530" y="482"/>
                  </a:lnTo>
                  <a:lnTo>
                    <a:pt x="1528" y="484"/>
                  </a:lnTo>
                  <a:lnTo>
                    <a:pt x="1526" y="484"/>
                  </a:lnTo>
                  <a:lnTo>
                    <a:pt x="1522" y="480"/>
                  </a:lnTo>
                  <a:lnTo>
                    <a:pt x="1518" y="478"/>
                  </a:lnTo>
                  <a:lnTo>
                    <a:pt x="1516" y="478"/>
                  </a:lnTo>
                  <a:lnTo>
                    <a:pt x="1518" y="486"/>
                  </a:lnTo>
                  <a:lnTo>
                    <a:pt x="1522" y="492"/>
                  </a:lnTo>
                  <a:lnTo>
                    <a:pt x="1528" y="496"/>
                  </a:lnTo>
                  <a:lnTo>
                    <a:pt x="1532" y="496"/>
                  </a:lnTo>
                  <a:lnTo>
                    <a:pt x="1532" y="492"/>
                  </a:lnTo>
                  <a:close/>
                  <a:moveTo>
                    <a:pt x="1520" y="466"/>
                  </a:moveTo>
                  <a:lnTo>
                    <a:pt x="1520" y="466"/>
                  </a:lnTo>
                  <a:lnTo>
                    <a:pt x="1516" y="458"/>
                  </a:lnTo>
                  <a:lnTo>
                    <a:pt x="1512" y="454"/>
                  </a:lnTo>
                  <a:lnTo>
                    <a:pt x="1508" y="454"/>
                  </a:lnTo>
                  <a:lnTo>
                    <a:pt x="1506" y="454"/>
                  </a:lnTo>
                  <a:lnTo>
                    <a:pt x="1504" y="456"/>
                  </a:lnTo>
                  <a:lnTo>
                    <a:pt x="1502" y="460"/>
                  </a:lnTo>
                  <a:lnTo>
                    <a:pt x="1500" y="468"/>
                  </a:lnTo>
                  <a:lnTo>
                    <a:pt x="1500" y="470"/>
                  </a:lnTo>
                  <a:lnTo>
                    <a:pt x="1504" y="470"/>
                  </a:lnTo>
                  <a:lnTo>
                    <a:pt x="1514" y="472"/>
                  </a:lnTo>
                  <a:lnTo>
                    <a:pt x="1518" y="470"/>
                  </a:lnTo>
                  <a:lnTo>
                    <a:pt x="1520" y="466"/>
                  </a:lnTo>
                  <a:close/>
                  <a:moveTo>
                    <a:pt x="1400" y="268"/>
                  </a:moveTo>
                  <a:lnTo>
                    <a:pt x="1400" y="268"/>
                  </a:lnTo>
                  <a:lnTo>
                    <a:pt x="1394" y="264"/>
                  </a:lnTo>
                  <a:lnTo>
                    <a:pt x="1392" y="264"/>
                  </a:lnTo>
                  <a:lnTo>
                    <a:pt x="1390" y="266"/>
                  </a:lnTo>
                  <a:lnTo>
                    <a:pt x="1392" y="272"/>
                  </a:lnTo>
                  <a:lnTo>
                    <a:pt x="1396" y="280"/>
                  </a:lnTo>
                  <a:lnTo>
                    <a:pt x="1398" y="282"/>
                  </a:lnTo>
                  <a:lnTo>
                    <a:pt x="1400" y="284"/>
                  </a:lnTo>
                  <a:lnTo>
                    <a:pt x="1402" y="282"/>
                  </a:lnTo>
                  <a:lnTo>
                    <a:pt x="1404" y="280"/>
                  </a:lnTo>
                  <a:lnTo>
                    <a:pt x="1404" y="274"/>
                  </a:lnTo>
                  <a:lnTo>
                    <a:pt x="1402" y="272"/>
                  </a:lnTo>
                  <a:lnTo>
                    <a:pt x="1400" y="268"/>
                  </a:lnTo>
                  <a:close/>
                  <a:moveTo>
                    <a:pt x="1360" y="254"/>
                  </a:moveTo>
                  <a:lnTo>
                    <a:pt x="1360" y="254"/>
                  </a:lnTo>
                  <a:lnTo>
                    <a:pt x="1360" y="256"/>
                  </a:lnTo>
                  <a:lnTo>
                    <a:pt x="1360" y="260"/>
                  </a:lnTo>
                  <a:lnTo>
                    <a:pt x="1362" y="264"/>
                  </a:lnTo>
                  <a:lnTo>
                    <a:pt x="1368" y="266"/>
                  </a:lnTo>
                  <a:lnTo>
                    <a:pt x="1372" y="264"/>
                  </a:lnTo>
                  <a:lnTo>
                    <a:pt x="1372" y="262"/>
                  </a:lnTo>
                  <a:lnTo>
                    <a:pt x="1372" y="260"/>
                  </a:lnTo>
                  <a:lnTo>
                    <a:pt x="1370" y="254"/>
                  </a:lnTo>
                  <a:lnTo>
                    <a:pt x="1366" y="252"/>
                  </a:lnTo>
                  <a:lnTo>
                    <a:pt x="1364" y="252"/>
                  </a:lnTo>
                  <a:lnTo>
                    <a:pt x="1360" y="254"/>
                  </a:lnTo>
                  <a:close/>
                  <a:moveTo>
                    <a:pt x="1320" y="218"/>
                  </a:moveTo>
                  <a:lnTo>
                    <a:pt x="1320" y="218"/>
                  </a:lnTo>
                  <a:lnTo>
                    <a:pt x="1318" y="216"/>
                  </a:lnTo>
                  <a:lnTo>
                    <a:pt x="1316" y="218"/>
                  </a:lnTo>
                  <a:lnTo>
                    <a:pt x="1314" y="220"/>
                  </a:lnTo>
                  <a:lnTo>
                    <a:pt x="1314" y="226"/>
                  </a:lnTo>
                  <a:lnTo>
                    <a:pt x="1316" y="232"/>
                  </a:lnTo>
                  <a:lnTo>
                    <a:pt x="1318" y="232"/>
                  </a:lnTo>
                  <a:lnTo>
                    <a:pt x="1320" y="232"/>
                  </a:lnTo>
                  <a:lnTo>
                    <a:pt x="1324" y="228"/>
                  </a:lnTo>
                  <a:lnTo>
                    <a:pt x="1324" y="224"/>
                  </a:lnTo>
                  <a:lnTo>
                    <a:pt x="1324" y="220"/>
                  </a:lnTo>
                  <a:lnTo>
                    <a:pt x="1320" y="218"/>
                  </a:lnTo>
                  <a:close/>
                  <a:moveTo>
                    <a:pt x="1360" y="106"/>
                  </a:moveTo>
                  <a:lnTo>
                    <a:pt x="1360" y="106"/>
                  </a:lnTo>
                  <a:lnTo>
                    <a:pt x="1370" y="106"/>
                  </a:lnTo>
                  <a:lnTo>
                    <a:pt x="1376" y="102"/>
                  </a:lnTo>
                  <a:lnTo>
                    <a:pt x="1376" y="100"/>
                  </a:lnTo>
                  <a:lnTo>
                    <a:pt x="1376" y="98"/>
                  </a:lnTo>
                  <a:lnTo>
                    <a:pt x="1374" y="98"/>
                  </a:lnTo>
                  <a:lnTo>
                    <a:pt x="1370" y="96"/>
                  </a:lnTo>
                  <a:lnTo>
                    <a:pt x="1362" y="94"/>
                  </a:lnTo>
                  <a:lnTo>
                    <a:pt x="1352" y="94"/>
                  </a:lnTo>
                  <a:lnTo>
                    <a:pt x="1344" y="96"/>
                  </a:lnTo>
                  <a:lnTo>
                    <a:pt x="1342" y="100"/>
                  </a:lnTo>
                  <a:lnTo>
                    <a:pt x="1340" y="102"/>
                  </a:lnTo>
                  <a:lnTo>
                    <a:pt x="1340" y="108"/>
                  </a:lnTo>
                  <a:lnTo>
                    <a:pt x="1344" y="108"/>
                  </a:lnTo>
                  <a:lnTo>
                    <a:pt x="1352" y="108"/>
                  </a:lnTo>
                  <a:lnTo>
                    <a:pt x="1360" y="106"/>
                  </a:lnTo>
                  <a:close/>
                  <a:moveTo>
                    <a:pt x="918" y="88"/>
                  </a:moveTo>
                  <a:lnTo>
                    <a:pt x="918" y="88"/>
                  </a:lnTo>
                  <a:lnTo>
                    <a:pt x="922" y="90"/>
                  </a:lnTo>
                  <a:lnTo>
                    <a:pt x="926" y="92"/>
                  </a:lnTo>
                  <a:lnTo>
                    <a:pt x="948" y="88"/>
                  </a:lnTo>
                  <a:lnTo>
                    <a:pt x="958" y="84"/>
                  </a:lnTo>
                  <a:lnTo>
                    <a:pt x="954" y="82"/>
                  </a:lnTo>
                  <a:lnTo>
                    <a:pt x="920" y="78"/>
                  </a:lnTo>
                  <a:lnTo>
                    <a:pt x="906" y="76"/>
                  </a:lnTo>
                  <a:lnTo>
                    <a:pt x="902" y="78"/>
                  </a:lnTo>
                  <a:lnTo>
                    <a:pt x="908" y="80"/>
                  </a:lnTo>
                  <a:lnTo>
                    <a:pt x="918" y="88"/>
                  </a:lnTo>
                  <a:close/>
                  <a:moveTo>
                    <a:pt x="910" y="44"/>
                  </a:moveTo>
                  <a:lnTo>
                    <a:pt x="910" y="44"/>
                  </a:lnTo>
                  <a:lnTo>
                    <a:pt x="912" y="46"/>
                  </a:lnTo>
                  <a:lnTo>
                    <a:pt x="914" y="48"/>
                  </a:lnTo>
                  <a:lnTo>
                    <a:pt x="914" y="54"/>
                  </a:lnTo>
                  <a:lnTo>
                    <a:pt x="916" y="56"/>
                  </a:lnTo>
                  <a:lnTo>
                    <a:pt x="918" y="56"/>
                  </a:lnTo>
                  <a:lnTo>
                    <a:pt x="922" y="58"/>
                  </a:lnTo>
                  <a:lnTo>
                    <a:pt x="930" y="56"/>
                  </a:lnTo>
                  <a:lnTo>
                    <a:pt x="936" y="54"/>
                  </a:lnTo>
                  <a:lnTo>
                    <a:pt x="938" y="52"/>
                  </a:lnTo>
                  <a:lnTo>
                    <a:pt x="936" y="50"/>
                  </a:lnTo>
                  <a:lnTo>
                    <a:pt x="928" y="46"/>
                  </a:lnTo>
                  <a:lnTo>
                    <a:pt x="924" y="44"/>
                  </a:lnTo>
                  <a:lnTo>
                    <a:pt x="920" y="38"/>
                  </a:lnTo>
                  <a:lnTo>
                    <a:pt x="916" y="34"/>
                  </a:lnTo>
                  <a:lnTo>
                    <a:pt x="906" y="30"/>
                  </a:lnTo>
                  <a:lnTo>
                    <a:pt x="896" y="30"/>
                  </a:lnTo>
                  <a:lnTo>
                    <a:pt x="894" y="30"/>
                  </a:lnTo>
                  <a:lnTo>
                    <a:pt x="896" y="32"/>
                  </a:lnTo>
                  <a:lnTo>
                    <a:pt x="902" y="38"/>
                  </a:lnTo>
                  <a:lnTo>
                    <a:pt x="910" y="44"/>
                  </a:lnTo>
                  <a:close/>
                  <a:moveTo>
                    <a:pt x="868" y="284"/>
                  </a:moveTo>
                  <a:lnTo>
                    <a:pt x="868" y="284"/>
                  </a:lnTo>
                  <a:lnTo>
                    <a:pt x="866" y="272"/>
                  </a:lnTo>
                  <a:lnTo>
                    <a:pt x="862" y="266"/>
                  </a:lnTo>
                  <a:lnTo>
                    <a:pt x="860" y="264"/>
                  </a:lnTo>
                  <a:lnTo>
                    <a:pt x="858" y="264"/>
                  </a:lnTo>
                  <a:lnTo>
                    <a:pt x="856" y="270"/>
                  </a:lnTo>
                  <a:lnTo>
                    <a:pt x="852" y="276"/>
                  </a:lnTo>
                  <a:lnTo>
                    <a:pt x="850" y="276"/>
                  </a:lnTo>
                  <a:lnTo>
                    <a:pt x="848" y="276"/>
                  </a:lnTo>
                  <a:lnTo>
                    <a:pt x="846" y="278"/>
                  </a:lnTo>
                  <a:lnTo>
                    <a:pt x="848" y="280"/>
                  </a:lnTo>
                  <a:lnTo>
                    <a:pt x="848" y="282"/>
                  </a:lnTo>
                  <a:lnTo>
                    <a:pt x="850" y="284"/>
                  </a:lnTo>
                  <a:lnTo>
                    <a:pt x="850" y="288"/>
                  </a:lnTo>
                  <a:lnTo>
                    <a:pt x="850" y="296"/>
                  </a:lnTo>
                  <a:lnTo>
                    <a:pt x="852" y="300"/>
                  </a:lnTo>
                  <a:lnTo>
                    <a:pt x="860" y="308"/>
                  </a:lnTo>
                  <a:lnTo>
                    <a:pt x="864" y="310"/>
                  </a:lnTo>
                  <a:lnTo>
                    <a:pt x="866" y="306"/>
                  </a:lnTo>
                  <a:lnTo>
                    <a:pt x="868" y="298"/>
                  </a:lnTo>
                  <a:lnTo>
                    <a:pt x="868" y="284"/>
                  </a:lnTo>
                  <a:close/>
                  <a:moveTo>
                    <a:pt x="852" y="306"/>
                  </a:moveTo>
                  <a:lnTo>
                    <a:pt x="852" y="306"/>
                  </a:lnTo>
                  <a:lnTo>
                    <a:pt x="848" y="302"/>
                  </a:lnTo>
                  <a:lnTo>
                    <a:pt x="846" y="298"/>
                  </a:lnTo>
                  <a:lnTo>
                    <a:pt x="844" y="296"/>
                  </a:lnTo>
                  <a:lnTo>
                    <a:pt x="844" y="302"/>
                  </a:lnTo>
                  <a:lnTo>
                    <a:pt x="846" y="304"/>
                  </a:lnTo>
                  <a:lnTo>
                    <a:pt x="852" y="310"/>
                  </a:lnTo>
                  <a:lnTo>
                    <a:pt x="858" y="318"/>
                  </a:lnTo>
                  <a:lnTo>
                    <a:pt x="858" y="314"/>
                  </a:lnTo>
                  <a:lnTo>
                    <a:pt x="856" y="310"/>
                  </a:lnTo>
                  <a:lnTo>
                    <a:pt x="852" y="306"/>
                  </a:lnTo>
                  <a:close/>
                  <a:moveTo>
                    <a:pt x="1028" y="396"/>
                  </a:moveTo>
                  <a:lnTo>
                    <a:pt x="1028" y="396"/>
                  </a:lnTo>
                  <a:lnTo>
                    <a:pt x="1032" y="394"/>
                  </a:lnTo>
                  <a:lnTo>
                    <a:pt x="1032" y="392"/>
                  </a:lnTo>
                  <a:lnTo>
                    <a:pt x="1036" y="380"/>
                  </a:lnTo>
                  <a:lnTo>
                    <a:pt x="1040" y="372"/>
                  </a:lnTo>
                  <a:lnTo>
                    <a:pt x="1040" y="370"/>
                  </a:lnTo>
                  <a:lnTo>
                    <a:pt x="1036" y="368"/>
                  </a:lnTo>
                  <a:lnTo>
                    <a:pt x="1034" y="366"/>
                  </a:lnTo>
                  <a:lnTo>
                    <a:pt x="1032" y="364"/>
                  </a:lnTo>
                  <a:lnTo>
                    <a:pt x="1032" y="362"/>
                  </a:lnTo>
                  <a:lnTo>
                    <a:pt x="1028" y="360"/>
                  </a:lnTo>
                  <a:lnTo>
                    <a:pt x="1024" y="358"/>
                  </a:lnTo>
                  <a:lnTo>
                    <a:pt x="1018" y="360"/>
                  </a:lnTo>
                  <a:lnTo>
                    <a:pt x="1008" y="366"/>
                  </a:lnTo>
                  <a:lnTo>
                    <a:pt x="998" y="374"/>
                  </a:lnTo>
                  <a:lnTo>
                    <a:pt x="994" y="378"/>
                  </a:lnTo>
                  <a:lnTo>
                    <a:pt x="994" y="384"/>
                  </a:lnTo>
                  <a:lnTo>
                    <a:pt x="992" y="388"/>
                  </a:lnTo>
                  <a:lnTo>
                    <a:pt x="988" y="396"/>
                  </a:lnTo>
                  <a:lnTo>
                    <a:pt x="984" y="402"/>
                  </a:lnTo>
                  <a:lnTo>
                    <a:pt x="984" y="408"/>
                  </a:lnTo>
                  <a:lnTo>
                    <a:pt x="984" y="410"/>
                  </a:lnTo>
                  <a:lnTo>
                    <a:pt x="984" y="412"/>
                  </a:lnTo>
                  <a:lnTo>
                    <a:pt x="988" y="410"/>
                  </a:lnTo>
                  <a:lnTo>
                    <a:pt x="996" y="408"/>
                  </a:lnTo>
                  <a:lnTo>
                    <a:pt x="1000" y="408"/>
                  </a:lnTo>
                  <a:lnTo>
                    <a:pt x="1006" y="410"/>
                  </a:lnTo>
                  <a:lnTo>
                    <a:pt x="1012" y="410"/>
                  </a:lnTo>
                  <a:lnTo>
                    <a:pt x="1016" y="410"/>
                  </a:lnTo>
                  <a:lnTo>
                    <a:pt x="1020" y="406"/>
                  </a:lnTo>
                  <a:lnTo>
                    <a:pt x="1024" y="400"/>
                  </a:lnTo>
                  <a:lnTo>
                    <a:pt x="1028" y="396"/>
                  </a:lnTo>
                  <a:close/>
                  <a:moveTo>
                    <a:pt x="1032" y="410"/>
                  </a:moveTo>
                  <a:lnTo>
                    <a:pt x="1032" y="410"/>
                  </a:lnTo>
                  <a:lnTo>
                    <a:pt x="1036" y="410"/>
                  </a:lnTo>
                  <a:lnTo>
                    <a:pt x="1036" y="406"/>
                  </a:lnTo>
                  <a:lnTo>
                    <a:pt x="1034" y="402"/>
                  </a:lnTo>
                  <a:lnTo>
                    <a:pt x="1032" y="400"/>
                  </a:lnTo>
                  <a:lnTo>
                    <a:pt x="1032" y="398"/>
                  </a:lnTo>
                  <a:lnTo>
                    <a:pt x="1030" y="398"/>
                  </a:lnTo>
                  <a:lnTo>
                    <a:pt x="1026" y="400"/>
                  </a:lnTo>
                  <a:lnTo>
                    <a:pt x="1024" y="404"/>
                  </a:lnTo>
                  <a:lnTo>
                    <a:pt x="1024" y="408"/>
                  </a:lnTo>
                  <a:lnTo>
                    <a:pt x="1024" y="410"/>
                  </a:lnTo>
                  <a:lnTo>
                    <a:pt x="1032" y="410"/>
                  </a:lnTo>
                  <a:close/>
                  <a:moveTo>
                    <a:pt x="1044" y="820"/>
                  </a:moveTo>
                  <a:lnTo>
                    <a:pt x="1044" y="820"/>
                  </a:lnTo>
                  <a:lnTo>
                    <a:pt x="1046" y="820"/>
                  </a:lnTo>
                  <a:lnTo>
                    <a:pt x="1050" y="820"/>
                  </a:lnTo>
                  <a:lnTo>
                    <a:pt x="1054" y="816"/>
                  </a:lnTo>
                  <a:lnTo>
                    <a:pt x="1056" y="812"/>
                  </a:lnTo>
                  <a:lnTo>
                    <a:pt x="1060" y="812"/>
                  </a:lnTo>
                  <a:lnTo>
                    <a:pt x="1064" y="810"/>
                  </a:lnTo>
                  <a:lnTo>
                    <a:pt x="1068" y="808"/>
                  </a:lnTo>
                  <a:lnTo>
                    <a:pt x="1068" y="806"/>
                  </a:lnTo>
                  <a:lnTo>
                    <a:pt x="1066" y="804"/>
                  </a:lnTo>
                  <a:lnTo>
                    <a:pt x="1064" y="802"/>
                  </a:lnTo>
                  <a:lnTo>
                    <a:pt x="1060" y="804"/>
                  </a:lnTo>
                  <a:lnTo>
                    <a:pt x="1052" y="808"/>
                  </a:lnTo>
                  <a:lnTo>
                    <a:pt x="1046" y="814"/>
                  </a:lnTo>
                  <a:lnTo>
                    <a:pt x="1044" y="818"/>
                  </a:lnTo>
                  <a:lnTo>
                    <a:pt x="1044" y="820"/>
                  </a:lnTo>
                  <a:close/>
                  <a:moveTo>
                    <a:pt x="844" y="336"/>
                  </a:moveTo>
                  <a:lnTo>
                    <a:pt x="844" y="336"/>
                  </a:lnTo>
                  <a:lnTo>
                    <a:pt x="852" y="332"/>
                  </a:lnTo>
                  <a:lnTo>
                    <a:pt x="856" y="326"/>
                  </a:lnTo>
                  <a:lnTo>
                    <a:pt x="854" y="320"/>
                  </a:lnTo>
                  <a:lnTo>
                    <a:pt x="850" y="312"/>
                  </a:lnTo>
                  <a:lnTo>
                    <a:pt x="846" y="306"/>
                  </a:lnTo>
                  <a:lnTo>
                    <a:pt x="842" y="306"/>
                  </a:lnTo>
                  <a:lnTo>
                    <a:pt x="840" y="310"/>
                  </a:lnTo>
                  <a:lnTo>
                    <a:pt x="840" y="316"/>
                  </a:lnTo>
                  <a:lnTo>
                    <a:pt x="840" y="330"/>
                  </a:lnTo>
                  <a:lnTo>
                    <a:pt x="842" y="336"/>
                  </a:lnTo>
                  <a:lnTo>
                    <a:pt x="844" y="336"/>
                  </a:lnTo>
                  <a:close/>
                  <a:moveTo>
                    <a:pt x="794" y="292"/>
                  </a:moveTo>
                  <a:lnTo>
                    <a:pt x="794" y="292"/>
                  </a:lnTo>
                  <a:lnTo>
                    <a:pt x="800" y="276"/>
                  </a:lnTo>
                  <a:lnTo>
                    <a:pt x="804" y="264"/>
                  </a:lnTo>
                  <a:lnTo>
                    <a:pt x="806" y="256"/>
                  </a:lnTo>
                  <a:lnTo>
                    <a:pt x="804" y="256"/>
                  </a:lnTo>
                  <a:lnTo>
                    <a:pt x="798" y="264"/>
                  </a:lnTo>
                  <a:lnTo>
                    <a:pt x="794" y="278"/>
                  </a:lnTo>
                  <a:lnTo>
                    <a:pt x="794" y="292"/>
                  </a:lnTo>
                  <a:close/>
                  <a:moveTo>
                    <a:pt x="1118" y="446"/>
                  </a:moveTo>
                  <a:lnTo>
                    <a:pt x="1118" y="446"/>
                  </a:lnTo>
                  <a:lnTo>
                    <a:pt x="1122" y="448"/>
                  </a:lnTo>
                  <a:lnTo>
                    <a:pt x="1128" y="450"/>
                  </a:lnTo>
                  <a:lnTo>
                    <a:pt x="1142" y="448"/>
                  </a:lnTo>
                  <a:lnTo>
                    <a:pt x="1158" y="448"/>
                  </a:lnTo>
                  <a:lnTo>
                    <a:pt x="1166" y="450"/>
                  </a:lnTo>
                  <a:lnTo>
                    <a:pt x="1172" y="452"/>
                  </a:lnTo>
                  <a:lnTo>
                    <a:pt x="1180" y="454"/>
                  </a:lnTo>
                  <a:lnTo>
                    <a:pt x="1186" y="454"/>
                  </a:lnTo>
                  <a:lnTo>
                    <a:pt x="1190" y="452"/>
                  </a:lnTo>
                  <a:lnTo>
                    <a:pt x="1194" y="450"/>
                  </a:lnTo>
                  <a:lnTo>
                    <a:pt x="1204" y="442"/>
                  </a:lnTo>
                  <a:lnTo>
                    <a:pt x="1208" y="440"/>
                  </a:lnTo>
                  <a:lnTo>
                    <a:pt x="1212" y="440"/>
                  </a:lnTo>
                  <a:lnTo>
                    <a:pt x="1216" y="440"/>
                  </a:lnTo>
                  <a:lnTo>
                    <a:pt x="1218" y="438"/>
                  </a:lnTo>
                  <a:lnTo>
                    <a:pt x="1218" y="434"/>
                  </a:lnTo>
                  <a:lnTo>
                    <a:pt x="1218" y="430"/>
                  </a:lnTo>
                  <a:lnTo>
                    <a:pt x="1214" y="420"/>
                  </a:lnTo>
                  <a:lnTo>
                    <a:pt x="1206" y="414"/>
                  </a:lnTo>
                  <a:lnTo>
                    <a:pt x="1200" y="410"/>
                  </a:lnTo>
                  <a:lnTo>
                    <a:pt x="1198" y="406"/>
                  </a:lnTo>
                  <a:lnTo>
                    <a:pt x="1200" y="406"/>
                  </a:lnTo>
                  <a:lnTo>
                    <a:pt x="1206" y="404"/>
                  </a:lnTo>
                  <a:lnTo>
                    <a:pt x="1218" y="402"/>
                  </a:lnTo>
                  <a:lnTo>
                    <a:pt x="1222" y="398"/>
                  </a:lnTo>
                  <a:lnTo>
                    <a:pt x="1222" y="394"/>
                  </a:lnTo>
                  <a:lnTo>
                    <a:pt x="1222" y="392"/>
                  </a:lnTo>
                  <a:lnTo>
                    <a:pt x="1224" y="390"/>
                  </a:lnTo>
                  <a:lnTo>
                    <a:pt x="1230" y="388"/>
                  </a:lnTo>
                  <a:lnTo>
                    <a:pt x="1232" y="388"/>
                  </a:lnTo>
                  <a:lnTo>
                    <a:pt x="1232" y="384"/>
                  </a:lnTo>
                  <a:lnTo>
                    <a:pt x="1232" y="376"/>
                  </a:lnTo>
                  <a:lnTo>
                    <a:pt x="1228" y="364"/>
                  </a:lnTo>
                  <a:lnTo>
                    <a:pt x="1234" y="372"/>
                  </a:lnTo>
                  <a:lnTo>
                    <a:pt x="1240" y="376"/>
                  </a:lnTo>
                  <a:lnTo>
                    <a:pt x="1246" y="378"/>
                  </a:lnTo>
                  <a:lnTo>
                    <a:pt x="1256" y="376"/>
                  </a:lnTo>
                  <a:lnTo>
                    <a:pt x="1268" y="372"/>
                  </a:lnTo>
                  <a:lnTo>
                    <a:pt x="1272" y="374"/>
                  </a:lnTo>
                  <a:lnTo>
                    <a:pt x="1272" y="376"/>
                  </a:lnTo>
                  <a:lnTo>
                    <a:pt x="1274" y="378"/>
                  </a:lnTo>
                  <a:lnTo>
                    <a:pt x="1278" y="382"/>
                  </a:lnTo>
                  <a:lnTo>
                    <a:pt x="1284" y="384"/>
                  </a:lnTo>
                  <a:lnTo>
                    <a:pt x="1296" y="386"/>
                  </a:lnTo>
                  <a:lnTo>
                    <a:pt x="1308" y="388"/>
                  </a:lnTo>
                  <a:lnTo>
                    <a:pt x="1316" y="392"/>
                  </a:lnTo>
                  <a:lnTo>
                    <a:pt x="1324" y="398"/>
                  </a:lnTo>
                  <a:lnTo>
                    <a:pt x="1330" y="406"/>
                  </a:lnTo>
                  <a:lnTo>
                    <a:pt x="1340" y="426"/>
                  </a:lnTo>
                  <a:lnTo>
                    <a:pt x="1348" y="438"/>
                  </a:lnTo>
                  <a:lnTo>
                    <a:pt x="1358" y="450"/>
                  </a:lnTo>
                  <a:lnTo>
                    <a:pt x="1374" y="472"/>
                  </a:lnTo>
                  <a:lnTo>
                    <a:pt x="1380" y="480"/>
                  </a:lnTo>
                  <a:lnTo>
                    <a:pt x="1384" y="486"/>
                  </a:lnTo>
                  <a:lnTo>
                    <a:pt x="1392" y="488"/>
                  </a:lnTo>
                  <a:lnTo>
                    <a:pt x="1400" y="492"/>
                  </a:lnTo>
                  <a:lnTo>
                    <a:pt x="1432" y="498"/>
                  </a:lnTo>
                  <a:lnTo>
                    <a:pt x="1450" y="502"/>
                  </a:lnTo>
                  <a:lnTo>
                    <a:pt x="1462" y="506"/>
                  </a:lnTo>
                  <a:lnTo>
                    <a:pt x="1470" y="510"/>
                  </a:lnTo>
                  <a:lnTo>
                    <a:pt x="1476" y="512"/>
                  </a:lnTo>
                  <a:lnTo>
                    <a:pt x="1482" y="518"/>
                  </a:lnTo>
                  <a:lnTo>
                    <a:pt x="1488" y="520"/>
                  </a:lnTo>
                  <a:lnTo>
                    <a:pt x="1492" y="520"/>
                  </a:lnTo>
                  <a:lnTo>
                    <a:pt x="1500" y="520"/>
                  </a:lnTo>
                  <a:lnTo>
                    <a:pt x="1506" y="518"/>
                  </a:lnTo>
                  <a:lnTo>
                    <a:pt x="1512" y="514"/>
                  </a:lnTo>
                  <a:lnTo>
                    <a:pt x="1514" y="510"/>
                  </a:lnTo>
                  <a:lnTo>
                    <a:pt x="1514" y="506"/>
                  </a:lnTo>
                  <a:lnTo>
                    <a:pt x="1512" y="502"/>
                  </a:lnTo>
                  <a:lnTo>
                    <a:pt x="1508" y="498"/>
                  </a:lnTo>
                  <a:lnTo>
                    <a:pt x="1498" y="494"/>
                  </a:lnTo>
                  <a:lnTo>
                    <a:pt x="1482" y="490"/>
                  </a:lnTo>
                  <a:lnTo>
                    <a:pt x="1474" y="484"/>
                  </a:lnTo>
                  <a:lnTo>
                    <a:pt x="1472" y="482"/>
                  </a:lnTo>
                  <a:lnTo>
                    <a:pt x="1472" y="480"/>
                  </a:lnTo>
                  <a:lnTo>
                    <a:pt x="1474" y="476"/>
                  </a:lnTo>
                  <a:lnTo>
                    <a:pt x="1478" y="472"/>
                  </a:lnTo>
                  <a:lnTo>
                    <a:pt x="1478" y="470"/>
                  </a:lnTo>
                  <a:lnTo>
                    <a:pt x="1476" y="468"/>
                  </a:lnTo>
                  <a:lnTo>
                    <a:pt x="1464" y="466"/>
                  </a:lnTo>
                  <a:lnTo>
                    <a:pt x="1454" y="464"/>
                  </a:lnTo>
                  <a:lnTo>
                    <a:pt x="1450" y="462"/>
                  </a:lnTo>
                  <a:lnTo>
                    <a:pt x="1448" y="458"/>
                  </a:lnTo>
                  <a:lnTo>
                    <a:pt x="1448" y="454"/>
                  </a:lnTo>
                  <a:lnTo>
                    <a:pt x="1450" y="448"/>
                  </a:lnTo>
                  <a:lnTo>
                    <a:pt x="1454" y="442"/>
                  </a:lnTo>
                  <a:lnTo>
                    <a:pt x="1454" y="438"/>
                  </a:lnTo>
                  <a:lnTo>
                    <a:pt x="1448" y="438"/>
                  </a:lnTo>
                  <a:lnTo>
                    <a:pt x="1436" y="440"/>
                  </a:lnTo>
                  <a:lnTo>
                    <a:pt x="1432" y="440"/>
                  </a:lnTo>
                  <a:lnTo>
                    <a:pt x="1428" y="440"/>
                  </a:lnTo>
                  <a:lnTo>
                    <a:pt x="1422" y="436"/>
                  </a:lnTo>
                  <a:lnTo>
                    <a:pt x="1416" y="428"/>
                  </a:lnTo>
                  <a:lnTo>
                    <a:pt x="1412" y="420"/>
                  </a:lnTo>
                  <a:lnTo>
                    <a:pt x="1408" y="400"/>
                  </a:lnTo>
                  <a:lnTo>
                    <a:pt x="1404" y="394"/>
                  </a:lnTo>
                  <a:lnTo>
                    <a:pt x="1400" y="390"/>
                  </a:lnTo>
                  <a:lnTo>
                    <a:pt x="1394" y="386"/>
                  </a:lnTo>
                  <a:lnTo>
                    <a:pt x="1386" y="378"/>
                  </a:lnTo>
                  <a:lnTo>
                    <a:pt x="1370" y="360"/>
                  </a:lnTo>
                  <a:lnTo>
                    <a:pt x="1364" y="350"/>
                  </a:lnTo>
                  <a:lnTo>
                    <a:pt x="1358" y="340"/>
                  </a:lnTo>
                  <a:lnTo>
                    <a:pt x="1356" y="334"/>
                  </a:lnTo>
                  <a:lnTo>
                    <a:pt x="1356" y="332"/>
                  </a:lnTo>
                  <a:lnTo>
                    <a:pt x="1358" y="330"/>
                  </a:lnTo>
                  <a:lnTo>
                    <a:pt x="1362" y="328"/>
                  </a:lnTo>
                  <a:lnTo>
                    <a:pt x="1366" y="326"/>
                  </a:lnTo>
                  <a:lnTo>
                    <a:pt x="1376" y="328"/>
                  </a:lnTo>
                  <a:lnTo>
                    <a:pt x="1388" y="328"/>
                  </a:lnTo>
                  <a:lnTo>
                    <a:pt x="1392" y="326"/>
                  </a:lnTo>
                  <a:lnTo>
                    <a:pt x="1394" y="324"/>
                  </a:lnTo>
                  <a:lnTo>
                    <a:pt x="1396" y="320"/>
                  </a:lnTo>
                  <a:lnTo>
                    <a:pt x="1396" y="314"/>
                  </a:lnTo>
                  <a:lnTo>
                    <a:pt x="1390" y="302"/>
                  </a:lnTo>
                  <a:lnTo>
                    <a:pt x="1386" y="296"/>
                  </a:lnTo>
                  <a:lnTo>
                    <a:pt x="1380" y="292"/>
                  </a:lnTo>
                  <a:lnTo>
                    <a:pt x="1374" y="290"/>
                  </a:lnTo>
                  <a:lnTo>
                    <a:pt x="1370" y="290"/>
                  </a:lnTo>
                  <a:lnTo>
                    <a:pt x="1364" y="290"/>
                  </a:lnTo>
                  <a:lnTo>
                    <a:pt x="1360" y="290"/>
                  </a:lnTo>
                  <a:lnTo>
                    <a:pt x="1354" y="284"/>
                  </a:lnTo>
                  <a:lnTo>
                    <a:pt x="1344" y="276"/>
                  </a:lnTo>
                  <a:lnTo>
                    <a:pt x="1338" y="272"/>
                  </a:lnTo>
                  <a:lnTo>
                    <a:pt x="1328" y="270"/>
                  </a:lnTo>
                  <a:lnTo>
                    <a:pt x="1312" y="264"/>
                  </a:lnTo>
                  <a:lnTo>
                    <a:pt x="1310" y="262"/>
                  </a:lnTo>
                  <a:lnTo>
                    <a:pt x="1308" y="260"/>
                  </a:lnTo>
                  <a:lnTo>
                    <a:pt x="1310" y="256"/>
                  </a:lnTo>
                  <a:lnTo>
                    <a:pt x="1312" y="246"/>
                  </a:lnTo>
                  <a:lnTo>
                    <a:pt x="1312" y="238"/>
                  </a:lnTo>
                  <a:lnTo>
                    <a:pt x="1306" y="230"/>
                  </a:lnTo>
                  <a:lnTo>
                    <a:pt x="1298" y="220"/>
                  </a:lnTo>
                  <a:lnTo>
                    <a:pt x="1288" y="210"/>
                  </a:lnTo>
                  <a:lnTo>
                    <a:pt x="1278" y="200"/>
                  </a:lnTo>
                  <a:lnTo>
                    <a:pt x="1266" y="192"/>
                  </a:lnTo>
                  <a:lnTo>
                    <a:pt x="1256" y="188"/>
                  </a:lnTo>
                  <a:lnTo>
                    <a:pt x="1248" y="186"/>
                  </a:lnTo>
                  <a:lnTo>
                    <a:pt x="1242" y="186"/>
                  </a:lnTo>
                  <a:lnTo>
                    <a:pt x="1238" y="184"/>
                  </a:lnTo>
                  <a:lnTo>
                    <a:pt x="1230" y="178"/>
                  </a:lnTo>
                  <a:lnTo>
                    <a:pt x="1220" y="170"/>
                  </a:lnTo>
                  <a:lnTo>
                    <a:pt x="1214" y="166"/>
                  </a:lnTo>
                  <a:lnTo>
                    <a:pt x="1202" y="162"/>
                  </a:lnTo>
                  <a:lnTo>
                    <a:pt x="1190" y="158"/>
                  </a:lnTo>
                  <a:lnTo>
                    <a:pt x="1174" y="152"/>
                  </a:lnTo>
                  <a:lnTo>
                    <a:pt x="1140" y="134"/>
                  </a:lnTo>
                  <a:lnTo>
                    <a:pt x="1106" y="120"/>
                  </a:lnTo>
                  <a:lnTo>
                    <a:pt x="1092" y="116"/>
                  </a:lnTo>
                  <a:lnTo>
                    <a:pt x="1078" y="116"/>
                  </a:lnTo>
                  <a:lnTo>
                    <a:pt x="1080" y="404"/>
                  </a:lnTo>
                  <a:lnTo>
                    <a:pt x="1094" y="414"/>
                  </a:lnTo>
                  <a:lnTo>
                    <a:pt x="1104" y="426"/>
                  </a:lnTo>
                  <a:lnTo>
                    <a:pt x="1118" y="446"/>
                  </a:lnTo>
                  <a:close/>
                  <a:moveTo>
                    <a:pt x="784" y="288"/>
                  </a:moveTo>
                  <a:lnTo>
                    <a:pt x="784" y="288"/>
                  </a:lnTo>
                  <a:lnTo>
                    <a:pt x="786" y="290"/>
                  </a:lnTo>
                  <a:lnTo>
                    <a:pt x="788" y="288"/>
                  </a:lnTo>
                  <a:lnTo>
                    <a:pt x="790" y="286"/>
                  </a:lnTo>
                  <a:lnTo>
                    <a:pt x="790" y="282"/>
                  </a:lnTo>
                  <a:lnTo>
                    <a:pt x="788" y="278"/>
                  </a:lnTo>
                  <a:lnTo>
                    <a:pt x="784" y="274"/>
                  </a:lnTo>
                  <a:lnTo>
                    <a:pt x="782" y="276"/>
                  </a:lnTo>
                  <a:lnTo>
                    <a:pt x="784" y="288"/>
                  </a:lnTo>
                  <a:close/>
                  <a:moveTo>
                    <a:pt x="1474" y="80"/>
                  </a:moveTo>
                  <a:lnTo>
                    <a:pt x="1474" y="80"/>
                  </a:lnTo>
                  <a:lnTo>
                    <a:pt x="1476" y="80"/>
                  </a:lnTo>
                  <a:lnTo>
                    <a:pt x="1476" y="78"/>
                  </a:lnTo>
                  <a:lnTo>
                    <a:pt x="1474" y="72"/>
                  </a:lnTo>
                  <a:lnTo>
                    <a:pt x="1468" y="68"/>
                  </a:lnTo>
                  <a:lnTo>
                    <a:pt x="1466" y="68"/>
                  </a:lnTo>
                  <a:lnTo>
                    <a:pt x="1464" y="68"/>
                  </a:lnTo>
                  <a:lnTo>
                    <a:pt x="1464" y="72"/>
                  </a:lnTo>
                  <a:lnTo>
                    <a:pt x="1464" y="76"/>
                  </a:lnTo>
                  <a:lnTo>
                    <a:pt x="1468" y="78"/>
                  </a:lnTo>
                  <a:lnTo>
                    <a:pt x="1474" y="80"/>
                  </a:lnTo>
                  <a:close/>
                  <a:moveTo>
                    <a:pt x="1436" y="292"/>
                  </a:moveTo>
                  <a:lnTo>
                    <a:pt x="1436" y="292"/>
                  </a:lnTo>
                  <a:lnTo>
                    <a:pt x="1442" y="296"/>
                  </a:lnTo>
                  <a:lnTo>
                    <a:pt x="1446" y="298"/>
                  </a:lnTo>
                  <a:lnTo>
                    <a:pt x="1448" y="298"/>
                  </a:lnTo>
                  <a:lnTo>
                    <a:pt x="1450" y="298"/>
                  </a:lnTo>
                  <a:lnTo>
                    <a:pt x="1452" y="296"/>
                  </a:lnTo>
                  <a:lnTo>
                    <a:pt x="1454" y="296"/>
                  </a:lnTo>
                  <a:lnTo>
                    <a:pt x="1458" y="298"/>
                  </a:lnTo>
                  <a:lnTo>
                    <a:pt x="1462" y="302"/>
                  </a:lnTo>
                  <a:lnTo>
                    <a:pt x="1468" y="306"/>
                  </a:lnTo>
                  <a:lnTo>
                    <a:pt x="1478" y="308"/>
                  </a:lnTo>
                  <a:lnTo>
                    <a:pt x="1490" y="306"/>
                  </a:lnTo>
                  <a:lnTo>
                    <a:pt x="1502" y="302"/>
                  </a:lnTo>
                  <a:lnTo>
                    <a:pt x="1514" y="298"/>
                  </a:lnTo>
                  <a:lnTo>
                    <a:pt x="1524" y="292"/>
                  </a:lnTo>
                  <a:lnTo>
                    <a:pt x="1534" y="284"/>
                  </a:lnTo>
                  <a:lnTo>
                    <a:pt x="1538" y="278"/>
                  </a:lnTo>
                  <a:lnTo>
                    <a:pt x="1542" y="272"/>
                  </a:lnTo>
                  <a:lnTo>
                    <a:pt x="1544" y="270"/>
                  </a:lnTo>
                  <a:lnTo>
                    <a:pt x="1548" y="270"/>
                  </a:lnTo>
                  <a:lnTo>
                    <a:pt x="1550" y="270"/>
                  </a:lnTo>
                  <a:lnTo>
                    <a:pt x="1556" y="272"/>
                  </a:lnTo>
                  <a:lnTo>
                    <a:pt x="1560" y="270"/>
                  </a:lnTo>
                  <a:lnTo>
                    <a:pt x="1566" y="268"/>
                  </a:lnTo>
                  <a:lnTo>
                    <a:pt x="1568" y="264"/>
                  </a:lnTo>
                  <a:lnTo>
                    <a:pt x="1570" y="260"/>
                  </a:lnTo>
                  <a:lnTo>
                    <a:pt x="1566" y="252"/>
                  </a:lnTo>
                  <a:lnTo>
                    <a:pt x="1564" y="246"/>
                  </a:lnTo>
                  <a:lnTo>
                    <a:pt x="1564" y="244"/>
                  </a:lnTo>
                  <a:lnTo>
                    <a:pt x="1566" y="242"/>
                  </a:lnTo>
                  <a:lnTo>
                    <a:pt x="1572" y="240"/>
                  </a:lnTo>
                  <a:lnTo>
                    <a:pt x="1574" y="238"/>
                  </a:lnTo>
                  <a:lnTo>
                    <a:pt x="1580" y="228"/>
                  </a:lnTo>
                  <a:lnTo>
                    <a:pt x="1580" y="216"/>
                  </a:lnTo>
                  <a:lnTo>
                    <a:pt x="1578" y="212"/>
                  </a:lnTo>
                  <a:lnTo>
                    <a:pt x="1576" y="208"/>
                  </a:lnTo>
                  <a:lnTo>
                    <a:pt x="1572" y="202"/>
                  </a:lnTo>
                  <a:lnTo>
                    <a:pt x="1566" y="202"/>
                  </a:lnTo>
                  <a:lnTo>
                    <a:pt x="1548" y="202"/>
                  </a:lnTo>
                  <a:lnTo>
                    <a:pt x="1546" y="204"/>
                  </a:lnTo>
                  <a:lnTo>
                    <a:pt x="1544" y="206"/>
                  </a:lnTo>
                  <a:lnTo>
                    <a:pt x="1542" y="210"/>
                  </a:lnTo>
                  <a:lnTo>
                    <a:pt x="1546" y="224"/>
                  </a:lnTo>
                  <a:lnTo>
                    <a:pt x="1550" y="236"/>
                  </a:lnTo>
                  <a:lnTo>
                    <a:pt x="1548" y="240"/>
                  </a:lnTo>
                  <a:lnTo>
                    <a:pt x="1542" y="240"/>
                  </a:lnTo>
                  <a:lnTo>
                    <a:pt x="1536" y="238"/>
                  </a:lnTo>
                  <a:lnTo>
                    <a:pt x="1530" y="242"/>
                  </a:lnTo>
                  <a:lnTo>
                    <a:pt x="1526" y="248"/>
                  </a:lnTo>
                  <a:lnTo>
                    <a:pt x="1522" y="254"/>
                  </a:lnTo>
                  <a:lnTo>
                    <a:pt x="1518" y="262"/>
                  </a:lnTo>
                  <a:lnTo>
                    <a:pt x="1514" y="266"/>
                  </a:lnTo>
                  <a:lnTo>
                    <a:pt x="1510" y="268"/>
                  </a:lnTo>
                  <a:lnTo>
                    <a:pt x="1504" y="266"/>
                  </a:lnTo>
                  <a:lnTo>
                    <a:pt x="1500" y="264"/>
                  </a:lnTo>
                  <a:lnTo>
                    <a:pt x="1498" y="264"/>
                  </a:lnTo>
                  <a:lnTo>
                    <a:pt x="1494" y="268"/>
                  </a:lnTo>
                  <a:lnTo>
                    <a:pt x="1490" y="270"/>
                  </a:lnTo>
                  <a:lnTo>
                    <a:pt x="1488" y="264"/>
                  </a:lnTo>
                  <a:lnTo>
                    <a:pt x="1486" y="256"/>
                  </a:lnTo>
                  <a:lnTo>
                    <a:pt x="1488" y="250"/>
                  </a:lnTo>
                  <a:lnTo>
                    <a:pt x="1490" y="248"/>
                  </a:lnTo>
                  <a:lnTo>
                    <a:pt x="1490" y="244"/>
                  </a:lnTo>
                  <a:lnTo>
                    <a:pt x="1488" y="242"/>
                  </a:lnTo>
                  <a:lnTo>
                    <a:pt x="1484" y="244"/>
                  </a:lnTo>
                  <a:lnTo>
                    <a:pt x="1480" y="250"/>
                  </a:lnTo>
                  <a:lnTo>
                    <a:pt x="1480" y="262"/>
                  </a:lnTo>
                  <a:lnTo>
                    <a:pt x="1478" y="266"/>
                  </a:lnTo>
                  <a:lnTo>
                    <a:pt x="1476" y="268"/>
                  </a:lnTo>
                  <a:lnTo>
                    <a:pt x="1470" y="270"/>
                  </a:lnTo>
                  <a:lnTo>
                    <a:pt x="1460" y="268"/>
                  </a:lnTo>
                  <a:lnTo>
                    <a:pt x="1448" y="266"/>
                  </a:lnTo>
                  <a:lnTo>
                    <a:pt x="1434" y="266"/>
                  </a:lnTo>
                  <a:lnTo>
                    <a:pt x="1424" y="264"/>
                  </a:lnTo>
                  <a:lnTo>
                    <a:pt x="1416" y="266"/>
                  </a:lnTo>
                  <a:lnTo>
                    <a:pt x="1414" y="268"/>
                  </a:lnTo>
                  <a:lnTo>
                    <a:pt x="1414" y="270"/>
                  </a:lnTo>
                  <a:lnTo>
                    <a:pt x="1416" y="278"/>
                  </a:lnTo>
                  <a:lnTo>
                    <a:pt x="1420" y="280"/>
                  </a:lnTo>
                  <a:lnTo>
                    <a:pt x="1428" y="284"/>
                  </a:lnTo>
                  <a:lnTo>
                    <a:pt x="1436" y="292"/>
                  </a:lnTo>
                  <a:close/>
                  <a:moveTo>
                    <a:pt x="1546" y="156"/>
                  </a:moveTo>
                  <a:lnTo>
                    <a:pt x="1546" y="156"/>
                  </a:lnTo>
                  <a:lnTo>
                    <a:pt x="1552" y="162"/>
                  </a:lnTo>
                  <a:lnTo>
                    <a:pt x="1562" y="170"/>
                  </a:lnTo>
                  <a:lnTo>
                    <a:pt x="1572" y="178"/>
                  </a:lnTo>
                  <a:lnTo>
                    <a:pt x="1582" y="190"/>
                  </a:lnTo>
                  <a:lnTo>
                    <a:pt x="1586" y="196"/>
                  </a:lnTo>
                  <a:lnTo>
                    <a:pt x="1588" y="202"/>
                  </a:lnTo>
                  <a:lnTo>
                    <a:pt x="1590" y="210"/>
                  </a:lnTo>
                  <a:lnTo>
                    <a:pt x="1590" y="220"/>
                  </a:lnTo>
                  <a:lnTo>
                    <a:pt x="1592" y="224"/>
                  </a:lnTo>
                  <a:lnTo>
                    <a:pt x="1594" y="232"/>
                  </a:lnTo>
                  <a:lnTo>
                    <a:pt x="1598" y="236"/>
                  </a:lnTo>
                  <a:lnTo>
                    <a:pt x="1602" y="234"/>
                  </a:lnTo>
                  <a:lnTo>
                    <a:pt x="1604" y="230"/>
                  </a:lnTo>
                  <a:lnTo>
                    <a:pt x="1608" y="222"/>
                  </a:lnTo>
                  <a:lnTo>
                    <a:pt x="1608" y="214"/>
                  </a:lnTo>
                  <a:lnTo>
                    <a:pt x="1608" y="206"/>
                  </a:lnTo>
                  <a:lnTo>
                    <a:pt x="1604" y="196"/>
                  </a:lnTo>
                  <a:lnTo>
                    <a:pt x="1596" y="190"/>
                  </a:lnTo>
                  <a:lnTo>
                    <a:pt x="1582" y="178"/>
                  </a:lnTo>
                  <a:lnTo>
                    <a:pt x="1574" y="168"/>
                  </a:lnTo>
                  <a:lnTo>
                    <a:pt x="1566" y="160"/>
                  </a:lnTo>
                  <a:lnTo>
                    <a:pt x="1556" y="154"/>
                  </a:lnTo>
                  <a:lnTo>
                    <a:pt x="1538" y="142"/>
                  </a:lnTo>
                  <a:lnTo>
                    <a:pt x="1526" y="132"/>
                  </a:lnTo>
                  <a:lnTo>
                    <a:pt x="1518" y="126"/>
                  </a:lnTo>
                  <a:lnTo>
                    <a:pt x="1516" y="126"/>
                  </a:lnTo>
                  <a:lnTo>
                    <a:pt x="1514" y="128"/>
                  </a:lnTo>
                  <a:lnTo>
                    <a:pt x="1510" y="132"/>
                  </a:lnTo>
                  <a:lnTo>
                    <a:pt x="1508" y="134"/>
                  </a:lnTo>
                  <a:lnTo>
                    <a:pt x="1510" y="136"/>
                  </a:lnTo>
                  <a:lnTo>
                    <a:pt x="1516" y="138"/>
                  </a:lnTo>
                  <a:lnTo>
                    <a:pt x="1530" y="144"/>
                  </a:lnTo>
                  <a:lnTo>
                    <a:pt x="1538" y="150"/>
                  </a:lnTo>
                  <a:lnTo>
                    <a:pt x="1546" y="156"/>
                  </a:lnTo>
                  <a:close/>
                  <a:moveTo>
                    <a:pt x="1500" y="128"/>
                  </a:moveTo>
                  <a:lnTo>
                    <a:pt x="1500" y="128"/>
                  </a:lnTo>
                  <a:lnTo>
                    <a:pt x="1502" y="126"/>
                  </a:lnTo>
                  <a:lnTo>
                    <a:pt x="1502" y="122"/>
                  </a:lnTo>
                  <a:lnTo>
                    <a:pt x="1496" y="116"/>
                  </a:lnTo>
                  <a:lnTo>
                    <a:pt x="1492" y="114"/>
                  </a:lnTo>
                  <a:lnTo>
                    <a:pt x="1490" y="114"/>
                  </a:lnTo>
                  <a:lnTo>
                    <a:pt x="1486" y="114"/>
                  </a:lnTo>
                  <a:lnTo>
                    <a:pt x="1484" y="118"/>
                  </a:lnTo>
                  <a:lnTo>
                    <a:pt x="1484" y="120"/>
                  </a:lnTo>
                  <a:lnTo>
                    <a:pt x="1484" y="124"/>
                  </a:lnTo>
                  <a:lnTo>
                    <a:pt x="1488" y="128"/>
                  </a:lnTo>
                  <a:lnTo>
                    <a:pt x="1494" y="130"/>
                  </a:lnTo>
                  <a:lnTo>
                    <a:pt x="1498" y="130"/>
                  </a:lnTo>
                  <a:lnTo>
                    <a:pt x="1500" y="128"/>
                  </a:lnTo>
                  <a:close/>
                  <a:moveTo>
                    <a:pt x="726" y="46"/>
                  </a:moveTo>
                  <a:lnTo>
                    <a:pt x="726" y="46"/>
                  </a:lnTo>
                  <a:lnTo>
                    <a:pt x="726" y="50"/>
                  </a:lnTo>
                  <a:lnTo>
                    <a:pt x="724" y="54"/>
                  </a:lnTo>
                  <a:lnTo>
                    <a:pt x="716" y="62"/>
                  </a:lnTo>
                  <a:lnTo>
                    <a:pt x="714" y="66"/>
                  </a:lnTo>
                  <a:lnTo>
                    <a:pt x="716" y="70"/>
                  </a:lnTo>
                  <a:lnTo>
                    <a:pt x="718" y="72"/>
                  </a:lnTo>
                  <a:lnTo>
                    <a:pt x="726" y="72"/>
                  </a:lnTo>
                  <a:lnTo>
                    <a:pt x="738" y="72"/>
                  </a:lnTo>
                  <a:lnTo>
                    <a:pt x="742" y="74"/>
                  </a:lnTo>
                  <a:lnTo>
                    <a:pt x="746" y="78"/>
                  </a:lnTo>
                  <a:lnTo>
                    <a:pt x="752" y="88"/>
                  </a:lnTo>
                  <a:lnTo>
                    <a:pt x="758" y="104"/>
                  </a:lnTo>
                  <a:lnTo>
                    <a:pt x="762" y="106"/>
                  </a:lnTo>
                  <a:lnTo>
                    <a:pt x="764" y="108"/>
                  </a:lnTo>
                  <a:lnTo>
                    <a:pt x="774" y="110"/>
                  </a:lnTo>
                  <a:lnTo>
                    <a:pt x="786" y="110"/>
                  </a:lnTo>
                  <a:lnTo>
                    <a:pt x="798" y="110"/>
                  </a:lnTo>
                  <a:lnTo>
                    <a:pt x="810" y="108"/>
                  </a:lnTo>
                  <a:lnTo>
                    <a:pt x="820" y="108"/>
                  </a:lnTo>
                  <a:lnTo>
                    <a:pt x="828" y="110"/>
                  </a:lnTo>
                  <a:lnTo>
                    <a:pt x="830" y="112"/>
                  </a:lnTo>
                  <a:lnTo>
                    <a:pt x="830" y="114"/>
                  </a:lnTo>
                  <a:lnTo>
                    <a:pt x="830" y="120"/>
                  </a:lnTo>
                  <a:lnTo>
                    <a:pt x="826" y="122"/>
                  </a:lnTo>
                  <a:lnTo>
                    <a:pt x="822" y="122"/>
                  </a:lnTo>
                  <a:lnTo>
                    <a:pt x="816" y="120"/>
                  </a:lnTo>
                  <a:lnTo>
                    <a:pt x="808" y="120"/>
                  </a:lnTo>
                  <a:lnTo>
                    <a:pt x="802" y="118"/>
                  </a:lnTo>
                  <a:lnTo>
                    <a:pt x="798" y="120"/>
                  </a:lnTo>
                  <a:lnTo>
                    <a:pt x="794" y="124"/>
                  </a:lnTo>
                  <a:lnTo>
                    <a:pt x="790" y="130"/>
                  </a:lnTo>
                  <a:lnTo>
                    <a:pt x="784" y="134"/>
                  </a:lnTo>
                  <a:lnTo>
                    <a:pt x="778" y="134"/>
                  </a:lnTo>
                  <a:lnTo>
                    <a:pt x="772" y="132"/>
                  </a:lnTo>
                  <a:lnTo>
                    <a:pt x="766" y="130"/>
                  </a:lnTo>
                  <a:lnTo>
                    <a:pt x="760" y="130"/>
                  </a:lnTo>
                  <a:lnTo>
                    <a:pt x="756" y="132"/>
                  </a:lnTo>
                  <a:lnTo>
                    <a:pt x="756" y="138"/>
                  </a:lnTo>
                  <a:lnTo>
                    <a:pt x="756" y="142"/>
                  </a:lnTo>
                  <a:lnTo>
                    <a:pt x="760" y="144"/>
                  </a:lnTo>
                  <a:lnTo>
                    <a:pt x="768" y="146"/>
                  </a:lnTo>
                  <a:lnTo>
                    <a:pt x="780" y="156"/>
                  </a:lnTo>
                  <a:lnTo>
                    <a:pt x="786" y="164"/>
                  </a:lnTo>
                  <a:lnTo>
                    <a:pt x="790" y="170"/>
                  </a:lnTo>
                  <a:lnTo>
                    <a:pt x="790" y="174"/>
                  </a:lnTo>
                  <a:lnTo>
                    <a:pt x="788" y="176"/>
                  </a:lnTo>
                  <a:lnTo>
                    <a:pt x="784" y="180"/>
                  </a:lnTo>
                  <a:lnTo>
                    <a:pt x="784" y="184"/>
                  </a:lnTo>
                  <a:lnTo>
                    <a:pt x="784" y="188"/>
                  </a:lnTo>
                  <a:lnTo>
                    <a:pt x="788" y="194"/>
                  </a:lnTo>
                  <a:lnTo>
                    <a:pt x="792" y="196"/>
                  </a:lnTo>
                  <a:lnTo>
                    <a:pt x="796" y="198"/>
                  </a:lnTo>
                  <a:lnTo>
                    <a:pt x="802" y="198"/>
                  </a:lnTo>
                  <a:lnTo>
                    <a:pt x="806" y="196"/>
                  </a:lnTo>
                  <a:lnTo>
                    <a:pt x="810" y="192"/>
                  </a:lnTo>
                  <a:lnTo>
                    <a:pt x="814" y="186"/>
                  </a:lnTo>
                  <a:lnTo>
                    <a:pt x="816" y="178"/>
                  </a:lnTo>
                  <a:lnTo>
                    <a:pt x="822" y="158"/>
                  </a:lnTo>
                  <a:lnTo>
                    <a:pt x="826" y="150"/>
                  </a:lnTo>
                  <a:lnTo>
                    <a:pt x="828" y="150"/>
                  </a:lnTo>
                  <a:lnTo>
                    <a:pt x="828" y="154"/>
                  </a:lnTo>
                  <a:lnTo>
                    <a:pt x="824" y="168"/>
                  </a:lnTo>
                  <a:lnTo>
                    <a:pt x="824" y="174"/>
                  </a:lnTo>
                  <a:lnTo>
                    <a:pt x="824" y="178"/>
                  </a:lnTo>
                  <a:lnTo>
                    <a:pt x="828" y="180"/>
                  </a:lnTo>
                  <a:lnTo>
                    <a:pt x="832" y="184"/>
                  </a:lnTo>
                  <a:lnTo>
                    <a:pt x="844" y="188"/>
                  </a:lnTo>
                  <a:lnTo>
                    <a:pt x="852" y="192"/>
                  </a:lnTo>
                  <a:lnTo>
                    <a:pt x="860" y="198"/>
                  </a:lnTo>
                  <a:lnTo>
                    <a:pt x="870" y="206"/>
                  </a:lnTo>
                  <a:lnTo>
                    <a:pt x="878" y="212"/>
                  </a:lnTo>
                  <a:lnTo>
                    <a:pt x="886" y="214"/>
                  </a:lnTo>
                  <a:lnTo>
                    <a:pt x="892" y="216"/>
                  </a:lnTo>
                  <a:lnTo>
                    <a:pt x="906" y="218"/>
                  </a:lnTo>
                  <a:lnTo>
                    <a:pt x="916" y="220"/>
                  </a:lnTo>
                  <a:lnTo>
                    <a:pt x="926" y="226"/>
                  </a:lnTo>
                  <a:lnTo>
                    <a:pt x="940" y="232"/>
                  </a:lnTo>
                  <a:lnTo>
                    <a:pt x="954" y="238"/>
                  </a:lnTo>
                  <a:lnTo>
                    <a:pt x="966" y="242"/>
                  </a:lnTo>
                  <a:lnTo>
                    <a:pt x="980" y="252"/>
                  </a:lnTo>
                  <a:lnTo>
                    <a:pt x="988" y="258"/>
                  </a:lnTo>
                  <a:lnTo>
                    <a:pt x="994" y="266"/>
                  </a:lnTo>
                  <a:lnTo>
                    <a:pt x="1004" y="284"/>
                  </a:lnTo>
                  <a:lnTo>
                    <a:pt x="1014" y="302"/>
                  </a:lnTo>
                  <a:lnTo>
                    <a:pt x="1024" y="318"/>
                  </a:lnTo>
                  <a:lnTo>
                    <a:pt x="1028" y="324"/>
                  </a:lnTo>
                  <a:lnTo>
                    <a:pt x="1030" y="328"/>
                  </a:lnTo>
                  <a:lnTo>
                    <a:pt x="1028" y="330"/>
                  </a:lnTo>
                  <a:lnTo>
                    <a:pt x="1026" y="332"/>
                  </a:lnTo>
                  <a:lnTo>
                    <a:pt x="1022" y="336"/>
                  </a:lnTo>
                  <a:lnTo>
                    <a:pt x="1020" y="338"/>
                  </a:lnTo>
                  <a:lnTo>
                    <a:pt x="1020" y="344"/>
                  </a:lnTo>
                  <a:lnTo>
                    <a:pt x="1024" y="350"/>
                  </a:lnTo>
                  <a:lnTo>
                    <a:pt x="1028" y="354"/>
                  </a:lnTo>
                  <a:lnTo>
                    <a:pt x="1036" y="360"/>
                  </a:lnTo>
                  <a:lnTo>
                    <a:pt x="1040" y="364"/>
                  </a:lnTo>
                  <a:lnTo>
                    <a:pt x="1044" y="368"/>
                  </a:lnTo>
                  <a:lnTo>
                    <a:pt x="1044" y="372"/>
                  </a:lnTo>
                  <a:lnTo>
                    <a:pt x="1040" y="380"/>
                  </a:lnTo>
                  <a:lnTo>
                    <a:pt x="1036" y="394"/>
                  </a:lnTo>
                  <a:lnTo>
                    <a:pt x="1036" y="396"/>
                  </a:lnTo>
                  <a:lnTo>
                    <a:pt x="1038" y="398"/>
                  </a:lnTo>
                  <a:lnTo>
                    <a:pt x="1044" y="396"/>
                  </a:lnTo>
                  <a:lnTo>
                    <a:pt x="1046" y="396"/>
                  </a:lnTo>
                  <a:lnTo>
                    <a:pt x="1050" y="396"/>
                  </a:lnTo>
                  <a:lnTo>
                    <a:pt x="1052" y="398"/>
                  </a:lnTo>
                  <a:lnTo>
                    <a:pt x="1054" y="398"/>
                  </a:lnTo>
                  <a:lnTo>
                    <a:pt x="1060" y="398"/>
                  </a:lnTo>
                  <a:lnTo>
                    <a:pt x="1068" y="398"/>
                  </a:lnTo>
                  <a:lnTo>
                    <a:pt x="1074" y="400"/>
                  </a:lnTo>
                  <a:lnTo>
                    <a:pt x="1080" y="404"/>
                  </a:lnTo>
                  <a:lnTo>
                    <a:pt x="1078" y="116"/>
                  </a:lnTo>
                  <a:lnTo>
                    <a:pt x="1070" y="114"/>
                  </a:lnTo>
                  <a:lnTo>
                    <a:pt x="1060" y="110"/>
                  </a:lnTo>
                  <a:lnTo>
                    <a:pt x="1038" y="100"/>
                  </a:lnTo>
                  <a:lnTo>
                    <a:pt x="1002" y="76"/>
                  </a:lnTo>
                  <a:lnTo>
                    <a:pt x="996" y="72"/>
                  </a:lnTo>
                  <a:lnTo>
                    <a:pt x="988" y="72"/>
                  </a:lnTo>
                  <a:lnTo>
                    <a:pt x="982" y="74"/>
                  </a:lnTo>
                  <a:lnTo>
                    <a:pt x="976" y="76"/>
                  </a:lnTo>
                  <a:lnTo>
                    <a:pt x="970" y="80"/>
                  </a:lnTo>
                  <a:lnTo>
                    <a:pt x="966" y="84"/>
                  </a:lnTo>
                  <a:lnTo>
                    <a:pt x="964" y="88"/>
                  </a:lnTo>
                  <a:lnTo>
                    <a:pt x="964" y="92"/>
                  </a:lnTo>
                  <a:lnTo>
                    <a:pt x="966" y="96"/>
                  </a:lnTo>
                  <a:lnTo>
                    <a:pt x="964" y="100"/>
                  </a:lnTo>
                  <a:lnTo>
                    <a:pt x="956" y="106"/>
                  </a:lnTo>
                  <a:lnTo>
                    <a:pt x="946" y="110"/>
                  </a:lnTo>
                  <a:lnTo>
                    <a:pt x="942" y="110"/>
                  </a:lnTo>
                  <a:lnTo>
                    <a:pt x="938" y="108"/>
                  </a:lnTo>
                  <a:lnTo>
                    <a:pt x="936" y="108"/>
                  </a:lnTo>
                  <a:lnTo>
                    <a:pt x="934" y="110"/>
                  </a:lnTo>
                  <a:lnTo>
                    <a:pt x="928" y="116"/>
                  </a:lnTo>
                  <a:lnTo>
                    <a:pt x="914" y="138"/>
                  </a:lnTo>
                  <a:lnTo>
                    <a:pt x="906" y="148"/>
                  </a:lnTo>
                  <a:lnTo>
                    <a:pt x="898" y="158"/>
                  </a:lnTo>
                  <a:lnTo>
                    <a:pt x="890" y="164"/>
                  </a:lnTo>
                  <a:lnTo>
                    <a:pt x="886" y="164"/>
                  </a:lnTo>
                  <a:lnTo>
                    <a:pt x="882" y="164"/>
                  </a:lnTo>
                  <a:lnTo>
                    <a:pt x="876" y="160"/>
                  </a:lnTo>
                  <a:lnTo>
                    <a:pt x="872" y="156"/>
                  </a:lnTo>
                  <a:lnTo>
                    <a:pt x="870" y="150"/>
                  </a:lnTo>
                  <a:lnTo>
                    <a:pt x="868" y="144"/>
                  </a:lnTo>
                  <a:lnTo>
                    <a:pt x="864" y="132"/>
                  </a:lnTo>
                  <a:lnTo>
                    <a:pt x="862" y="126"/>
                  </a:lnTo>
                  <a:lnTo>
                    <a:pt x="860" y="120"/>
                  </a:lnTo>
                  <a:lnTo>
                    <a:pt x="856" y="118"/>
                  </a:lnTo>
                  <a:lnTo>
                    <a:pt x="854" y="118"/>
                  </a:lnTo>
                  <a:lnTo>
                    <a:pt x="852" y="124"/>
                  </a:lnTo>
                  <a:lnTo>
                    <a:pt x="852" y="126"/>
                  </a:lnTo>
                  <a:lnTo>
                    <a:pt x="846" y="114"/>
                  </a:lnTo>
                  <a:lnTo>
                    <a:pt x="842" y="102"/>
                  </a:lnTo>
                  <a:lnTo>
                    <a:pt x="842" y="94"/>
                  </a:lnTo>
                  <a:lnTo>
                    <a:pt x="842" y="86"/>
                  </a:lnTo>
                  <a:lnTo>
                    <a:pt x="844" y="80"/>
                  </a:lnTo>
                  <a:lnTo>
                    <a:pt x="846" y="66"/>
                  </a:lnTo>
                  <a:lnTo>
                    <a:pt x="846" y="58"/>
                  </a:lnTo>
                  <a:lnTo>
                    <a:pt x="844" y="48"/>
                  </a:lnTo>
                  <a:lnTo>
                    <a:pt x="840" y="40"/>
                  </a:lnTo>
                  <a:lnTo>
                    <a:pt x="838" y="36"/>
                  </a:lnTo>
                  <a:lnTo>
                    <a:pt x="834" y="36"/>
                  </a:lnTo>
                  <a:lnTo>
                    <a:pt x="830" y="36"/>
                  </a:lnTo>
                  <a:lnTo>
                    <a:pt x="826" y="36"/>
                  </a:lnTo>
                  <a:lnTo>
                    <a:pt x="818" y="36"/>
                  </a:lnTo>
                  <a:lnTo>
                    <a:pt x="810" y="32"/>
                  </a:lnTo>
                  <a:lnTo>
                    <a:pt x="798" y="26"/>
                  </a:lnTo>
                  <a:lnTo>
                    <a:pt x="786" y="18"/>
                  </a:lnTo>
                  <a:lnTo>
                    <a:pt x="776" y="16"/>
                  </a:lnTo>
                  <a:lnTo>
                    <a:pt x="770" y="16"/>
                  </a:lnTo>
                  <a:lnTo>
                    <a:pt x="764" y="20"/>
                  </a:lnTo>
                  <a:lnTo>
                    <a:pt x="756" y="28"/>
                  </a:lnTo>
                  <a:lnTo>
                    <a:pt x="752" y="32"/>
                  </a:lnTo>
                  <a:lnTo>
                    <a:pt x="748" y="34"/>
                  </a:lnTo>
                  <a:lnTo>
                    <a:pt x="740" y="36"/>
                  </a:lnTo>
                  <a:lnTo>
                    <a:pt x="732" y="38"/>
                  </a:lnTo>
                  <a:lnTo>
                    <a:pt x="728" y="40"/>
                  </a:lnTo>
                  <a:lnTo>
                    <a:pt x="726" y="42"/>
                  </a:lnTo>
                  <a:lnTo>
                    <a:pt x="726" y="46"/>
                  </a:lnTo>
                  <a:close/>
                  <a:moveTo>
                    <a:pt x="1600" y="438"/>
                  </a:moveTo>
                  <a:lnTo>
                    <a:pt x="1600" y="438"/>
                  </a:lnTo>
                  <a:lnTo>
                    <a:pt x="1594" y="436"/>
                  </a:lnTo>
                  <a:lnTo>
                    <a:pt x="1588" y="434"/>
                  </a:lnTo>
                  <a:lnTo>
                    <a:pt x="1586" y="436"/>
                  </a:lnTo>
                  <a:lnTo>
                    <a:pt x="1588" y="438"/>
                  </a:lnTo>
                  <a:lnTo>
                    <a:pt x="1590" y="442"/>
                  </a:lnTo>
                  <a:lnTo>
                    <a:pt x="1590" y="444"/>
                  </a:lnTo>
                  <a:lnTo>
                    <a:pt x="1592" y="446"/>
                  </a:lnTo>
                  <a:lnTo>
                    <a:pt x="1596" y="448"/>
                  </a:lnTo>
                  <a:lnTo>
                    <a:pt x="1600" y="448"/>
                  </a:lnTo>
                  <a:lnTo>
                    <a:pt x="1604" y="446"/>
                  </a:lnTo>
                  <a:lnTo>
                    <a:pt x="1604" y="444"/>
                  </a:lnTo>
                  <a:lnTo>
                    <a:pt x="1600" y="438"/>
                  </a:lnTo>
                  <a:close/>
                  <a:moveTo>
                    <a:pt x="1606" y="1248"/>
                  </a:moveTo>
                  <a:lnTo>
                    <a:pt x="1606" y="1248"/>
                  </a:lnTo>
                  <a:lnTo>
                    <a:pt x="1606" y="1252"/>
                  </a:lnTo>
                  <a:lnTo>
                    <a:pt x="1604" y="1260"/>
                  </a:lnTo>
                  <a:lnTo>
                    <a:pt x="1604" y="1268"/>
                  </a:lnTo>
                  <a:lnTo>
                    <a:pt x="1604" y="1272"/>
                  </a:lnTo>
                  <a:lnTo>
                    <a:pt x="1606" y="1274"/>
                  </a:lnTo>
                  <a:lnTo>
                    <a:pt x="1608" y="1274"/>
                  </a:lnTo>
                  <a:lnTo>
                    <a:pt x="1610" y="1270"/>
                  </a:lnTo>
                  <a:lnTo>
                    <a:pt x="1610" y="1260"/>
                  </a:lnTo>
                  <a:lnTo>
                    <a:pt x="1614" y="1250"/>
                  </a:lnTo>
                  <a:lnTo>
                    <a:pt x="1620" y="1240"/>
                  </a:lnTo>
                  <a:lnTo>
                    <a:pt x="1620" y="1236"/>
                  </a:lnTo>
                  <a:lnTo>
                    <a:pt x="1618" y="1232"/>
                  </a:lnTo>
                  <a:lnTo>
                    <a:pt x="1618" y="1228"/>
                  </a:lnTo>
                  <a:lnTo>
                    <a:pt x="1616" y="1224"/>
                  </a:lnTo>
                  <a:lnTo>
                    <a:pt x="1616" y="1220"/>
                  </a:lnTo>
                  <a:lnTo>
                    <a:pt x="1614" y="1220"/>
                  </a:lnTo>
                  <a:lnTo>
                    <a:pt x="1612" y="1224"/>
                  </a:lnTo>
                  <a:lnTo>
                    <a:pt x="1612" y="1230"/>
                  </a:lnTo>
                  <a:lnTo>
                    <a:pt x="1612" y="1234"/>
                  </a:lnTo>
                  <a:lnTo>
                    <a:pt x="1612" y="1236"/>
                  </a:lnTo>
                  <a:lnTo>
                    <a:pt x="1608" y="1240"/>
                  </a:lnTo>
                  <a:lnTo>
                    <a:pt x="1606" y="1244"/>
                  </a:lnTo>
                  <a:lnTo>
                    <a:pt x="1604" y="1246"/>
                  </a:lnTo>
                  <a:lnTo>
                    <a:pt x="1606" y="124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2" name="Freeform 6153">
              <a:extLst>
                <a:ext uri="{FF2B5EF4-FFF2-40B4-BE49-F238E27FC236}">
                  <a16:creationId xmlns:a16="http://schemas.microsoft.com/office/drawing/2014/main" id="{72BD7EF7-29E4-4DF5-8769-FFB255E8C94D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915668" y="3671184"/>
              <a:ext cx="1239013" cy="1462182"/>
            </a:xfrm>
            <a:custGeom>
              <a:avLst/>
              <a:gdLst>
                <a:gd name="T0" fmla="*/ 1666909 w 2776"/>
                <a:gd name="T1" fmla="*/ 1643154 h 3628"/>
                <a:gd name="T2" fmla="*/ 1572963 w 2776"/>
                <a:gd name="T3" fmla="*/ 1734581 h 3628"/>
                <a:gd name="T4" fmla="*/ 1567885 w 2776"/>
                <a:gd name="T5" fmla="*/ 1859024 h 3628"/>
                <a:gd name="T6" fmla="*/ 1595815 w 2776"/>
                <a:gd name="T7" fmla="*/ 1991086 h 3628"/>
                <a:gd name="T8" fmla="*/ 1712613 w 2776"/>
                <a:gd name="T9" fmla="*/ 1728232 h 3628"/>
                <a:gd name="T10" fmla="*/ 1736734 w 2776"/>
                <a:gd name="T11" fmla="*/ 1666011 h 3628"/>
                <a:gd name="T12" fmla="*/ 1698648 w 2776"/>
                <a:gd name="T13" fmla="*/ 844434 h 3628"/>
                <a:gd name="T14" fmla="*/ 1576772 w 2776"/>
                <a:gd name="T15" fmla="*/ 868560 h 3628"/>
                <a:gd name="T16" fmla="*/ 1533607 w 2776"/>
                <a:gd name="T17" fmla="*/ 784752 h 3628"/>
                <a:gd name="T18" fmla="*/ 1484095 w 2776"/>
                <a:gd name="T19" fmla="*/ 730150 h 3628"/>
                <a:gd name="T20" fmla="*/ 1434583 w 2776"/>
                <a:gd name="T21" fmla="*/ 633643 h 3628"/>
                <a:gd name="T22" fmla="*/ 1401575 w 2776"/>
                <a:gd name="T23" fmla="*/ 539676 h 3628"/>
                <a:gd name="T24" fmla="*/ 1353332 w 2776"/>
                <a:gd name="T25" fmla="*/ 454597 h 3628"/>
                <a:gd name="T26" fmla="*/ 1301281 w 2776"/>
                <a:gd name="T27" fmla="*/ 313647 h 3628"/>
                <a:gd name="T28" fmla="*/ 1263195 w 2776"/>
                <a:gd name="T29" fmla="*/ 199363 h 3628"/>
                <a:gd name="T30" fmla="*/ 1197179 w 2776"/>
                <a:gd name="T31" fmla="*/ 219680 h 3628"/>
                <a:gd name="T32" fmla="*/ 1090537 w 2776"/>
                <a:gd name="T33" fmla="*/ 195553 h 3628"/>
                <a:gd name="T34" fmla="*/ 983895 w 2776"/>
                <a:gd name="T35" fmla="*/ 156189 h 3628"/>
                <a:gd name="T36" fmla="*/ 873445 w 2776"/>
                <a:gd name="T37" fmla="*/ 208251 h 3628"/>
                <a:gd name="T38" fmla="*/ 743952 w 2776"/>
                <a:gd name="T39" fmla="*/ 142220 h 3628"/>
                <a:gd name="T40" fmla="*/ 731256 w 2776"/>
                <a:gd name="T41" fmla="*/ 69840 h 3628"/>
                <a:gd name="T42" fmla="*/ 712213 w 2776"/>
                <a:gd name="T43" fmla="*/ 20317 h 3628"/>
                <a:gd name="T44" fmla="*/ 633502 w 2776"/>
                <a:gd name="T45" fmla="*/ 8889 h 3628"/>
                <a:gd name="T46" fmla="*/ 534477 w 2776"/>
                <a:gd name="T47" fmla="*/ 17778 h 3628"/>
                <a:gd name="T48" fmla="*/ 424027 w 2776"/>
                <a:gd name="T49" fmla="*/ 54602 h 3628"/>
                <a:gd name="T50" fmla="*/ 344046 w 2776"/>
                <a:gd name="T51" fmla="*/ 72380 h 3628"/>
                <a:gd name="T52" fmla="*/ 210744 w 2776"/>
                <a:gd name="T53" fmla="*/ 162538 h 3628"/>
                <a:gd name="T54" fmla="*/ 124415 w 2776"/>
                <a:gd name="T55" fmla="*/ 312377 h 3628"/>
                <a:gd name="T56" fmla="*/ 38086 w 2776"/>
                <a:gd name="T57" fmla="*/ 453328 h 3628"/>
                <a:gd name="T58" fmla="*/ 15235 w 2776"/>
                <a:gd name="T59" fmla="*/ 537136 h 3628"/>
                <a:gd name="T60" fmla="*/ 38086 w 2776"/>
                <a:gd name="T61" fmla="*/ 626024 h 3628"/>
                <a:gd name="T62" fmla="*/ 25391 w 2776"/>
                <a:gd name="T63" fmla="*/ 775863 h 3628"/>
                <a:gd name="T64" fmla="*/ 34278 w 2776"/>
                <a:gd name="T65" fmla="*/ 802530 h 3628"/>
                <a:gd name="T66" fmla="*/ 34278 w 2776"/>
                <a:gd name="T67" fmla="*/ 825386 h 3628"/>
                <a:gd name="T68" fmla="*/ 54590 w 2776"/>
                <a:gd name="T69" fmla="*/ 848243 h 3628"/>
                <a:gd name="T70" fmla="*/ 71094 w 2776"/>
                <a:gd name="T71" fmla="*/ 863481 h 3628"/>
                <a:gd name="T72" fmla="*/ 106642 w 2776"/>
                <a:gd name="T73" fmla="*/ 909195 h 3628"/>
                <a:gd name="T74" fmla="*/ 115528 w 2776"/>
                <a:gd name="T75" fmla="*/ 940941 h 3628"/>
                <a:gd name="T76" fmla="*/ 171388 w 2776"/>
                <a:gd name="T77" fmla="*/ 996813 h 3628"/>
                <a:gd name="T78" fmla="*/ 319925 w 2776"/>
                <a:gd name="T79" fmla="*/ 1036177 h 3628"/>
                <a:gd name="T80" fmla="*/ 411332 w 2776"/>
                <a:gd name="T81" fmla="*/ 1038717 h 3628"/>
                <a:gd name="T82" fmla="*/ 535747 w 2776"/>
                <a:gd name="T83" fmla="*/ 993003 h 3628"/>
                <a:gd name="T84" fmla="*/ 632232 w 2776"/>
                <a:gd name="T85" fmla="*/ 1052685 h 3628"/>
                <a:gd name="T86" fmla="*/ 690631 w 2776"/>
                <a:gd name="T87" fmla="*/ 1069193 h 3628"/>
                <a:gd name="T88" fmla="*/ 686822 w 2776"/>
                <a:gd name="T89" fmla="*/ 1158081 h 3628"/>
                <a:gd name="T90" fmla="*/ 700787 w 2776"/>
                <a:gd name="T91" fmla="*/ 1193636 h 3628"/>
                <a:gd name="T92" fmla="*/ 690631 w 2776"/>
                <a:gd name="T93" fmla="*/ 1262206 h 3628"/>
                <a:gd name="T94" fmla="*/ 766804 w 2776"/>
                <a:gd name="T95" fmla="*/ 1376491 h 3628"/>
                <a:gd name="T96" fmla="*/ 797273 w 2776"/>
                <a:gd name="T97" fmla="*/ 1521251 h 3628"/>
                <a:gd name="T98" fmla="*/ 746491 w 2776"/>
                <a:gd name="T99" fmla="*/ 1737121 h 3628"/>
                <a:gd name="T100" fmla="*/ 846785 w 2776"/>
                <a:gd name="T101" fmla="*/ 2073625 h 3628"/>
                <a:gd name="T102" fmla="*/ 903914 w 2776"/>
                <a:gd name="T103" fmla="*/ 2242511 h 3628"/>
                <a:gd name="T104" fmla="*/ 934383 w 2776"/>
                <a:gd name="T105" fmla="*/ 2289495 h 3628"/>
                <a:gd name="T106" fmla="*/ 1009286 w 2776"/>
                <a:gd name="T107" fmla="*/ 2284416 h 3628"/>
                <a:gd name="T108" fmla="*/ 1104502 w 2776"/>
                <a:gd name="T109" fmla="*/ 2269178 h 3628"/>
                <a:gd name="T110" fmla="*/ 1280968 w 2776"/>
                <a:gd name="T111" fmla="*/ 2079974 h 3628"/>
                <a:gd name="T112" fmla="*/ 1354602 w 2776"/>
                <a:gd name="T113" fmla="*/ 1940293 h 3628"/>
                <a:gd name="T114" fmla="*/ 1338098 w 2776"/>
                <a:gd name="T115" fmla="*/ 1812041 h 3628"/>
                <a:gd name="T116" fmla="*/ 1482826 w 2776"/>
                <a:gd name="T117" fmla="*/ 1673630 h 3628"/>
                <a:gd name="T118" fmla="*/ 1475208 w 2776"/>
                <a:gd name="T119" fmla="*/ 1513632 h 3628"/>
                <a:gd name="T120" fmla="*/ 1448548 w 2776"/>
                <a:gd name="T121" fmla="*/ 1400617 h 3628"/>
                <a:gd name="T122" fmla="*/ 1491712 w 2776"/>
                <a:gd name="T123" fmla="*/ 1268555 h 3628"/>
                <a:gd name="T124" fmla="*/ 1679605 w 2776"/>
                <a:gd name="T125" fmla="*/ 1045066 h 362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776"/>
                <a:gd name="T190" fmla="*/ 0 h 3628"/>
                <a:gd name="T191" fmla="*/ 2776 w 2776"/>
                <a:gd name="T192" fmla="*/ 3628 h 362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776" h="3628">
                  <a:moveTo>
                    <a:pt x="2710" y="2504"/>
                  </a:moveTo>
                  <a:lnTo>
                    <a:pt x="2710" y="2504"/>
                  </a:lnTo>
                  <a:lnTo>
                    <a:pt x="2706" y="2498"/>
                  </a:lnTo>
                  <a:lnTo>
                    <a:pt x="2702" y="2492"/>
                  </a:lnTo>
                  <a:lnTo>
                    <a:pt x="2698" y="2476"/>
                  </a:lnTo>
                  <a:lnTo>
                    <a:pt x="2696" y="2470"/>
                  </a:lnTo>
                  <a:lnTo>
                    <a:pt x="2692" y="2466"/>
                  </a:lnTo>
                  <a:lnTo>
                    <a:pt x="2690" y="2468"/>
                  </a:lnTo>
                  <a:lnTo>
                    <a:pt x="2684" y="2472"/>
                  </a:lnTo>
                  <a:lnTo>
                    <a:pt x="2680" y="2480"/>
                  </a:lnTo>
                  <a:lnTo>
                    <a:pt x="2678" y="2486"/>
                  </a:lnTo>
                  <a:lnTo>
                    <a:pt x="2676" y="2508"/>
                  </a:lnTo>
                  <a:lnTo>
                    <a:pt x="2674" y="2518"/>
                  </a:lnTo>
                  <a:lnTo>
                    <a:pt x="2672" y="2526"/>
                  </a:lnTo>
                  <a:lnTo>
                    <a:pt x="2668" y="2532"/>
                  </a:lnTo>
                  <a:lnTo>
                    <a:pt x="2664" y="2536"/>
                  </a:lnTo>
                  <a:lnTo>
                    <a:pt x="2656" y="2542"/>
                  </a:lnTo>
                  <a:lnTo>
                    <a:pt x="2648" y="2544"/>
                  </a:lnTo>
                  <a:lnTo>
                    <a:pt x="2634" y="2546"/>
                  </a:lnTo>
                  <a:lnTo>
                    <a:pt x="2632" y="2548"/>
                  </a:lnTo>
                  <a:lnTo>
                    <a:pt x="2632" y="2554"/>
                  </a:lnTo>
                  <a:lnTo>
                    <a:pt x="2638" y="2566"/>
                  </a:lnTo>
                  <a:lnTo>
                    <a:pt x="2636" y="2572"/>
                  </a:lnTo>
                  <a:lnTo>
                    <a:pt x="2636" y="2576"/>
                  </a:lnTo>
                  <a:lnTo>
                    <a:pt x="2626" y="2588"/>
                  </a:lnTo>
                  <a:lnTo>
                    <a:pt x="2606" y="2608"/>
                  </a:lnTo>
                  <a:lnTo>
                    <a:pt x="2596" y="2618"/>
                  </a:lnTo>
                  <a:lnTo>
                    <a:pt x="2588" y="2628"/>
                  </a:lnTo>
                  <a:lnTo>
                    <a:pt x="2578" y="2640"/>
                  </a:lnTo>
                  <a:lnTo>
                    <a:pt x="2572" y="2646"/>
                  </a:lnTo>
                  <a:lnTo>
                    <a:pt x="2564" y="2650"/>
                  </a:lnTo>
                  <a:lnTo>
                    <a:pt x="2554" y="2652"/>
                  </a:lnTo>
                  <a:lnTo>
                    <a:pt x="2538" y="2656"/>
                  </a:lnTo>
                  <a:lnTo>
                    <a:pt x="2530" y="2658"/>
                  </a:lnTo>
                  <a:lnTo>
                    <a:pt x="2526" y="2660"/>
                  </a:lnTo>
                  <a:lnTo>
                    <a:pt x="2522" y="2664"/>
                  </a:lnTo>
                  <a:lnTo>
                    <a:pt x="2520" y="2668"/>
                  </a:lnTo>
                  <a:lnTo>
                    <a:pt x="2516" y="2670"/>
                  </a:lnTo>
                  <a:lnTo>
                    <a:pt x="2512" y="2670"/>
                  </a:lnTo>
                  <a:lnTo>
                    <a:pt x="2506" y="2670"/>
                  </a:lnTo>
                  <a:lnTo>
                    <a:pt x="2500" y="2670"/>
                  </a:lnTo>
                  <a:lnTo>
                    <a:pt x="2496" y="2670"/>
                  </a:lnTo>
                  <a:lnTo>
                    <a:pt x="2496" y="2672"/>
                  </a:lnTo>
                  <a:lnTo>
                    <a:pt x="2496" y="2676"/>
                  </a:lnTo>
                  <a:lnTo>
                    <a:pt x="2494" y="2690"/>
                  </a:lnTo>
                  <a:lnTo>
                    <a:pt x="2492" y="2700"/>
                  </a:lnTo>
                  <a:lnTo>
                    <a:pt x="2486" y="2712"/>
                  </a:lnTo>
                  <a:lnTo>
                    <a:pt x="2480" y="2724"/>
                  </a:lnTo>
                  <a:lnTo>
                    <a:pt x="2478" y="2732"/>
                  </a:lnTo>
                  <a:lnTo>
                    <a:pt x="2478" y="2738"/>
                  </a:lnTo>
                  <a:lnTo>
                    <a:pt x="2478" y="2742"/>
                  </a:lnTo>
                  <a:lnTo>
                    <a:pt x="2482" y="2750"/>
                  </a:lnTo>
                  <a:lnTo>
                    <a:pt x="2482" y="2754"/>
                  </a:lnTo>
                  <a:lnTo>
                    <a:pt x="2482" y="2762"/>
                  </a:lnTo>
                  <a:lnTo>
                    <a:pt x="2480" y="2772"/>
                  </a:lnTo>
                  <a:lnTo>
                    <a:pt x="2480" y="2778"/>
                  </a:lnTo>
                  <a:lnTo>
                    <a:pt x="2484" y="2790"/>
                  </a:lnTo>
                  <a:lnTo>
                    <a:pt x="2488" y="2798"/>
                  </a:lnTo>
                  <a:lnTo>
                    <a:pt x="2488" y="2802"/>
                  </a:lnTo>
                  <a:lnTo>
                    <a:pt x="2488" y="2806"/>
                  </a:lnTo>
                  <a:lnTo>
                    <a:pt x="2488" y="2814"/>
                  </a:lnTo>
                  <a:lnTo>
                    <a:pt x="2490" y="2820"/>
                  </a:lnTo>
                  <a:lnTo>
                    <a:pt x="2494" y="2832"/>
                  </a:lnTo>
                  <a:lnTo>
                    <a:pt x="2498" y="2848"/>
                  </a:lnTo>
                  <a:lnTo>
                    <a:pt x="2498" y="2860"/>
                  </a:lnTo>
                  <a:lnTo>
                    <a:pt x="2496" y="2868"/>
                  </a:lnTo>
                  <a:lnTo>
                    <a:pt x="2492" y="2876"/>
                  </a:lnTo>
                  <a:lnTo>
                    <a:pt x="2488" y="2884"/>
                  </a:lnTo>
                  <a:lnTo>
                    <a:pt x="2480" y="2900"/>
                  </a:lnTo>
                  <a:lnTo>
                    <a:pt x="2476" y="2908"/>
                  </a:lnTo>
                  <a:lnTo>
                    <a:pt x="2474" y="2916"/>
                  </a:lnTo>
                  <a:lnTo>
                    <a:pt x="2472" y="2924"/>
                  </a:lnTo>
                  <a:lnTo>
                    <a:pt x="2470" y="2928"/>
                  </a:lnTo>
                  <a:lnTo>
                    <a:pt x="2466" y="2928"/>
                  </a:lnTo>
                  <a:lnTo>
                    <a:pt x="2464" y="2928"/>
                  </a:lnTo>
                  <a:lnTo>
                    <a:pt x="2462" y="2930"/>
                  </a:lnTo>
                  <a:lnTo>
                    <a:pt x="2458" y="2934"/>
                  </a:lnTo>
                  <a:lnTo>
                    <a:pt x="2454" y="2942"/>
                  </a:lnTo>
                  <a:lnTo>
                    <a:pt x="2450" y="2954"/>
                  </a:lnTo>
                  <a:lnTo>
                    <a:pt x="2448" y="2968"/>
                  </a:lnTo>
                  <a:lnTo>
                    <a:pt x="2446" y="2980"/>
                  </a:lnTo>
                  <a:lnTo>
                    <a:pt x="2448" y="2990"/>
                  </a:lnTo>
                  <a:lnTo>
                    <a:pt x="2448" y="2998"/>
                  </a:lnTo>
                  <a:lnTo>
                    <a:pt x="2456" y="3012"/>
                  </a:lnTo>
                  <a:lnTo>
                    <a:pt x="2464" y="3026"/>
                  </a:lnTo>
                  <a:lnTo>
                    <a:pt x="2466" y="3034"/>
                  </a:lnTo>
                  <a:lnTo>
                    <a:pt x="2466" y="3040"/>
                  </a:lnTo>
                  <a:lnTo>
                    <a:pt x="2466" y="3054"/>
                  </a:lnTo>
                  <a:lnTo>
                    <a:pt x="2464" y="3062"/>
                  </a:lnTo>
                  <a:lnTo>
                    <a:pt x="2466" y="3072"/>
                  </a:lnTo>
                  <a:lnTo>
                    <a:pt x="2468" y="3084"/>
                  </a:lnTo>
                  <a:lnTo>
                    <a:pt x="2474" y="3100"/>
                  </a:lnTo>
                  <a:lnTo>
                    <a:pt x="2480" y="3114"/>
                  </a:lnTo>
                  <a:lnTo>
                    <a:pt x="2486" y="3122"/>
                  </a:lnTo>
                  <a:lnTo>
                    <a:pt x="2492" y="3126"/>
                  </a:lnTo>
                  <a:lnTo>
                    <a:pt x="2498" y="3130"/>
                  </a:lnTo>
                  <a:lnTo>
                    <a:pt x="2510" y="3134"/>
                  </a:lnTo>
                  <a:lnTo>
                    <a:pt x="2514" y="3136"/>
                  </a:lnTo>
                  <a:lnTo>
                    <a:pt x="2520" y="3142"/>
                  </a:lnTo>
                  <a:lnTo>
                    <a:pt x="2522" y="3144"/>
                  </a:lnTo>
                  <a:lnTo>
                    <a:pt x="2526" y="3146"/>
                  </a:lnTo>
                  <a:lnTo>
                    <a:pt x="2534" y="3146"/>
                  </a:lnTo>
                  <a:lnTo>
                    <a:pt x="2544" y="3144"/>
                  </a:lnTo>
                  <a:lnTo>
                    <a:pt x="2554" y="3140"/>
                  </a:lnTo>
                  <a:lnTo>
                    <a:pt x="2574" y="3128"/>
                  </a:lnTo>
                  <a:lnTo>
                    <a:pt x="2584" y="3124"/>
                  </a:lnTo>
                  <a:lnTo>
                    <a:pt x="2594" y="3122"/>
                  </a:lnTo>
                  <a:lnTo>
                    <a:pt x="2598" y="3120"/>
                  </a:lnTo>
                  <a:lnTo>
                    <a:pt x="2602" y="3116"/>
                  </a:lnTo>
                  <a:lnTo>
                    <a:pt x="2610" y="3096"/>
                  </a:lnTo>
                  <a:lnTo>
                    <a:pt x="2620" y="3068"/>
                  </a:lnTo>
                  <a:lnTo>
                    <a:pt x="2628" y="3034"/>
                  </a:lnTo>
                  <a:lnTo>
                    <a:pt x="2648" y="2952"/>
                  </a:lnTo>
                  <a:lnTo>
                    <a:pt x="2668" y="2870"/>
                  </a:lnTo>
                  <a:lnTo>
                    <a:pt x="2682" y="2822"/>
                  </a:lnTo>
                  <a:lnTo>
                    <a:pt x="2694" y="2792"/>
                  </a:lnTo>
                  <a:lnTo>
                    <a:pt x="2696" y="2780"/>
                  </a:lnTo>
                  <a:lnTo>
                    <a:pt x="2700" y="2768"/>
                  </a:lnTo>
                  <a:lnTo>
                    <a:pt x="2700" y="2756"/>
                  </a:lnTo>
                  <a:lnTo>
                    <a:pt x="2698" y="2742"/>
                  </a:lnTo>
                  <a:lnTo>
                    <a:pt x="2698" y="2730"/>
                  </a:lnTo>
                  <a:lnTo>
                    <a:pt x="2698" y="2722"/>
                  </a:lnTo>
                  <a:lnTo>
                    <a:pt x="2700" y="2718"/>
                  </a:lnTo>
                  <a:lnTo>
                    <a:pt x="2704" y="2714"/>
                  </a:lnTo>
                  <a:lnTo>
                    <a:pt x="2710" y="2710"/>
                  </a:lnTo>
                  <a:lnTo>
                    <a:pt x="2712" y="2706"/>
                  </a:lnTo>
                  <a:lnTo>
                    <a:pt x="2710" y="2700"/>
                  </a:lnTo>
                  <a:lnTo>
                    <a:pt x="2710" y="2690"/>
                  </a:lnTo>
                  <a:lnTo>
                    <a:pt x="2712" y="2684"/>
                  </a:lnTo>
                  <a:lnTo>
                    <a:pt x="2712" y="2674"/>
                  </a:lnTo>
                  <a:lnTo>
                    <a:pt x="2712" y="2670"/>
                  </a:lnTo>
                  <a:lnTo>
                    <a:pt x="2710" y="2662"/>
                  </a:lnTo>
                  <a:lnTo>
                    <a:pt x="2706" y="2654"/>
                  </a:lnTo>
                  <a:lnTo>
                    <a:pt x="2706" y="2648"/>
                  </a:lnTo>
                  <a:lnTo>
                    <a:pt x="2706" y="2642"/>
                  </a:lnTo>
                  <a:lnTo>
                    <a:pt x="2708" y="2638"/>
                  </a:lnTo>
                  <a:lnTo>
                    <a:pt x="2710" y="2636"/>
                  </a:lnTo>
                  <a:lnTo>
                    <a:pt x="2714" y="2640"/>
                  </a:lnTo>
                  <a:lnTo>
                    <a:pt x="2718" y="2646"/>
                  </a:lnTo>
                  <a:lnTo>
                    <a:pt x="2722" y="2658"/>
                  </a:lnTo>
                  <a:lnTo>
                    <a:pt x="2724" y="2662"/>
                  </a:lnTo>
                  <a:lnTo>
                    <a:pt x="2728" y="2662"/>
                  </a:lnTo>
                  <a:lnTo>
                    <a:pt x="2732" y="2658"/>
                  </a:lnTo>
                  <a:lnTo>
                    <a:pt x="2734" y="2652"/>
                  </a:lnTo>
                  <a:lnTo>
                    <a:pt x="2736" y="2644"/>
                  </a:lnTo>
                  <a:lnTo>
                    <a:pt x="2738" y="2634"/>
                  </a:lnTo>
                  <a:lnTo>
                    <a:pt x="2736" y="2624"/>
                  </a:lnTo>
                  <a:lnTo>
                    <a:pt x="2734" y="2614"/>
                  </a:lnTo>
                  <a:lnTo>
                    <a:pt x="2732" y="2604"/>
                  </a:lnTo>
                  <a:lnTo>
                    <a:pt x="2730" y="2590"/>
                  </a:lnTo>
                  <a:lnTo>
                    <a:pt x="2724" y="2556"/>
                  </a:lnTo>
                  <a:lnTo>
                    <a:pt x="2720" y="2522"/>
                  </a:lnTo>
                  <a:lnTo>
                    <a:pt x="2716" y="2510"/>
                  </a:lnTo>
                  <a:lnTo>
                    <a:pt x="2710" y="2504"/>
                  </a:lnTo>
                  <a:close/>
                  <a:moveTo>
                    <a:pt x="2770" y="1364"/>
                  </a:moveTo>
                  <a:lnTo>
                    <a:pt x="2770" y="1364"/>
                  </a:lnTo>
                  <a:lnTo>
                    <a:pt x="2764" y="1352"/>
                  </a:lnTo>
                  <a:lnTo>
                    <a:pt x="2762" y="1342"/>
                  </a:lnTo>
                  <a:lnTo>
                    <a:pt x="2764" y="1332"/>
                  </a:lnTo>
                  <a:lnTo>
                    <a:pt x="2766" y="1322"/>
                  </a:lnTo>
                  <a:lnTo>
                    <a:pt x="2770" y="1316"/>
                  </a:lnTo>
                  <a:lnTo>
                    <a:pt x="2770" y="1308"/>
                  </a:lnTo>
                  <a:lnTo>
                    <a:pt x="2768" y="1304"/>
                  </a:lnTo>
                  <a:lnTo>
                    <a:pt x="2762" y="1300"/>
                  </a:lnTo>
                  <a:lnTo>
                    <a:pt x="2752" y="1300"/>
                  </a:lnTo>
                  <a:lnTo>
                    <a:pt x="2746" y="1302"/>
                  </a:lnTo>
                  <a:lnTo>
                    <a:pt x="2730" y="1314"/>
                  </a:lnTo>
                  <a:lnTo>
                    <a:pt x="2720" y="1320"/>
                  </a:lnTo>
                  <a:lnTo>
                    <a:pt x="2708" y="1326"/>
                  </a:lnTo>
                  <a:lnTo>
                    <a:pt x="2694" y="1330"/>
                  </a:lnTo>
                  <a:lnTo>
                    <a:pt x="2676" y="1330"/>
                  </a:lnTo>
                  <a:lnTo>
                    <a:pt x="2660" y="1332"/>
                  </a:lnTo>
                  <a:lnTo>
                    <a:pt x="2650" y="1332"/>
                  </a:lnTo>
                  <a:lnTo>
                    <a:pt x="2646" y="1334"/>
                  </a:lnTo>
                  <a:lnTo>
                    <a:pt x="2646" y="1336"/>
                  </a:lnTo>
                  <a:lnTo>
                    <a:pt x="2646" y="1338"/>
                  </a:lnTo>
                  <a:lnTo>
                    <a:pt x="2644" y="1340"/>
                  </a:lnTo>
                  <a:lnTo>
                    <a:pt x="2640" y="1340"/>
                  </a:lnTo>
                  <a:lnTo>
                    <a:pt x="2630" y="1340"/>
                  </a:lnTo>
                  <a:lnTo>
                    <a:pt x="2618" y="1340"/>
                  </a:lnTo>
                  <a:lnTo>
                    <a:pt x="2608" y="1342"/>
                  </a:lnTo>
                  <a:lnTo>
                    <a:pt x="2602" y="1346"/>
                  </a:lnTo>
                  <a:lnTo>
                    <a:pt x="2596" y="1352"/>
                  </a:lnTo>
                  <a:lnTo>
                    <a:pt x="2590" y="1356"/>
                  </a:lnTo>
                  <a:lnTo>
                    <a:pt x="2584" y="1360"/>
                  </a:lnTo>
                  <a:lnTo>
                    <a:pt x="2574" y="1360"/>
                  </a:lnTo>
                  <a:lnTo>
                    <a:pt x="2564" y="1358"/>
                  </a:lnTo>
                  <a:lnTo>
                    <a:pt x="2552" y="1356"/>
                  </a:lnTo>
                  <a:lnTo>
                    <a:pt x="2542" y="1356"/>
                  </a:lnTo>
                  <a:lnTo>
                    <a:pt x="2534" y="1360"/>
                  </a:lnTo>
                  <a:lnTo>
                    <a:pt x="2528" y="1366"/>
                  </a:lnTo>
                  <a:lnTo>
                    <a:pt x="2520" y="1370"/>
                  </a:lnTo>
                  <a:lnTo>
                    <a:pt x="2512" y="1374"/>
                  </a:lnTo>
                  <a:lnTo>
                    <a:pt x="2504" y="1376"/>
                  </a:lnTo>
                  <a:lnTo>
                    <a:pt x="2494" y="1374"/>
                  </a:lnTo>
                  <a:lnTo>
                    <a:pt x="2484" y="1368"/>
                  </a:lnTo>
                  <a:lnTo>
                    <a:pt x="2476" y="1362"/>
                  </a:lnTo>
                  <a:lnTo>
                    <a:pt x="2470" y="1356"/>
                  </a:lnTo>
                  <a:lnTo>
                    <a:pt x="2466" y="1350"/>
                  </a:lnTo>
                  <a:lnTo>
                    <a:pt x="2458" y="1334"/>
                  </a:lnTo>
                  <a:lnTo>
                    <a:pt x="2454" y="1328"/>
                  </a:lnTo>
                  <a:lnTo>
                    <a:pt x="2448" y="1320"/>
                  </a:lnTo>
                  <a:lnTo>
                    <a:pt x="2444" y="1318"/>
                  </a:lnTo>
                  <a:lnTo>
                    <a:pt x="2438" y="1316"/>
                  </a:lnTo>
                  <a:lnTo>
                    <a:pt x="2428" y="1316"/>
                  </a:lnTo>
                  <a:lnTo>
                    <a:pt x="2426" y="1316"/>
                  </a:lnTo>
                  <a:lnTo>
                    <a:pt x="2428" y="1314"/>
                  </a:lnTo>
                  <a:lnTo>
                    <a:pt x="2444" y="1302"/>
                  </a:lnTo>
                  <a:lnTo>
                    <a:pt x="2450" y="1298"/>
                  </a:lnTo>
                  <a:lnTo>
                    <a:pt x="2452" y="1294"/>
                  </a:lnTo>
                  <a:lnTo>
                    <a:pt x="2452" y="1288"/>
                  </a:lnTo>
                  <a:lnTo>
                    <a:pt x="2452" y="1284"/>
                  </a:lnTo>
                  <a:lnTo>
                    <a:pt x="2448" y="1272"/>
                  </a:lnTo>
                  <a:lnTo>
                    <a:pt x="2440" y="1260"/>
                  </a:lnTo>
                  <a:lnTo>
                    <a:pt x="2436" y="1256"/>
                  </a:lnTo>
                  <a:lnTo>
                    <a:pt x="2432" y="1254"/>
                  </a:lnTo>
                  <a:lnTo>
                    <a:pt x="2426" y="1252"/>
                  </a:lnTo>
                  <a:lnTo>
                    <a:pt x="2422" y="1244"/>
                  </a:lnTo>
                  <a:lnTo>
                    <a:pt x="2418" y="1238"/>
                  </a:lnTo>
                  <a:lnTo>
                    <a:pt x="2416" y="1236"/>
                  </a:lnTo>
                  <a:lnTo>
                    <a:pt x="2414" y="1232"/>
                  </a:lnTo>
                  <a:lnTo>
                    <a:pt x="2410" y="1224"/>
                  </a:lnTo>
                  <a:lnTo>
                    <a:pt x="2404" y="1214"/>
                  </a:lnTo>
                  <a:lnTo>
                    <a:pt x="2402" y="1214"/>
                  </a:lnTo>
                  <a:lnTo>
                    <a:pt x="2402" y="1216"/>
                  </a:lnTo>
                  <a:lnTo>
                    <a:pt x="2396" y="1208"/>
                  </a:lnTo>
                  <a:lnTo>
                    <a:pt x="2394" y="1204"/>
                  </a:lnTo>
                  <a:lnTo>
                    <a:pt x="2392" y="1202"/>
                  </a:lnTo>
                  <a:lnTo>
                    <a:pt x="2388" y="1202"/>
                  </a:lnTo>
                  <a:lnTo>
                    <a:pt x="2384" y="1202"/>
                  </a:lnTo>
                  <a:lnTo>
                    <a:pt x="2382" y="1198"/>
                  </a:lnTo>
                  <a:lnTo>
                    <a:pt x="2378" y="1192"/>
                  </a:lnTo>
                  <a:lnTo>
                    <a:pt x="2372" y="1182"/>
                  </a:lnTo>
                  <a:lnTo>
                    <a:pt x="2366" y="1172"/>
                  </a:lnTo>
                  <a:lnTo>
                    <a:pt x="2362" y="1166"/>
                  </a:lnTo>
                  <a:lnTo>
                    <a:pt x="2358" y="1164"/>
                  </a:lnTo>
                  <a:lnTo>
                    <a:pt x="2356" y="1164"/>
                  </a:lnTo>
                  <a:lnTo>
                    <a:pt x="2354" y="1166"/>
                  </a:lnTo>
                  <a:lnTo>
                    <a:pt x="2352" y="1166"/>
                  </a:lnTo>
                  <a:lnTo>
                    <a:pt x="2348" y="1162"/>
                  </a:lnTo>
                  <a:lnTo>
                    <a:pt x="2344" y="1156"/>
                  </a:lnTo>
                  <a:lnTo>
                    <a:pt x="2340" y="1150"/>
                  </a:lnTo>
                  <a:lnTo>
                    <a:pt x="2338" y="1150"/>
                  </a:lnTo>
                  <a:lnTo>
                    <a:pt x="2334" y="1150"/>
                  </a:lnTo>
                  <a:lnTo>
                    <a:pt x="2332" y="1152"/>
                  </a:lnTo>
                  <a:lnTo>
                    <a:pt x="2330" y="1152"/>
                  </a:lnTo>
                  <a:lnTo>
                    <a:pt x="2326" y="1150"/>
                  </a:lnTo>
                  <a:lnTo>
                    <a:pt x="2322" y="1144"/>
                  </a:lnTo>
                  <a:lnTo>
                    <a:pt x="2316" y="1132"/>
                  </a:lnTo>
                  <a:lnTo>
                    <a:pt x="2312" y="1124"/>
                  </a:lnTo>
                  <a:lnTo>
                    <a:pt x="2310" y="1122"/>
                  </a:lnTo>
                  <a:lnTo>
                    <a:pt x="2308" y="1124"/>
                  </a:lnTo>
                  <a:lnTo>
                    <a:pt x="2308" y="1128"/>
                  </a:lnTo>
                  <a:lnTo>
                    <a:pt x="2308" y="1140"/>
                  </a:lnTo>
                  <a:lnTo>
                    <a:pt x="2308" y="1144"/>
                  </a:lnTo>
                  <a:lnTo>
                    <a:pt x="2306" y="1146"/>
                  </a:lnTo>
                  <a:lnTo>
                    <a:pt x="2304" y="1142"/>
                  </a:lnTo>
                  <a:lnTo>
                    <a:pt x="2300" y="1136"/>
                  </a:lnTo>
                  <a:lnTo>
                    <a:pt x="2298" y="1126"/>
                  </a:lnTo>
                  <a:lnTo>
                    <a:pt x="2290" y="1110"/>
                  </a:lnTo>
                  <a:lnTo>
                    <a:pt x="2286" y="1100"/>
                  </a:lnTo>
                  <a:lnTo>
                    <a:pt x="2284" y="1086"/>
                  </a:lnTo>
                  <a:lnTo>
                    <a:pt x="2280" y="1058"/>
                  </a:lnTo>
                  <a:lnTo>
                    <a:pt x="2276" y="1042"/>
                  </a:lnTo>
                  <a:lnTo>
                    <a:pt x="2272" y="1026"/>
                  </a:lnTo>
                  <a:lnTo>
                    <a:pt x="2268" y="1012"/>
                  </a:lnTo>
                  <a:lnTo>
                    <a:pt x="2260" y="998"/>
                  </a:lnTo>
                  <a:lnTo>
                    <a:pt x="2252" y="988"/>
                  </a:lnTo>
                  <a:lnTo>
                    <a:pt x="2248" y="984"/>
                  </a:lnTo>
                  <a:lnTo>
                    <a:pt x="2244" y="986"/>
                  </a:lnTo>
                  <a:lnTo>
                    <a:pt x="2242" y="986"/>
                  </a:lnTo>
                  <a:lnTo>
                    <a:pt x="2240" y="984"/>
                  </a:lnTo>
                  <a:lnTo>
                    <a:pt x="2236" y="976"/>
                  </a:lnTo>
                  <a:lnTo>
                    <a:pt x="2230" y="968"/>
                  </a:lnTo>
                  <a:lnTo>
                    <a:pt x="2226" y="966"/>
                  </a:lnTo>
                  <a:lnTo>
                    <a:pt x="2222" y="966"/>
                  </a:lnTo>
                  <a:lnTo>
                    <a:pt x="2220" y="966"/>
                  </a:lnTo>
                  <a:lnTo>
                    <a:pt x="2218" y="964"/>
                  </a:lnTo>
                  <a:lnTo>
                    <a:pt x="2212" y="956"/>
                  </a:lnTo>
                  <a:lnTo>
                    <a:pt x="2208" y="944"/>
                  </a:lnTo>
                  <a:lnTo>
                    <a:pt x="2206" y="928"/>
                  </a:lnTo>
                  <a:lnTo>
                    <a:pt x="2202" y="900"/>
                  </a:lnTo>
                  <a:lnTo>
                    <a:pt x="2200" y="890"/>
                  </a:lnTo>
                  <a:lnTo>
                    <a:pt x="2202" y="884"/>
                  </a:lnTo>
                  <a:lnTo>
                    <a:pt x="2204" y="876"/>
                  </a:lnTo>
                  <a:lnTo>
                    <a:pt x="2204" y="870"/>
                  </a:lnTo>
                  <a:lnTo>
                    <a:pt x="2200" y="858"/>
                  </a:lnTo>
                  <a:lnTo>
                    <a:pt x="2198" y="850"/>
                  </a:lnTo>
                  <a:lnTo>
                    <a:pt x="2200" y="848"/>
                  </a:lnTo>
                  <a:lnTo>
                    <a:pt x="2204" y="850"/>
                  </a:lnTo>
                  <a:lnTo>
                    <a:pt x="2208" y="850"/>
                  </a:lnTo>
                  <a:lnTo>
                    <a:pt x="2210" y="848"/>
                  </a:lnTo>
                  <a:lnTo>
                    <a:pt x="2204" y="842"/>
                  </a:lnTo>
                  <a:lnTo>
                    <a:pt x="2198" y="826"/>
                  </a:lnTo>
                  <a:lnTo>
                    <a:pt x="2194" y="816"/>
                  </a:lnTo>
                  <a:lnTo>
                    <a:pt x="2192" y="802"/>
                  </a:lnTo>
                  <a:lnTo>
                    <a:pt x="2190" y="794"/>
                  </a:lnTo>
                  <a:lnTo>
                    <a:pt x="2188" y="790"/>
                  </a:lnTo>
                  <a:lnTo>
                    <a:pt x="2184" y="786"/>
                  </a:lnTo>
                  <a:lnTo>
                    <a:pt x="2176" y="784"/>
                  </a:lnTo>
                  <a:lnTo>
                    <a:pt x="2174" y="782"/>
                  </a:lnTo>
                  <a:lnTo>
                    <a:pt x="2170" y="780"/>
                  </a:lnTo>
                  <a:lnTo>
                    <a:pt x="2166" y="772"/>
                  </a:lnTo>
                  <a:lnTo>
                    <a:pt x="2162" y="766"/>
                  </a:lnTo>
                  <a:lnTo>
                    <a:pt x="2160" y="764"/>
                  </a:lnTo>
                  <a:lnTo>
                    <a:pt x="2154" y="764"/>
                  </a:lnTo>
                  <a:lnTo>
                    <a:pt x="2150" y="762"/>
                  </a:lnTo>
                  <a:lnTo>
                    <a:pt x="2146" y="758"/>
                  </a:lnTo>
                  <a:lnTo>
                    <a:pt x="2138" y="746"/>
                  </a:lnTo>
                  <a:lnTo>
                    <a:pt x="2134" y="752"/>
                  </a:lnTo>
                  <a:lnTo>
                    <a:pt x="2138" y="746"/>
                  </a:lnTo>
                  <a:lnTo>
                    <a:pt x="2134" y="732"/>
                  </a:lnTo>
                  <a:lnTo>
                    <a:pt x="2132" y="716"/>
                  </a:lnTo>
                  <a:lnTo>
                    <a:pt x="2132" y="710"/>
                  </a:lnTo>
                  <a:lnTo>
                    <a:pt x="2134" y="706"/>
                  </a:lnTo>
                  <a:lnTo>
                    <a:pt x="2136" y="702"/>
                  </a:lnTo>
                  <a:lnTo>
                    <a:pt x="2142" y="702"/>
                  </a:lnTo>
                  <a:lnTo>
                    <a:pt x="2144" y="702"/>
                  </a:lnTo>
                  <a:lnTo>
                    <a:pt x="2138" y="698"/>
                  </a:lnTo>
                  <a:lnTo>
                    <a:pt x="2134" y="692"/>
                  </a:lnTo>
                  <a:lnTo>
                    <a:pt x="2128" y="684"/>
                  </a:lnTo>
                  <a:lnTo>
                    <a:pt x="2120" y="674"/>
                  </a:lnTo>
                  <a:lnTo>
                    <a:pt x="2116" y="662"/>
                  </a:lnTo>
                  <a:lnTo>
                    <a:pt x="2108" y="642"/>
                  </a:lnTo>
                  <a:lnTo>
                    <a:pt x="2098" y="624"/>
                  </a:lnTo>
                  <a:lnTo>
                    <a:pt x="2082" y="594"/>
                  </a:lnTo>
                  <a:lnTo>
                    <a:pt x="2072" y="572"/>
                  </a:lnTo>
                  <a:lnTo>
                    <a:pt x="2070" y="564"/>
                  </a:lnTo>
                  <a:lnTo>
                    <a:pt x="2070" y="556"/>
                  </a:lnTo>
                  <a:lnTo>
                    <a:pt x="2070" y="550"/>
                  </a:lnTo>
                  <a:lnTo>
                    <a:pt x="2070" y="544"/>
                  </a:lnTo>
                  <a:lnTo>
                    <a:pt x="2064" y="534"/>
                  </a:lnTo>
                  <a:lnTo>
                    <a:pt x="2058" y="526"/>
                  </a:lnTo>
                  <a:lnTo>
                    <a:pt x="2056" y="520"/>
                  </a:lnTo>
                  <a:lnTo>
                    <a:pt x="2056" y="512"/>
                  </a:lnTo>
                  <a:lnTo>
                    <a:pt x="2054" y="504"/>
                  </a:lnTo>
                  <a:lnTo>
                    <a:pt x="2050" y="494"/>
                  </a:lnTo>
                  <a:lnTo>
                    <a:pt x="2036" y="474"/>
                  </a:lnTo>
                  <a:lnTo>
                    <a:pt x="2022" y="452"/>
                  </a:lnTo>
                  <a:lnTo>
                    <a:pt x="2018" y="442"/>
                  </a:lnTo>
                  <a:lnTo>
                    <a:pt x="2016" y="434"/>
                  </a:lnTo>
                  <a:lnTo>
                    <a:pt x="2016" y="426"/>
                  </a:lnTo>
                  <a:lnTo>
                    <a:pt x="2014" y="422"/>
                  </a:lnTo>
                  <a:lnTo>
                    <a:pt x="2010" y="416"/>
                  </a:lnTo>
                  <a:lnTo>
                    <a:pt x="2008" y="412"/>
                  </a:lnTo>
                  <a:lnTo>
                    <a:pt x="2008" y="408"/>
                  </a:lnTo>
                  <a:lnTo>
                    <a:pt x="2010" y="402"/>
                  </a:lnTo>
                  <a:lnTo>
                    <a:pt x="2014" y="394"/>
                  </a:lnTo>
                  <a:lnTo>
                    <a:pt x="2000" y="332"/>
                  </a:lnTo>
                  <a:lnTo>
                    <a:pt x="1998" y="332"/>
                  </a:lnTo>
                  <a:lnTo>
                    <a:pt x="1996" y="328"/>
                  </a:lnTo>
                  <a:lnTo>
                    <a:pt x="1992" y="326"/>
                  </a:lnTo>
                  <a:lnTo>
                    <a:pt x="1990" y="326"/>
                  </a:lnTo>
                  <a:lnTo>
                    <a:pt x="1986" y="326"/>
                  </a:lnTo>
                  <a:lnTo>
                    <a:pt x="1984" y="324"/>
                  </a:lnTo>
                  <a:lnTo>
                    <a:pt x="1984" y="322"/>
                  </a:lnTo>
                  <a:lnTo>
                    <a:pt x="1984" y="320"/>
                  </a:lnTo>
                  <a:lnTo>
                    <a:pt x="1986" y="318"/>
                  </a:lnTo>
                  <a:lnTo>
                    <a:pt x="1988" y="316"/>
                  </a:lnTo>
                  <a:lnTo>
                    <a:pt x="1990" y="314"/>
                  </a:lnTo>
                  <a:lnTo>
                    <a:pt x="1992" y="316"/>
                  </a:lnTo>
                  <a:lnTo>
                    <a:pt x="1998" y="320"/>
                  </a:lnTo>
                  <a:lnTo>
                    <a:pt x="1996" y="316"/>
                  </a:lnTo>
                  <a:lnTo>
                    <a:pt x="1990" y="310"/>
                  </a:lnTo>
                  <a:lnTo>
                    <a:pt x="1988" y="308"/>
                  </a:lnTo>
                  <a:lnTo>
                    <a:pt x="1986" y="308"/>
                  </a:lnTo>
                  <a:lnTo>
                    <a:pt x="1980" y="312"/>
                  </a:lnTo>
                  <a:lnTo>
                    <a:pt x="1976" y="314"/>
                  </a:lnTo>
                  <a:lnTo>
                    <a:pt x="1974" y="314"/>
                  </a:lnTo>
                  <a:lnTo>
                    <a:pt x="1966" y="310"/>
                  </a:lnTo>
                  <a:lnTo>
                    <a:pt x="1958" y="306"/>
                  </a:lnTo>
                  <a:lnTo>
                    <a:pt x="1954" y="306"/>
                  </a:lnTo>
                  <a:lnTo>
                    <a:pt x="1948" y="308"/>
                  </a:lnTo>
                  <a:lnTo>
                    <a:pt x="1938" y="312"/>
                  </a:lnTo>
                  <a:lnTo>
                    <a:pt x="1932" y="312"/>
                  </a:lnTo>
                  <a:lnTo>
                    <a:pt x="1928" y="312"/>
                  </a:lnTo>
                  <a:lnTo>
                    <a:pt x="1922" y="318"/>
                  </a:lnTo>
                  <a:lnTo>
                    <a:pt x="1920" y="320"/>
                  </a:lnTo>
                  <a:lnTo>
                    <a:pt x="1916" y="322"/>
                  </a:lnTo>
                  <a:lnTo>
                    <a:pt x="1908" y="326"/>
                  </a:lnTo>
                  <a:lnTo>
                    <a:pt x="1892" y="340"/>
                  </a:lnTo>
                  <a:lnTo>
                    <a:pt x="1886" y="346"/>
                  </a:lnTo>
                  <a:lnTo>
                    <a:pt x="1880" y="346"/>
                  </a:lnTo>
                  <a:lnTo>
                    <a:pt x="1874" y="346"/>
                  </a:lnTo>
                  <a:lnTo>
                    <a:pt x="1866" y="344"/>
                  </a:lnTo>
                  <a:lnTo>
                    <a:pt x="1854" y="336"/>
                  </a:lnTo>
                  <a:lnTo>
                    <a:pt x="1848" y="334"/>
                  </a:lnTo>
                  <a:lnTo>
                    <a:pt x="1844" y="334"/>
                  </a:lnTo>
                  <a:lnTo>
                    <a:pt x="1836" y="332"/>
                  </a:lnTo>
                  <a:lnTo>
                    <a:pt x="1830" y="330"/>
                  </a:lnTo>
                  <a:lnTo>
                    <a:pt x="1826" y="326"/>
                  </a:lnTo>
                  <a:lnTo>
                    <a:pt x="1822" y="326"/>
                  </a:lnTo>
                  <a:lnTo>
                    <a:pt x="1818" y="326"/>
                  </a:lnTo>
                  <a:lnTo>
                    <a:pt x="1812" y="326"/>
                  </a:lnTo>
                  <a:lnTo>
                    <a:pt x="1812" y="324"/>
                  </a:lnTo>
                  <a:lnTo>
                    <a:pt x="1808" y="322"/>
                  </a:lnTo>
                  <a:lnTo>
                    <a:pt x="1804" y="318"/>
                  </a:lnTo>
                  <a:lnTo>
                    <a:pt x="1794" y="314"/>
                  </a:lnTo>
                  <a:lnTo>
                    <a:pt x="1778" y="310"/>
                  </a:lnTo>
                  <a:lnTo>
                    <a:pt x="1762" y="308"/>
                  </a:lnTo>
                  <a:lnTo>
                    <a:pt x="1750" y="306"/>
                  </a:lnTo>
                  <a:lnTo>
                    <a:pt x="1734" y="308"/>
                  </a:lnTo>
                  <a:lnTo>
                    <a:pt x="1724" y="310"/>
                  </a:lnTo>
                  <a:lnTo>
                    <a:pt x="1718" y="310"/>
                  </a:lnTo>
                  <a:lnTo>
                    <a:pt x="1718" y="308"/>
                  </a:lnTo>
                  <a:lnTo>
                    <a:pt x="1716" y="302"/>
                  </a:lnTo>
                  <a:lnTo>
                    <a:pt x="1714" y="292"/>
                  </a:lnTo>
                  <a:lnTo>
                    <a:pt x="1710" y="288"/>
                  </a:lnTo>
                  <a:lnTo>
                    <a:pt x="1706" y="286"/>
                  </a:lnTo>
                  <a:lnTo>
                    <a:pt x="1700" y="284"/>
                  </a:lnTo>
                  <a:lnTo>
                    <a:pt x="1692" y="284"/>
                  </a:lnTo>
                  <a:lnTo>
                    <a:pt x="1678" y="284"/>
                  </a:lnTo>
                  <a:lnTo>
                    <a:pt x="1672" y="282"/>
                  </a:lnTo>
                  <a:lnTo>
                    <a:pt x="1666" y="280"/>
                  </a:lnTo>
                  <a:lnTo>
                    <a:pt x="1654" y="278"/>
                  </a:lnTo>
                  <a:lnTo>
                    <a:pt x="1648" y="276"/>
                  </a:lnTo>
                  <a:lnTo>
                    <a:pt x="1644" y="274"/>
                  </a:lnTo>
                  <a:lnTo>
                    <a:pt x="1640" y="266"/>
                  </a:lnTo>
                  <a:lnTo>
                    <a:pt x="1638" y="262"/>
                  </a:lnTo>
                  <a:lnTo>
                    <a:pt x="1632" y="256"/>
                  </a:lnTo>
                  <a:lnTo>
                    <a:pt x="1624" y="250"/>
                  </a:lnTo>
                  <a:lnTo>
                    <a:pt x="1612" y="242"/>
                  </a:lnTo>
                  <a:lnTo>
                    <a:pt x="1596" y="236"/>
                  </a:lnTo>
                  <a:lnTo>
                    <a:pt x="1584" y="236"/>
                  </a:lnTo>
                  <a:lnTo>
                    <a:pt x="1574" y="238"/>
                  </a:lnTo>
                  <a:lnTo>
                    <a:pt x="1568" y="242"/>
                  </a:lnTo>
                  <a:lnTo>
                    <a:pt x="1564" y="244"/>
                  </a:lnTo>
                  <a:lnTo>
                    <a:pt x="1560" y="246"/>
                  </a:lnTo>
                  <a:lnTo>
                    <a:pt x="1550" y="246"/>
                  </a:lnTo>
                  <a:lnTo>
                    <a:pt x="1544" y="248"/>
                  </a:lnTo>
                  <a:lnTo>
                    <a:pt x="1536" y="252"/>
                  </a:lnTo>
                  <a:lnTo>
                    <a:pt x="1528" y="260"/>
                  </a:lnTo>
                  <a:lnTo>
                    <a:pt x="1516" y="274"/>
                  </a:lnTo>
                  <a:lnTo>
                    <a:pt x="1510" y="284"/>
                  </a:lnTo>
                  <a:lnTo>
                    <a:pt x="1508" y="292"/>
                  </a:lnTo>
                  <a:lnTo>
                    <a:pt x="1508" y="302"/>
                  </a:lnTo>
                  <a:lnTo>
                    <a:pt x="1510" y="314"/>
                  </a:lnTo>
                  <a:lnTo>
                    <a:pt x="1512" y="324"/>
                  </a:lnTo>
                  <a:lnTo>
                    <a:pt x="1514" y="334"/>
                  </a:lnTo>
                  <a:lnTo>
                    <a:pt x="1512" y="344"/>
                  </a:lnTo>
                  <a:lnTo>
                    <a:pt x="1506" y="354"/>
                  </a:lnTo>
                  <a:lnTo>
                    <a:pt x="1498" y="362"/>
                  </a:lnTo>
                  <a:lnTo>
                    <a:pt x="1492" y="368"/>
                  </a:lnTo>
                  <a:lnTo>
                    <a:pt x="1484" y="374"/>
                  </a:lnTo>
                  <a:lnTo>
                    <a:pt x="1478" y="376"/>
                  </a:lnTo>
                  <a:lnTo>
                    <a:pt x="1470" y="376"/>
                  </a:lnTo>
                  <a:lnTo>
                    <a:pt x="1464" y="374"/>
                  </a:lnTo>
                  <a:lnTo>
                    <a:pt x="1458" y="368"/>
                  </a:lnTo>
                  <a:lnTo>
                    <a:pt x="1452" y="362"/>
                  </a:lnTo>
                  <a:lnTo>
                    <a:pt x="1446" y="356"/>
                  </a:lnTo>
                  <a:lnTo>
                    <a:pt x="1438" y="350"/>
                  </a:lnTo>
                  <a:lnTo>
                    <a:pt x="1418" y="338"/>
                  </a:lnTo>
                  <a:lnTo>
                    <a:pt x="1398" y="330"/>
                  </a:lnTo>
                  <a:lnTo>
                    <a:pt x="1376" y="328"/>
                  </a:lnTo>
                  <a:lnTo>
                    <a:pt x="1358" y="326"/>
                  </a:lnTo>
                  <a:lnTo>
                    <a:pt x="1350" y="324"/>
                  </a:lnTo>
                  <a:lnTo>
                    <a:pt x="1344" y="320"/>
                  </a:lnTo>
                  <a:lnTo>
                    <a:pt x="1338" y="316"/>
                  </a:lnTo>
                  <a:lnTo>
                    <a:pt x="1334" y="310"/>
                  </a:lnTo>
                  <a:lnTo>
                    <a:pt x="1330" y="300"/>
                  </a:lnTo>
                  <a:lnTo>
                    <a:pt x="1326" y="288"/>
                  </a:lnTo>
                  <a:lnTo>
                    <a:pt x="1324" y="276"/>
                  </a:lnTo>
                  <a:lnTo>
                    <a:pt x="1320" y="268"/>
                  </a:lnTo>
                  <a:lnTo>
                    <a:pt x="1314" y="262"/>
                  </a:lnTo>
                  <a:lnTo>
                    <a:pt x="1306" y="260"/>
                  </a:lnTo>
                  <a:lnTo>
                    <a:pt x="1294" y="258"/>
                  </a:lnTo>
                  <a:lnTo>
                    <a:pt x="1288" y="256"/>
                  </a:lnTo>
                  <a:lnTo>
                    <a:pt x="1284" y="254"/>
                  </a:lnTo>
                  <a:lnTo>
                    <a:pt x="1272" y="248"/>
                  </a:lnTo>
                  <a:lnTo>
                    <a:pt x="1256" y="242"/>
                  </a:lnTo>
                  <a:lnTo>
                    <a:pt x="1238" y="240"/>
                  </a:lnTo>
                  <a:lnTo>
                    <a:pt x="1230" y="240"/>
                  </a:lnTo>
                  <a:lnTo>
                    <a:pt x="1224" y="240"/>
                  </a:lnTo>
                  <a:lnTo>
                    <a:pt x="1216" y="242"/>
                  </a:lnTo>
                  <a:lnTo>
                    <a:pt x="1210" y="242"/>
                  </a:lnTo>
                  <a:lnTo>
                    <a:pt x="1196" y="236"/>
                  </a:lnTo>
                  <a:lnTo>
                    <a:pt x="1182" y="230"/>
                  </a:lnTo>
                  <a:lnTo>
                    <a:pt x="1172" y="224"/>
                  </a:lnTo>
                  <a:lnTo>
                    <a:pt x="1160" y="218"/>
                  </a:lnTo>
                  <a:lnTo>
                    <a:pt x="1156" y="214"/>
                  </a:lnTo>
                  <a:lnTo>
                    <a:pt x="1154" y="206"/>
                  </a:lnTo>
                  <a:lnTo>
                    <a:pt x="1152" y="198"/>
                  </a:lnTo>
                  <a:lnTo>
                    <a:pt x="1150" y="198"/>
                  </a:lnTo>
                  <a:lnTo>
                    <a:pt x="1148" y="198"/>
                  </a:lnTo>
                  <a:lnTo>
                    <a:pt x="1144" y="200"/>
                  </a:lnTo>
                  <a:lnTo>
                    <a:pt x="1142" y="200"/>
                  </a:lnTo>
                  <a:lnTo>
                    <a:pt x="1140" y="198"/>
                  </a:lnTo>
                  <a:lnTo>
                    <a:pt x="1132" y="196"/>
                  </a:lnTo>
                  <a:lnTo>
                    <a:pt x="1124" y="194"/>
                  </a:lnTo>
                  <a:lnTo>
                    <a:pt x="1118" y="194"/>
                  </a:lnTo>
                  <a:lnTo>
                    <a:pt x="1114" y="190"/>
                  </a:lnTo>
                  <a:lnTo>
                    <a:pt x="1110" y="184"/>
                  </a:lnTo>
                  <a:lnTo>
                    <a:pt x="1108" y="176"/>
                  </a:lnTo>
                  <a:lnTo>
                    <a:pt x="1110" y="170"/>
                  </a:lnTo>
                  <a:lnTo>
                    <a:pt x="1116" y="162"/>
                  </a:lnTo>
                  <a:lnTo>
                    <a:pt x="1134" y="144"/>
                  </a:lnTo>
                  <a:lnTo>
                    <a:pt x="1142" y="134"/>
                  </a:lnTo>
                  <a:lnTo>
                    <a:pt x="1150" y="124"/>
                  </a:lnTo>
                  <a:lnTo>
                    <a:pt x="1154" y="116"/>
                  </a:lnTo>
                  <a:lnTo>
                    <a:pt x="1154" y="114"/>
                  </a:lnTo>
                  <a:lnTo>
                    <a:pt x="1152" y="110"/>
                  </a:lnTo>
                  <a:lnTo>
                    <a:pt x="1150" y="106"/>
                  </a:lnTo>
                  <a:lnTo>
                    <a:pt x="1148" y="102"/>
                  </a:lnTo>
                  <a:lnTo>
                    <a:pt x="1148" y="96"/>
                  </a:lnTo>
                  <a:lnTo>
                    <a:pt x="1148" y="92"/>
                  </a:lnTo>
                  <a:lnTo>
                    <a:pt x="1146" y="90"/>
                  </a:lnTo>
                  <a:lnTo>
                    <a:pt x="1142" y="86"/>
                  </a:lnTo>
                  <a:lnTo>
                    <a:pt x="1136" y="82"/>
                  </a:lnTo>
                  <a:lnTo>
                    <a:pt x="1132" y="78"/>
                  </a:lnTo>
                  <a:lnTo>
                    <a:pt x="1128" y="74"/>
                  </a:lnTo>
                  <a:lnTo>
                    <a:pt x="1124" y="64"/>
                  </a:lnTo>
                  <a:lnTo>
                    <a:pt x="1124" y="60"/>
                  </a:lnTo>
                  <a:lnTo>
                    <a:pt x="1124" y="56"/>
                  </a:lnTo>
                  <a:lnTo>
                    <a:pt x="1126" y="52"/>
                  </a:lnTo>
                  <a:lnTo>
                    <a:pt x="1130" y="50"/>
                  </a:lnTo>
                  <a:lnTo>
                    <a:pt x="1140" y="42"/>
                  </a:lnTo>
                  <a:lnTo>
                    <a:pt x="1148" y="34"/>
                  </a:lnTo>
                  <a:lnTo>
                    <a:pt x="1152" y="26"/>
                  </a:lnTo>
                  <a:lnTo>
                    <a:pt x="1152" y="20"/>
                  </a:lnTo>
                  <a:lnTo>
                    <a:pt x="1152" y="16"/>
                  </a:lnTo>
                  <a:lnTo>
                    <a:pt x="1148" y="14"/>
                  </a:lnTo>
                  <a:lnTo>
                    <a:pt x="1146" y="16"/>
                  </a:lnTo>
                  <a:lnTo>
                    <a:pt x="1136" y="22"/>
                  </a:lnTo>
                  <a:lnTo>
                    <a:pt x="1128" y="30"/>
                  </a:lnTo>
                  <a:lnTo>
                    <a:pt x="1124" y="32"/>
                  </a:lnTo>
                  <a:lnTo>
                    <a:pt x="1122" y="32"/>
                  </a:lnTo>
                  <a:lnTo>
                    <a:pt x="1120" y="30"/>
                  </a:lnTo>
                  <a:lnTo>
                    <a:pt x="1118" y="26"/>
                  </a:lnTo>
                  <a:lnTo>
                    <a:pt x="1118" y="18"/>
                  </a:lnTo>
                  <a:lnTo>
                    <a:pt x="1116" y="10"/>
                  </a:lnTo>
                  <a:lnTo>
                    <a:pt x="1112" y="6"/>
                  </a:lnTo>
                  <a:lnTo>
                    <a:pt x="1108" y="4"/>
                  </a:lnTo>
                  <a:lnTo>
                    <a:pt x="1096" y="0"/>
                  </a:lnTo>
                  <a:lnTo>
                    <a:pt x="1088" y="2"/>
                  </a:lnTo>
                  <a:lnTo>
                    <a:pt x="1080" y="4"/>
                  </a:lnTo>
                  <a:lnTo>
                    <a:pt x="1074" y="6"/>
                  </a:lnTo>
                  <a:lnTo>
                    <a:pt x="1064" y="16"/>
                  </a:lnTo>
                  <a:lnTo>
                    <a:pt x="1058" y="22"/>
                  </a:lnTo>
                  <a:lnTo>
                    <a:pt x="1052" y="22"/>
                  </a:lnTo>
                  <a:lnTo>
                    <a:pt x="1040" y="22"/>
                  </a:lnTo>
                  <a:lnTo>
                    <a:pt x="1034" y="22"/>
                  </a:lnTo>
                  <a:lnTo>
                    <a:pt x="1026" y="24"/>
                  </a:lnTo>
                  <a:lnTo>
                    <a:pt x="1022" y="28"/>
                  </a:lnTo>
                  <a:lnTo>
                    <a:pt x="1018" y="24"/>
                  </a:lnTo>
                  <a:lnTo>
                    <a:pt x="1014" y="20"/>
                  </a:lnTo>
                  <a:lnTo>
                    <a:pt x="1006" y="14"/>
                  </a:lnTo>
                  <a:lnTo>
                    <a:pt x="1002" y="12"/>
                  </a:lnTo>
                  <a:lnTo>
                    <a:pt x="998" y="14"/>
                  </a:lnTo>
                  <a:lnTo>
                    <a:pt x="994" y="18"/>
                  </a:lnTo>
                  <a:lnTo>
                    <a:pt x="992" y="20"/>
                  </a:lnTo>
                  <a:lnTo>
                    <a:pt x="988" y="22"/>
                  </a:lnTo>
                  <a:lnTo>
                    <a:pt x="984" y="22"/>
                  </a:lnTo>
                  <a:lnTo>
                    <a:pt x="978" y="20"/>
                  </a:lnTo>
                  <a:lnTo>
                    <a:pt x="966" y="16"/>
                  </a:lnTo>
                  <a:lnTo>
                    <a:pt x="962" y="16"/>
                  </a:lnTo>
                  <a:lnTo>
                    <a:pt x="960" y="18"/>
                  </a:lnTo>
                  <a:lnTo>
                    <a:pt x="954" y="22"/>
                  </a:lnTo>
                  <a:lnTo>
                    <a:pt x="942" y="26"/>
                  </a:lnTo>
                  <a:lnTo>
                    <a:pt x="936" y="28"/>
                  </a:lnTo>
                  <a:lnTo>
                    <a:pt x="930" y="30"/>
                  </a:lnTo>
                  <a:lnTo>
                    <a:pt x="924" y="36"/>
                  </a:lnTo>
                  <a:lnTo>
                    <a:pt x="920" y="38"/>
                  </a:lnTo>
                  <a:lnTo>
                    <a:pt x="918" y="38"/>
                  </a:lnTo>
                  <a:lnTo>
                    <a:pt x="914" y="36"/>
                  </a:lnTo>
                  <a:lnTo>
                    <a:pt x="910" y="32"/>
                  </a:lnTo>
                  <a:lnTo>
                    <a:pt x="906" y="28"/>
                  </a:lnTo>
                  <a:lnTo>
                    <a:pt x="900" y="26"/>
                  </a:lnTo>
                  <a:lnTo>
                    <a:pt x="886" y="22"/>
                  </a:lnTo>
                  <a:lnTo>
                    <a:pt x="870" y="24"/>
                  </a:lnTo>
                  <a:lnTo>
                    <a:pt x="854" y="26"/>
                  </a:lnTo>
                  <a:lnTo>
                    <a:pt x="848" y="28"/>
                  </a:lnTo>
                  <a:lnTo>
                    <a:pt x="842" y="28"/>
                  </a:lnTo>
                  <a:lnTo>
                    <a:pt x="832" y="28"/>
                  </a:lnTo>
                  <a:lnTo>
                    <a:pt x="822" y="28"/>
                  </a:lnTo>
                  <a:lnTo>
                    <a:pt x="820" y="30"/>
                  </a:lnTo>
                  <a:lnTo>
                    <a:pt x="816" y="32"/>
                  </a:lnTo>
                  <a:lnTo>
                    <a:pt x="812" y="38"/>
                  </a:lnTo>
                  <a:lnTo>
                    <a:pt x="804" y="40"/>
                  </a:lnTo>
                  <a:lnTo>
                    <a:pt x="776" y="42"/>
                  </a:lnTo>
                  <a:lnTo>
                    <a:pt x="754" y="46"/>
                  </a:lnTo>
                  <a:lnTo>
                    <a:pt x="732" y="52"/>
                  </a:lnTo>
                  <a:lnTo>
                    <a:pt x="724" y="58"/>
                  </a:lnTo>
                  <a:lnTo>
                    <a:pt x="716" y="64"/>
                  </a:lnTo>
                  <a:lnTo>
                    <a:pt x="710" y="70"/>
                  </a:lnTo>
                  <a:lnTo>
                    <a:pt x="706" y="76"/>
                  </a:lnTo>
                  <a:lnTo>
                    <a:pt x="704" y="82"/>
                  </a:lnTo>
                  <a:lnTo>
                    <a:pt x="700" y="86"/>
                  </a:lnTo>
                  <a:lnTo>
                    <a:pt x="698" y="86"/>
                  </a:lnTo>
                  <a:lnTo>
                    <a:pt x="696" y="84"/>
                  </a:lnTo>
                  <a:lnTo>
                    <a:pt x="690" y="80"/>
                  </a:lnTo>
                  <a:lnTo>
                    <a:pt x="686" y="82"/>
                  </a:lnTo>
                  <a:lnTo>
                    <a:pt x="682" y="84"/>
                  </a:lnTo>
                  <a:lnTo>
                    <a:pt x="680" y="86"/>
                  </a:lnTo>
                  <a:lnTo>
                    <a:pt x="676" y="88"/>
                  </a:lnTo>
                  <a:lnTo>
                    <a:pt x="670" y="86"/>
                  </a:lnTo>
                  <a:lnTo>
                    <a:pt x="668" y="86"/>
                  </a:lnTo>
                  <a:lnTo>
                    <a:pt x="664" y="88"/>
                  </a:lnTo>
                  <a:lnTo>
                    <a:pt x="662" y="90"/>
                  </a:lnTo>
                  <a:lnTo>
                    <a:pt x="656" y="96"/>
                  </a:lnTo>
                  <a:lnTo>
                    <a:pt x="650" y="104"/>
                  </a:lnTo>
                  <a:lnTo>
                    <a:pt x="640" y="114"/>
                  </a:lnTo>
                  <a:lnTo>
                    <a:pt x="634" y="118"/>
                  </a:lnTo>
                  <a:lnTo>
                    <a:pt x="628" y="120"/>
                  </a:lnTo>
                  <a:lnTo>
                    <a:pt x="622" y="120"/>
                  </a:lnTo>
                  <a:lnTo>
                    <a:pt x="616" y="120"/>
                  </a:lnTo>
                  <a:lnTo>
                    <a:pt x="600" y="120"/>
                  </a:lnTo>
                  <a:lnTo>
                    <a:pt x="596" y="118"/>
                  </a:lnTo>
                  <a:lnTo>
                    <a:pt x="592" y="116"/>
                  </a:lnTo>
                  <a:lnTo>
                    <a:pt x="588" y="112"/>
                  </a:lnTo>
                  <a:lnTo>
                    <a:pt x="586" y="108"/>
                  </a:lnTo>
                  <a:lnTo>
                    <a:pt x="586" y="104"/>
                  </a:lnTo>
                  <a:lnTo>
                    <a:pt x="584" y="104"/>
                  </a:lnTo>
                  <a:lnTo>
                    <a:pt x="580" y="108"/>
                  </a:lnTo>
                  <a:lnTo>
                    <a:pt x="578" y="110"/>
                  </a:lnTo>
                  <a:lnTo>
                    <a:pt x="574" y="112"/>
                  </a:lnTo>
                  <a:lnTo>
                    <a:pt x="570" y="114"/>
                  </a:lnTo>
                  <a:lnTo>
                    <a:pt x="562" y="112"/>
                  </a:lnTo>
                  <a:lnTo>
                    <a:pt x="558" y="110"/>
                  </a:lnTo>
                  <a:lnTo>
                    <a:pt x="552" y="110"/>
                  </a:lnTo>
                  <a:lnTo>
                    <a:pt x="542" y="114"/>
                  </a:lnTo>
                  <a:lnTo>
                    <a:pt x="536" y="116"/>
                  </a:lnTo>
                  <a:lnTo>
                    <a:pt x="530" y="118"/>
                  </a:lnTo>
                  <a:lnTo>
                    <a:pt x="520" y="116"/>
                  </a:lnTo>
                  <a:lnTo>
                    <a:pt x="510" y="112"/>
                  </a:lnTo>
                  <a:lnTo>
                    <a:pt x="502" y="108"/>
                  </a:lnTo>
                  <a:lnTo>
                    <a:pt x="498" y="102"/>
                  </a:lnTo>
                  <a:lnTo>
                    <a:pt x="494" y="98"/>
                  </a:lnTo>
                  <a:lnTo>
                    <a:pt x="492" y="94"/>
                  </a:lnTo>
                  <a:lnTo>
                    <a:pt x="464" y="96"/>
                  </a:lnTo>
                  <a:lnTo>
                    <a:pt x="454" y="122"/>
                  </a:lnTo>
                  <a:lnTo>
                    <a:pt x="444" y="152"/>
                  </a:lnTo>
                  <a:lnTo>
                    <a:pt x="436" y="166"/>
                  </a:lnTo>
                  <a:lnTo>
                    <a:pt x="426" y="180"/>
                  </a:lnTo>
                  <a:lnTo>
                    <a:pt x="414" y="190"/>
                  </a:lnTo>
                  <a:lnTo>
                    <a:pt x="400" y="200"/>
                  </a:lnTo>
                  <a:lnTo>
                    <a:pt x="380" y="206"/>
                  </a:lnTo>
                  <a:lnTo>
                    <a:pt x="368" y="212"/>
                  </a:lnTo>
                  <a:lnTo>
                    <a:pt x="360" y="218"/>
                  </a:lnTo>
                  <a:lnTo>
                    <a:pt x="356" y="222"/>
                  </a:lnTo>
                  <a:lnTo>
                    <a:pt x="352" y="232"/>
                  </a:lnTo>
                  <a:lnTo>
                    <a:pt x="348" y="238"/>
                  </a:lnTo>
                  <a:lnTo>
                    <a:pt x="342" y="244"/>
                  </a:lnTo>
                  <a:lnTo>
                    <a:pt x="334" y="252"/>
                  </a:lnTo>
                  <a:lnTo>
                    <a:pt x="332" y="256"/>
                  </a:lnTo>
                  <a:lnTo>
                    <a:pt x="330" y="260"/>
                  </a:lnTo>
                  <a:lnTo>
                    <a:pt x="330" y="264"/>
                  </a:lnTo>
                  <a:lnTo>
                    <a:pt x="330" y="270"/>
                  </a:lnTo>
                  <a:lnTo>
                    <a:pt x="330" y="274"/>
                  </a:lnTo>
                  <a:lnTo>
                    <a:pt x="326" y="282"/>
                  </a:lnTo>
                  <a:lnTo>
                    <a:pt x="320" y="292"/>
                  </a:lnTo>
                  <a:lnTo>
                    <a:pt x="312" y="306"/>
                  </a:lnTo>
                  <a:lnTo>
                    <a:pt x="308" y="320"/>
                  </a:lnTo>
                  <a:lnTo>
                    <a:pt x="308" y="336"/>
                  </a:lnTo>
                  <a:lnTo>
                    <a:pt x="310" y="350"/>
                  </a:lnTo>
                  <a:lnTo>
                    <a:pt x="314" y="376"/>
                  </a:lnTo>
                  <a:lnTo>
                    <a:pt x="314" y="388"/>
                  </a:lnTo>
                  <a:lnTo>
                    <a:pt x="310" y="398"/>
                  </a:lnTo>
                  <a:lnTo>
                    <a:pt x="298" y="420"/>
                  </a:lnTo>
                  <a:lnTo>
                    <a:pt x="288" y="434"/>
                  </a:lnTo>
                  <a:lnTo>
                    <a:pt x="282" y="442"/>
                  </a:lnTo>
                  <a:lnTo>
                    <a:pt x="276" y="446"/>
                  </a:lnTo>
                  <a:lnTo>
                    <a:pt x="264" y="452"/>
                  </a:lnTo>
                  <a:lnTo>
                    <a:pt x="258" y="456"/>
                  </a:lnTo>
                  <a:lnTo>
                    <a:pt x="250" y="466"/>
                  </a:lnTo>
                  <a:lnTo>
                    <a:pt x="240" y="478"/>
                  </a:lnTo>
                  <a:lnTo>
                    <a:pt x="228" y="484"/>
                  </a:lnTo>
                  <a:lnTo>
                    <a:pt x="218" y="488"/>
                  </a:lnTo>
                  <a:lnTo>
                    <a:pt x="206" y="490"/>
                  </a:lnTo>
                  <a:lnTo>
                    <a:pt x="196" y="492"/>
                  </a:lnTo>
                  <a:lnTo>
                    <a:pt x="188" y="496"/>
                  </a:lnTo>
                  <a:lnTo>
                    <a:pt x="180" y="500"/>
                  </a:lnTo>
                  <a:lnTo>
                    <a:pt x="174" y="510"/>
                  </a:lnTo>
                  <a:lnTo>
                    <a:pt x="164" y="538"/>
                  </a:lnTo>
                  <a:lnTo>
                    <a:pt x="156" y="556"/>
                  </a:lnTo>
                  <a:lnTo>
                    <a:pt x="148" y="566"/>
                  </a:lnTo>
                  <a:lnTo>
                    <a:pt x="140" y="572"/>
                  </a:lnTo>
                  <a:lnTo>
                    <a:pt x="134" y="574"/>
                  </a:lnTo>
                  <a:lnTo>
                    <a:pt x="128" y="578"/>
                  </a:lnTo>
                  <a:lnTo>
                    <a:pt x="124" y="584"/>
                  </a:lnTo>
                  <a:lnTo>
                    <a:pt x="120" y="596"/>
                  </a:lnTo>
                  <a:lnTo>
                    <a:pt x="116" y="610"/>
                  </a:lnTo>
                  <a:lnTo>
                    <a:pt x="114" y="614"/>
                  </a:lnTo>
                  <a:lnTo>
                    <a:pt x="110" y="620"/>
                  </a:lnTo>
                  <a:lnTo>
                    <a:pt x="108" y="640"/>
                  </a:lnTo>
                  <a:lnTo>
                    <a:pt x="104" y="660"/>
                  </a:lnTo>
                  <a:lnTo>
                    <a:pt x="102" y="666"/>
                  </a:lnTo>
                  <a:lnTo>
                    <a:pt x="98" y="670"/>
                  </a:lnTo>
                  <a:lnTo>
                    <a:pt x="90" y="678"/>
                  </a:lnTo>
                  <a:lnTo>
                    <a:pt x="78" y="692"/>
                  </a:lnTo>
                  <a:lnTo>
                    <a:pt x="64" y="706"/>
                  </a:lnTo>
                  <a:lnTo>
                    <a:pt x="58" y="712"/>
                  </a:lnTo>
                  <a:lnTo>
                    <a:pt x="58" y="714"/>
                  </a:lnTo>
                  <a:lnTo>
                    <a:pt x="60" y="714"/>
                  </a:lnTo>
                  <a:lnTo>
                    <a:pt x="64" y="714"/>
                  </a:lnTo>
                  <a:lnTo>
                    <a:pt x="66" y="714"/>
                  </a:lnTo>
                  <a:lnTo>
                    <a:pt x="66" y="716"/>
                  </a:lnTo>
                  <a:lnTo>
                    <a:pt x="60" y="726"/>
                  </a:lnTo>
                  <a:lnTo>
                    <a:pt x="54" y="740"/>
                  </a:lnTo>
                  <a:lnTo>
                    <a:pt x="52" y="750"/>
                  </a:lnTo>
                  <a:lnTo>
                    <a:pt x="50" y="762"/>
                  </a:lnTo>
                  <a:lnTo>
                    <a:pt x="48" y="772"/>
                  </a:lnTo>
                  <a:lnTo>
                    <a:pt x="46" y="778"/>
                  </a:lnTo>
                  <a:lnTo>
                    <a:pt x="42" y="782"/>
                  </a:lnTo>
                  <a:lnTo>
                    <a:pt x="36" y="786"/>
                  </a:lnTo>
                  <a:lnTo>
                    <a:pt x="32" y="788"/>
                  </a:lnTo>
                  <a:lnTo>
                    <a:pt x="28" y="794"/>
                  </a:lnTo>
                  <a:lnTo>
                    <a:pt x="24" y="800"/>
                  </a:lnTo>
                  <a:lnTo>
                    <a:pt x="20" y="812"/>
                  </a:lnTo>
                  <a:lnTo>
                    <a:pt x="16" y="834"/>
                  </a:lnTo>
                  <a:lnTo>
                    <a:pt x="14" y="850"/>
                  </a:lnTo>
                  <a:lnTo>
                    <a:pt x="16" y="858"/>
                  </a:lnTo>
                  <a:lnTo>
                    <a:pt x="16" y="860"/>
                  </a:lnTo>
                  <a:lnTo>
                    <a:pt x="18" y="860"/>
                  </a:lnTo>
                  <a:lnTo>
                    <a:pt x="20" y="860"/>
                  </a:lnTo>
                  <a:lnTo>
                    <a:pt x="22" y="858"/>
                  </a:lnTo>
                  <a:lnTo>
                    <a:pt x="22" y="852"/>
                  </a:lnTo>
                  <a:lnTo>
                    <a:pt x="24" y="846"/>
                  </a:lnTo>
                  <a:lnTo>
                    <a:pt x="24" y="844"/>
                  </a:lnTo>
                  <a:lnTo>
                    <a:pt x="26" y="844"/>
                  </a:lnTo>
                  <a:lnTo>
                    <a:pt x="30" y="846"/>
                  </a:lnTo>
                  <a:lnTo>
                    <a:pt x="30" y="850"/>
                  </a:lnTo>
                  <a:lnTo>
                    <a:pt x="32" y="860"/>
                  </a:lnTo>
                  <a:lnTo>
                    <a:pt x="34" y="868"/>
                  </a:lnTo>
                  <a:lnTo>
                    <a:pt x="36" y="868"/>
                  </a:lnTo>
                  <a:lnTo>
                    <a:pt x="38" y="868"/>
                  </a:lnTo>
                  <a:lnTo>
                    <a:pt x="42" y="868"/>
                  </a:lnTo>
                  <a:lnTo>
                    <a:pt x="44" y="868"/>
                  </a:lnTo>
                  <a:lnTo>
                    <a:pt x="48" y="878"/>
                  </a:lnTo>
                  <a:lnTo>
                    <a:pt x="50" y="890"/>
                  </a:lnTo>
                  <a:lnTo>
                    <a:pt x="50" y="902"/>
                  </a:lnTo>
                  <a:lnTo>
                    <a:pt x="50" y="910"/>
                  </a:lnTo>
                  <a:lnTo>
                    <a:pt x="46" y="918"/>
                  </a:lnTo>
                  <a:lnTo>
                    <a:pt x="42" y="926"/>
                  </a:lnTo>
                  <a:lnTo>
                    <a:pt x="38" y="930"/>
                  </a:lnTo>
                  <a:lnTo>
                    <a:pt x="40" y="932"/>
                  </a:lnTo>
                  <a:lnTo>
                    <a:pt x="42" y="936"/>
                  </a:lnTo>
                  <a:lnTo>
                    <a:pt x="46" y="940"/>
                  </a:lnTo>
                  <a:lnTo>
                    <a:pt x="50" y="948"/>
                  </a:lnTo>
                  <a:lnTo>
                    <a:pt x="54" y="958"/>
                  </a:lnTo>
                  <a:lnTo>
                    <a:pt x="58" y="972"/>
                  </a:lnTo>
                  <a:lnTo>
                    <a:pt x="60" y="986"/>
                  </a:lnTo>
                  <a:lnTo>
                    <a:pt x="60" y="1002"/>
                  </a:lnTo>
                  <a:lnTo>
                    <a:pt x="58" y="1016"/>
                  </a:lnTo>
                  <a:lnTo>
                    <a:pt x="54" y="1030"/>
                  </a:lnTo>
                  <a:lnTo>
                    <a:pt x="42" y="1066"/>
                  </a:lnTo>
                  <a:lnTo>
                    <a:pt x="40" y="1076"/>
                  </a:lnTo>
                  <a:lnTo>
                    <a:pt x="40" y="1086"/>
                  </a:lnTo>
                  <a:lnTo>
                    <a:pt x="40" y="1102"/>
                  </a:lnTo>
                  <a:lnTo>
                    <a:pt x="34" y="1122"/>
                  </a:lnTo>
                  <a:lnTo>
                    <a:pt x="28" y="1132"/>
                  </a:lnTo>
                  <a:lnTo>
                    <a:pt x="22" y="1142"/>
                  </a:lnTo>
                  <a:lnTo>
                    <a:pt x="16" y="1150"/>
                  </a:lnTo>
                  <a:lnTo>
                    <a:pt x="6" y="1156"/>
                  </a:lnTo>
                  <a:lnTo>
                    <a:pt x="2" y="1160"/>
                  </a:lnTo>
                  <a:lnTo>
                    <a:pt x="0" y="1162"/>
                  </a:lnTo>
                  <a:lnTo>
                    <a:pt x="2" y="1164"/>
                  </a:lnTo>
                  <a:lnTo>
                    <a:pt x="10" y="1164"/>
                  </a:lnTo>
                  <a:lnTo>
                    <a:pt x="14" y="1164"/>
                  </a:lnTo>
                  <a:lnTo>
                    <a:pt x="16" y="1168"/>
                  </a:lnTo>
                  <a:lnTo>
                    <a:pt x="22" y="1184"/>
                  </a:lnTo>
                  <a:lnTo>
                    <a:pt x="30" y="1202"/>
                  </a:lnTo>
                  <a:lnTo>
                    <a:pt x="34" y="1210"/>
                  </a:lnTo>
                  <a:lnTo>
                    <a:pt x="38" y="1218"/>
                  </a:lnTo>
                  <a:lnTo>
                    <a:pt x="40" y="1222"/>
                  </a:lnTo>
                  <a:lnTo>
                    <a:pt x="44" y="1224"/>
                  </a:lnTo>
                  <a:lnTo>
                    <a:pt x="46" y="1226"/>
                  </a:lnTo>
                  <a:lnTo>
                    <a:pt x="52" y="1226"/>
                  </a:lnTo>
                  <a:lnTo>
                    <a:pt x="64" y="1224"/>
                  </a:lnTo>
                  <a:lnTo>
                    <a:pt x="80" y="1224"/>
                  </a:lnTo>
                  <a:lnTo>
                    <a:pt x="62" y="1228"/>
                  </a:lnTo>
                  <a:lnTo>
                    <a:pt x="50" y="1232"/>
                  </a:lnTo>
                  <a:lnTo>
                    <a:pt x="40" y="1232"/>
                  </a:lnTo>
                  <a:lnTo>
                    <a:pt x="38" y="1232"/>
                  </a:lnTo>
                  <a:lnTo>
                    <a:pt x="36" y="1228"/>
                  </a:lnTo>
                  <a:lnTo>
                    <a:pt x="34" y="1226"/>
                  </a:lnTo>
                  <a:lnTo>
                    <a:pt x="32" y="1224"/>
                  </a:lnTo>
                  <a:lnTo>
                    <a:pt x="28" y="1228"/>
                  </a:lnTo>
                  <a:lnTo>
                    <a:pt x="26" y="1234"/>
                  </a:lnTo>
                  <a:lnTo>
                    <a:pt x="28" y="1242"/>
                  </a:lnTo>
                  <a:lnTo>
                    <a:pt x="30" y="1252"/>
                  </a:lnTo>
                  <a:lnTo>
                    <a:pt x="30" y="1260"/>
                  </a:lnTo>
                  <a:lnTo>
                    <a:pt x="30" y="1264"/>
                  </a:lnTo>
                  <a:lnTo>
                    <a:pt x="32" y="1264"/>
                  </a:lnTo>
                  <a:lnTo>
                    <a:pt x="34" y="1264"/>
                  </a:lnTo>
                  <a:lnTo>
                    <a:pt x="40" y="1262"/>
                  </a:lnTo>
                  <a:lnTo>
                    <a:pt x="44" y="1264"/>
                  </a:lnTo>
                  <a:lnTo>
                    <a:pt x="48" y="1266"/>
                  </a:lnTo>
                  <a:lnTo>
                    <a:pt x="54" y="1264"/>
                  </a:lnTo>
                  <a:lnTo>
                    <a:pt x="60" y="1264"/>
                  </a:lnTo>
                  <a:lnTo>
                    <a:pt x="64" y="1264"/>
                  </a:lnTo>
                  <a:lnTo>
                    <a:pt x="70" y="1268"/>
                  </a:lnTo>
                  <a:lnTo>
                    <a:pt x="76" y="1268"/>
                  </a:lnTo>
                  <a:lnTo>
                    <a:pt x="64" y="1270"/>
                  </a:lnTo>
                  <a:lnTo>
                    <a:pt x="54" y="1270"/>
                  </a:lnTo>
                  <a:lnTo>
                    <a:pt x="44" y="1268"/>
                  </a:lnTo>
                  <a:lnTo>
                    <a:pt x="38" y="1266"/>
                  </a:lnTo>
                  <a:lnTo>
                    <a:pt x="36" y="1268"/>
                  </a:lnTo>
                  <a:lnTo>
                    <a:pt x="32" y="1270"/>
                  </a:lnTo>
                  <a:lnTo>
                    <a:pt x="30" y="1274"/>
                  </a:lnTo>
                  <a:lnTo>
                    <a:pt x="30" y="1276"/>
                  </a:lnTo>
                  <a:lnTo>
                    <a:pt x="34" y="1278"/>
                  </a:lnTo>
                  <a:lnTo>
                    <a:pt x="38" y="1282"/>
                  </a:lnTo>
                  <a:lnTo>
                    <a:pt x="40" y="1286"/>
                  </a:lnTo>
                  <a:lnTo>
                    <a:pt x="42" y="1286"/>
                  </a:lnTo>
                  <a:lnTo>
                    <a:pt x="48" y="1284"/>
                  </a:lnTo>
                  <a:lnTo>
                    <a:pt x="52" y="1284"/>
                  </a:lnTo>
                  <a:lnTo>
                    <a:pt x="50" y="1290"/>
                  </a:lnTo>
                  <a:lnTo>
                    <a:pt x="46" y="1296"/>
                  </a:lnTo>
                  <a:lnTo>
                    <a:pt x="48" y="1298"/>
                  </a:lnTo>
                  <a:lnTo>
                    <a:pt x="48" y="1300"/>
                  </a:lnTo>
                  <a:lnTo>
                    <a:pt x="54" y="1300"/>
                  </a:lnTo>
                  <a:lnTo>
                    <a:pt x="60" y="1300"/>
                  </a:lnTo>
                  <a:lnTo>
                    <a:pt x="64" y="1298"/>
                  </a:lnTo>
                  <a:lnTo>
                    <a:pt x="64" y="1300"/>
                  </a:lnTo>
                  <a:lnTo>
                    <a:pt x="64" y="1306"/>
                  </a:lnTo>
                  <a:lnTo>
                    <a:pt x="64" y="1312"/>
                  </a:lnTo>
                  <a:lnTo>
                    <a:pt x="66" y="1312"/>
                  </a:lnTo>
                  <a:lnTo>
                    <a:pt x="70" y="1310"/>
                  </a:lnTo>
                  <a:lnTo>
                    <a:pt x="78" y="1304"/>
                  </a:lnTo>
                  <a:lnTo>
                    <a:pt x="86" y="1300"/>
                  </a:lnTo>
                  <a:lnTo>
                    <a:pt x="88" y="1300"/>
                  </a:lnTo>
                  <a:lnTo>
                    <a:pt x="88" y="1302"/>
                  </a:lnTo>
                  <a:lnTo>
                    <a:pt x="82" y="1304"/>
                  </a:lnTo>
                  <a:lnTo>
                    <a:pt x="80" y="1306"/>
                  </a:lnTo>
                  <a:lnTo>
                    <a:pt x="78" y="1308"/>
                  </a:lnTo>
                  <a:lnTo>
                    <a:pt x="80" y="1312"/>
                  </a:lnTo>
                  <a:lnTo>
                    <a:pt x="82" y="1318"/>
                  </a:lnTo>
                  <a:lnTo>
                    <a:pt x="84" y="1320"/>
                  </a:lnTo>
                  <a:lnTo>
                    <a:pt x="82" y="1324"/>
                  </a:lnTo>
                  <a:lnTo>
                    <a:pt x="80" y="1328"/>
                  </a:lnTo>
                  <a:lnTo>
                    <a:pt x="82" y="1328"/>
                  </a:lnTo>
                  <a:lnTo>
                    <a:pt x="84" y="1328"/>
                  </a:lnTo>
                  <a:lnTo>
                    <a:pt x="86" y="1332"/>
                  </a:lnTo>
                  <a:lnTo>
                    <a:pt x="86" y="1336"/>
                  </a:lnTo>
                  <a:lnTo>
                    <a:pt x="88" y="1336"/>
                  </a:lnTo>
                  <a:lnTo>
                    <a:pt x="90" y="1338"/>
                  </a:lnTo>
                  <a:lnTo>
                    <a:pt x="90" y="1342"/>
                  </a:lnTo>
                  <a:lnTo>
                    <a:pt x="92" y="1346"/>
                  </a:lnTo>
                  <a:lnTo>
                    <a:pt x="94" y="1344"/>
                  </a:lnTo>
                  <a:lnTo>
                    <a:pt x="100" y="1336"/>
                  </a:lnTo>
                  <a:lnTo>
                    <a:pt x="98" y="1344"/>
                  </a:lnTo>
                  <a:lnTo>
                    <a:pt x="100" y="1348"/>
                  </a:lnTo>
                  <a:lnTo>
                    <a:pt x="98" y="1352"/>
                  </a:lnTo>
                  <a:lnTo>
                    <a:pt x="100" y="1356"/>
                  </a:lnTo>
                  <a:lnTo>
                    <a:pt x="102" y="1356"/>
                  </a:lnTo>
                  <a:lnTo>
                    <a:pt x="104" y="1352"/>
                  </a:lnTo>
                  <a:lnTo>
                    <a:pt x="108" y="1346"/>
                  </a:lnTo>
                  <a:lnTo>
                    <a:pt x="110" y="1344"/>
                  </a:lnTo>
                  <a:lnTo>
                    <a:pt x="114" y="1344"/>
                  </a:lnTo>
                  <a:lnTo>
                    <a:pt x="116" y="1344"/>
                  </a:lnTo>
                  <a:lnTo>
                    <a:pt x="112" y="1346"/>
                  </a:lnTo>
                  <a:lnTo>
                    <a:pt x="110" y="1350"/>
                  </a:lnTo>
                  <a:lnTo>
                    <a:pt x="110" y="1354"/>
                  </a:lnTo>
                  <a:lnTo>
                    <a:pt x="110" y="1358"/>
                  </a:lnTo>
                  <a:lnTo>
                    <a:pt x="112" y="1360"/>
                  </a:lnTo>
                  <a:lnTo>
                    <a:pt x="114" y="1360"/>
                  </a:lnTo>
                  <a:lnTo>
                    <a:pt x="118" y="1356"/>
                  </a:lnTo>
                  <a:lnTo>
                    <a:pt x="118" y="1354"/>
                  </a:lnTo>
                  <a:lnTo>
                    <a:pt x="118" y="1362"/>
                  </a:lnTo>
                  <a:lnTo>
                    <a:pt x="118" y="1372"/>
                  </a:lnTo>
                  <a:lnTo>
                    <a:pt x="120" y="1378"/>
                  </a:lnTo>
                  <a:lnTo>
                    <a:pt x="124" y="1384"/>
                  </a:lnTo>
                  <a:lnTo>
                    <a:pt x="128" y="1386"/>
                  </a:lnTo>
                  <a:lnTo>
                    <a:pt x="134" y="1388"/>
                  </a:lnTo>
                  <a:lnTo>
                    <a:pt x="140" y="1392"/>
                  </a:lnTo>
                  <a:lnTo>
                    <a:pt x="146" y="1398"/>
                  </a:lnTo>
                  <a:lnTo>
                    <a:pt x="154" y="1402"/>
                  </a:lnTo>
                  <a:lnTo>
                    <a:pt x="158" y="1404"/>
                  </a:lnTo>
                  <a:lnTo>
                    <a:pt x="158" y="1406"/>
                  </a:lnTo>
                  <a:lnTo>
                    <a:pt x="158" y="1408"/>
                  </a:lnTo>
                  <a:lnTo>
                    <a:pt x="156" y="1414"/>
                  </a:lnTo>
                  <a:lnTo>
                    <a:pt x="154" y="1418"/>
                  </a:lnTo>
                  <a:lnTo>
                    <a:pt x="156" y="1420"/>
                  </a:lnTo>
                  <a:lnTo>
                    <a:pt x="162" y="1424"/>
                  </a:lnTo>
                  <a:lnTo>
                    <a:pt x="166" y="1426"/>
                  </a:lnTo>
                  <a:lnTo>
                    <a:pt x="166" y="1430"/>
                  </a:lnTo>
                  <a:lnTo>
                    <a:pt x="168" y="1432"/>
                  </a:lnTo>
                  <a:lnTo>
                    <a:pt x="170" y="1434"/>
                  </a:lnTo>
                  <a:lnTo>
                    <a:pt x="172" y="1436"/>
                  </a:lnTo>
                  <a:lnTo>
                    <a:pt x="170" y="1438"/>
                  </a:lnTo>
                  <a:lnTo>
                    <a:pt x="170" y="1440"/>
                  </a:lnTo>
                  <a:lnTo>
                    <a:pt x="170" y="1442"/>
                  </a:lnTo>
                  <a:lnTo>
                    <a:pt x="176" y="1448"/>
                  </a:lnTo>
                  <a:lnTo>
                    <a:pt x="176" y="1450"/>
                  </a:lnTo>
                  <a:lnTo>
                    <a:pt x="174" y="1450"/>
                  </a:lnTo>
                  <a:lnTo>
                    <a:pt x="172" y="1452"/>
                  </a:lnTo>
                  <a:lnTo>
                    <a:pt x="170" y="1454"/>
                  </a:lnTo>
                  <a:lnTo>
                    <a:pt x="172" y="1458"/>
                  </a:lnTo>
                  <a:lnTo>
                    <a:pt x="174" y="1462"/>
                  </a:lnTo>
                  <a:lnTo>
                    <a:pt x="176" y="1462"/>
                  </a:lnTo>
                  <a:lnTo>
                    <a:pt x="180" y="1462"/>
                  </a:lnTo>
                  <a:lnTo>
                    <a:pt x="186" y="1464"/>
                  </a:lnTo>
                  <a:lnTo>
                    <a:pt x="182" y="1468"/>
                  </a:lnTo>
                  <a:lnTo>
                    <a:pt x="178" y="1470"/>
                  </a:lnTo>
                  <a:lnTo>
                    <a:pt x="172" y="1470"/>
                  </a:lnTo>
                  <a:lnTo>
                    <a:pt x="170" y="1468"/>
                  </a:lnTo>
                  <a:lnTo>
                    <a:pt x="170" y="1472"/>
                  </a:lnTo>
                  <a:lnTo>
                    <a:pt x="174" y="1480"/>
                  </a:lnTo>
                  <a:lnTo>
                    <a:pt x="178" y="1482"/>
                  </a:lnTo>
                  <a:lnTo>
                    <a:pt x="182" y="1482"/>
                  </a:lnTo>
                  <a:lnTo>
                    <a:pt x="184" y="1486"/>
                  </a:lnTo>
                  <a:lnTo>
                    <a:pt x="186" y="1492"/>
                  </a:lnTo>
                  <a:lnTo>
                    <a:pt x="184" y="1494"/>
                  </a:lnTo>
                  <a:lnTo>
                    <a:pt x="182" y="1496"/>
                  </a:lnTo>
                  <a:lnTo>
                    <a:pt x="182" y="1498"/>
                  </a:lnTo>
                  <a:lnTo>
                    <a:pt x="186" y="1502"/>
                  </a:lnTo>
                  <a:lnTo>
                    <a:pt x="192" y="1504"/>
                  </a:lnTo>
                  <a:lnTo>
                    <a:pt x="196" y="1506"/>
                  </a:lnTo>
                  <a:lnTo>
                    <a:pt x="202" y="1510"/>
                  </a:lnTo>
                  <a:lnTo>
                    <a:pt x="204" y="1512"/>
                  </a:lnTo>
                  <a:lnTo>
                    <a:pt x="204" y="1514"/>
                  </a:lnTo>
                  <a:lnTo>
                    <a:pt x="202" y="1518"/>
                  </a:lnTo>
                  <a:lnTo>
                    <a:pt x="200" y="1520"/>
                  </a:lnTo>
                  <a:lnTo>
                    <a:pt x="202" y="1520"/>
                  </a:lnTo>
                  <a:lnTo>
                    <a:pt x="208" y="1524"/>
                  </a:lnTo>
                  <a:lnTo>
                    <a:pt x="228" y="1534"/>
                  </a:lnTo>
                  <a:lnTo>
                    <a:pt x="236" y="1538"/>
                  </a:lnTo>
                  <a:lnTo>
                    <a:pt x="242" y="1546"/>
                  </a:lnTo>
                  <a:lnTo>
                    <a:pt x="246" y="1552"/>
                  </a:lnTo>
                  <a:lnTo>
                    <a:pt x="250" y="1556"/>
                  </a:lnTo>
                  <a:lnTo>
                    <a:pt x="260" y="1562"/>
                  </a:lnTo>
                  <a:lnTo>
                    <a:pt x="268" y="1566"/>
                  </a:lnTo>
                  <a:lnTo>
                    <a:pt x="270" y="1570"/>
                  </a:lnTo>
                  <a:lnTo>
                    <a:pt x="272" y="1574"/>
                  </a:lnTo>
                  <a:lnTo>
                    <a:pt x="272" y="1576"/>
                  </a:lnTo>
                  <a:lnTo>
                    <a:pt x="274" y="1578"/>
                  </a:lnTo>
                  <a:lnTo>
                    <a:pt x="282" y="1582"/>
                  </a:lnTo>
                  <a:lnTo>
                    <a:pt x="294" y="1590"/>
                  </a:lnTo>
                  <a:lnTo>
                    <a:pt x="302" y="1596"/>
                  </a:lnTo>
                  <a:lnTo>
                    <a:pt x="310" y="1606"/>
                  </a:lnTo>
                  <a:lnTo>
                    <a:pt x="328" y="1626"/>
                  </a:lnTo>
                  <a:lnTo>
                    <a:pt x="346" y="1644"/>
                  </a:lnTo>
                  <a:lnTo>
                    <a:pt x="364" y="1654"/>
                  </a:lnTo>
                  <a:lnTo>
                    <a:pt x="380" y="1660"/>
                  </a:lnTo>
                  <a:lnTo>
                    <a:pt x="388" y="1664"/>
                  </a:lnTo>
                  <a:lnTo>
                    <a:pt x="392" y="1668"/>
                  </a:lnTo>
                  <a:lnTo>
                    <a:pt x="396" y="1670"/>
                  </a:lnTo>
                  <a:lnTo>
                    <a:pt x="402" y="1672"/>
                  </a:lnTo>
                  <a:lnTo>
                    <a:pt x="408" y="1670"/>
                  </a:lnTo>
                  <a:lnTo>
                    <a:pt x="412" y="1666"/>
                  </a:lnTo>
                  <a:lnTo>
                    <a:pt x="422" y="1658"/>
                  </a:lnTo>
                  <a:lnTo>
                    <a:pt x="436" y="1648"/>
                  </a:lnTo>
                  <a:lnTo>
                    <a:pt x="448" y="1642"/>
                  </a:lnTo>
                  <a:lnTo>
                    <a:pt x="462" y="1638"/>
                  </a:lnTo>
                  <a:lnTo>
                    <a:pt x="488" y="1634"/>
                  </a:lnTo>
                  <a:lnTo>
                    <a:pt x="504" y="1632"/>
                  </a:lnTo>
                  <a:lnTo>
                    <a:pt x="516" y="1632"/>
                  </a:lnTo>
                  <a:lnTo>
                    <a:pt x="530" y="1630"/>
                  </a:lnTo>
                  <a:lnTo>
                    <a:pt x="540" y="1628"/>
                  </a:lnTo>
                  <a:lnTo>
                    <a:pt x="554" y="1630"/>
                  </a:lnTo>
                  <a:lnTo>
                    <a:pt x="566" y="1630"/>
                  </a:lnTo>
                  <a:lnTo>
                    <a:pt x="572" y="1630"/>
                  </a:lnTo>
                  <a:lnTo>
                    <a:pt x="576" y="1630"/>
                  </a:lnTo>
                  <a:lnTo>
                    <a:pt x="580" y="1630"/>
                  </a:lnTo>
                  <a:lnTo>
                    <a:pt x="590" y="1632"/>
                  </a:lnTo>
                  <a:lnTo>
                    <a:pt x="592" y="1632"/>
                  </a:lnTo>
                  <a:lnTo>
                    <a:pt x="590" y="1632"/>
                  </a:lnTo>
                  <a:lnTo>
                    <a:pt x="582" y="1634"/>
                  </a:lnTo>
                  <a:lnTo>
                    <a:pt x="578" y="1634"/>
                  </a:lnTo>
                  <a:lnTo>
                    <a:pt x="576" y="1636"/>
                  </a:lnTo>
                  <a:lnTo>
                    <a:pt x="578" y="1636"/>
                  </a:lnTo>
                  <a:lnTo>
                    <a:pt x="594" y="1640"/>
                  </a:lnTo>
                  <a:lnTo>
                    <a:pt x="606" y="1644"/>
                  </a:lnTo>
                  <a:lnTo>
                    <a:pt x="618" y="1650"/>
                  </a:lnTo>
                  <a:lnTo>
                    <a:pt x="622" y="1652"/>
                  </a:lnTo>
                  <a:lnTo>
                    <a:pt x="626" y="1652"/>
                  </a:lnTo>
                  <a:lnTo>
                    <a:pt x="636" y="1644"/>
                  </a:lnTo>
                  <a:lnTo>
                    <a:pt x="648" y="1636"/>
                  </a:lnTo>
                  <a:lnTo>
                    <a:pt x="656" y="1632"/>
                  </a:lnTo>
                  <a:lnTo>
                    <a:pt x="664" y="1630"/>
                  </a:lnTo>
                  <a:lnTo>
                    <a:pt x="674" y="1628"/>
                  </a:lnTo>
                  <a:lnTo>
                    <a:pt x="680" y="1624"/>
                  </a:lnTo>
                  <a:lnTo>
                    <a:pt x="690" y="1614"/>
                  </a:lnTo>
                  <a:lnTo>
                    <a:pt x="698" y="1610"/>
                  </a:lnTo>
                  <a:lnTo>
                    <a:pt x="706" y="1606"/>
                  </a:lnTo>
                  <a:lnTo>
                    <a:pt x="716" y="1602"/>
                  </a:lnTo>
                  <a:lnTo>
                    <a:pt x="730" y="1600"/>
                  </a:lnTo>
                  <a:lnTo>
                    <a:pt x="742" y="1598"/>
                  </a:lnTo>
                  <a:lnTo>
                    <a:pt x="746" y="1596"/>
                  </a:lnTo>
                  <a:lnTo>
                    <a:pt x="746" y="1594"/>
                  </a:lnTo>
                  <a:lnTo>
                    <a:pt x="748" y="1590"/>
                  </a:lnTo>
                  <a:lnTo>
                    <a:pt x="754" y="1586"/>
                  </a:lnTo>
                  <a:lnTo>
                    <a:pt x="760" y="1582"/>
                  </a:lnTo>
                  <a:lnTo>
                    <a:pt x="774" y="1578"/>
                  </a:lnTo>
                  <a:lnTo>
                    <a:pt x="796" y="1574"/>
                  </a:lnTo>
                  <a:lnTo>
                    <a:pt x="814" y="1572"/>
                  </a:lnTo>
                  <a:lnTo>
                    <a:pt x="832" y="1572"/>
                  </a:lnTo>
                  <a:lnTo>
                    <a:pt x="838" y="1570"/>
                  </a:lnTo>
                  <a:lnTo>
                    <a:pt x="840" y="1568"/>
                  </a:lnTo>
                  <a:lnTo>
                    <a:pt x="844" y="1564"/>
                  </a:lnTo>
                  <a:lnTo>
                    <a:pt x="846" y="1566"/>
                  </a:lnTo>
                  <a:lnTo>
                    <a:pt x="850" y="1570"/>
                  </a:lnTo>
                  <a:lnTo>
                    <a:pt x="860" y="1570"/>
                  </a:lnTo>
                  <a:lnTo>
                    <a:pt x="874" y="1570"/>
                  </a:lnTo>
                  <a:lnTo>
                    <a:pt x="884" y="1574"/>
                  </a:lnTo>
                  <a:lnTo>
                    <a:pt x="890" y="1578"/>
                  </a:lnTo>
                  <a:lnTo>
                    <a:pt x="896" y="1584"/>
                  </a:lnTo>
                  <a:lnTo>
                    <a:pt x="908" y="1600"/>
                  </a:lnTo>
                  <a:lnTo>
                    <a:pt x="916" y="1616"/>
                  </a:lnTo>
                  <a:lnTo>
                    <a:pt x="924" y="1642"/>
                  </a:lnTo>
                  <a:lnTo>
                    <a:pt x="930" y="1654"/>
                  </a:lnTo>
                  <a:lnTo>
                    <a:pt x="936" y="1664"/>
                  </a:lnTo>
                  <a:lnTo>
                    <a:pt x="944" y="1670"/>
                  </a:lnTo>
                  <a:lnTo>
                    <a:pt x="948" y="1672"/>
                  </a:lnTo>
                  <a:lnTo>
                    <a:pt x="954" y="1672"/>
                  </a:lnTo>
                  <a:lnTo>
                    <a:pt x="970" y="1672"/>
                  </a:lnTo>
                  <a:lnTo>
                    <a:pt x="976" y="1672"/>
                  </a:lnTo>
                  <a:lnTo>
                    <a:pt x="984" y="1670"/>
                  </a:lnTo>
                  <a:lnTo>
                    <a:pt x="990" y="1668"/>
                  </a:lnTo>
                  <a:lnTo>
                    <a:pt x="992" y="1664"/>
                  </a:lnTo>
                  <a:lnTo>
                    <a:pt x="992" y="1662"/>
                  </a:lnTo>
                  <a:lnTo>
                    <a:pt x="992" y="1658"/>
                  </a:lnTo>
                  <a:lnTo>
                    <a:pt x="992" y="1656"/>
                  </a:lnTo>
                  <a:lnTo>
                    <a:pt x="996" y="1658"/>
                  </a:lnTo>
                  <a:lnTo>
                    <a:pt x="1002" y="1660"/>
                  </a:lnTo>
                  <a:lnTo>
                    <a:pt x="1008" y="1662"/>
                  </a:lnTo>
                  <a:lnTo>
                    <a:pt x="1018" y="1662"/>
                  </a:lnTo>
                  <a:lnTo>
                    <a:pt x="1028" y="1662"/>
                  </a:lnTo>
                  <a:lnTo>
                    <a:pt x="1036" y="1660"/>
                  </a:lnTo>
                  <a:lnTo>
                    <a:pt x="1040" y="1656"/>
                  </a:lnTo>
                  <a:lnTo>
                    <a:pt x="1042" y="1654"/>
                  </a:lnTo>
                  <a:lnTo>
                    <a:pt x="1042" y="1650"/>
                  </a:lnTo>
                  <a:lnTo>
                    <a:pt x="1036" y="1640"/>
                  </a:lnTo>
                  <a:lnTo>
                    <a:pt x="1048" y="1650"/>
                  </a:lnTo>
                  <a:lnTo>
                    <a:pt x="1048" y="1658"/>
                  </a:lnTo>
                  <a:lnTo>
                    <a:pt x="1050" y="1662"/>
                  </a:lnTo>
                  <a:lnTo>
                    <a:pt x="1052" y="1662"/>
                  </a:lnTo>
                  <a:lnTo>
                    <a:pt x="1056" y="1662"/>
                  </a:lnTo>
                  <a:lnTo>
                    <a:pt x="1060" y="1660"/>
                  </a:lnTo>
                  <a:lnTo>
                    <a:pt x="1062" y="1662"/>
                  </a:lnTo>
                  <a:lnTo>
                    <a:pt x="1064" y="1666"/>
                  </a:lnTo>
                  <a:lnTo>
                    <a:pt x="1066" y="1682"/>
                  </a:lnTo>
                  <a:lnTo>
                    <a:pt x="1070" y="1684"/>
                  </a:lnTo>
                  <a:lnTo>
                    <a:pt x="1076" y="1688"/>
                  </a:lnTo>
                  <a:lnTo>
                    <a:pt x="1082" y="1690"/>
                  </a:lnTo>
                  <a:lnTo>
                    <a:pt x="1084" y="1690"/>
                  </a:lnTo>
                  <a:lnTo>
                    <a:pt x="1086" y="1686"/>
                  </a:lnTo>
                  <a:lnTo>
                    <a:pt x="1088" y="1684"/>
                  </a:lnTo>
                  <a:lnTo>
                    <a:pt x="1090" y="1684"/>
                  </a:lnTo>
                  <a:lnTo>
                    <a:pt x="1094" y="1684"/>
                  </a:lnTo>
                  <a:lnTo>
                    <a:pt x="1096" y="1688"/>
                  </a:lnTo>
                  <a:lnTo>
                    <a:pt x="1096" y="1690"/>
                  </a:lnTo>
                  <a:lnTo>
                    <a:pt x="1094" y="1694"/>
                  </a:lnTo>
                  <a:lnTo>
                    <a:pt x="1090" y="1698"/>
                  </a:lnTo>
                  <a:lnTo>
                    <a:pt x="1090" y="1700"/>
                  </a:lnTo>
                  <a:lnTo>
                    <a:pt x="1092" y="1704"/>
                  </a:lnTo>
                  <a:lnTo>
                    <a:pt x="1096" y="1708"/>
                  </a:lnTo>
                  <a:lnTo>
                    <a:pt x="1094" y="1708"/>
                  </a:lnTo>
                  <a:lnTo>
                    <a:pt x="1094" y="1712"/>
                  </a:lnTo>
                  <a:lnTo>
                    <a:pt x="1100" y="1718"/>
                  </a:lnTo>
                  <a:lnTo>
                    <a:pt x="1102" y="1724"/>
                  </a:lnTo>
                  <a:lnTo>
                    <a:pt x="1104" y="1730"/>
                  </a:lnTo>
                  <a:lnTo>
                    <a:pt x="1104" y="1742"/>
                  </a:lnTo>
                  <a:lnTo>
                    <a:pt x="1100" y="1756"/>
                  </a:lnTo>
                  <a:lnTo>
                    <a:pt x="1100" y="1770"/>
                  </a:lnTo>
                  <a:lnTo>
                    <a:pt x="1100" y="1782"/>
                  </a:lnTo>
                  <a:lnTo>
                    <a:pt x="1098" y="1790"/>
                  </a:lnTo>
                  <a:lnTo>
                    <a:pt x="1094" y="1798"/>
                  </a:lnTo>
                  <a:lnTo>
                    <a:pt x="1090" y="1804"/>
                  </a:lnTo>
                  <a:lnTo>
                    <a:pt x="1084" y="1814"/>
                  </a:lnTo>
                  <a:lnTo>
                    <a:pt x="1082" y="1820"/>
                  </a:lnTo>
                  <a:lnTo>
                    <a:pt x="1082" y="1824"/>
                  </a:lnTo>
                  <a:lnTo>
                    <a:pt x="1082" y="1828"/>
                  </a:lnTo>
                  <a:lnTo>
                    <a:pt x="1084" y="1828"/>
                  </a:lnTo>
                  <a:lnTo>
                    <a:pt x="1088" y="1828"/>
                  </a:lnTo>
                  <a:lnTo>
                    <a:pt x="1092" y="1828"/>
                  </a:lnTo>
                  <a:lnTo>
                    <a:pt x="1090" y="1834"/>
                  </a:lnTo>
                  <a:lnTo>
                    <a:pt x="1090" y="1838"/>
                  </a:lnTo>
                  <a:lnTo>
                    <a:pt x="1092" y="1844"/>
                  </a:lnTo>
                  <a:lnTo>
                    <a:pt x="1094" y="1848"/>
                  </a:lnTo>
                  <a:lnTo>
                    <a:pt x="1092" y="1852"/>
                  </a:lnTo>
                  <a:lnTo>
                    <a:pt x="1090" y="1852"/>
                  </a:lnTo>
                  <a:lnTo>
                    <a:pt x="1088" y="1850"/>
                  </a:lnTo>
                  <a:lnTo>
                    <a:pt x="1086" y="1848"/>
                  </a:lnTo>
                  <a:lnTo>
                    <a:pt x="1082" y="1852"/>
                  </a:lnTo>
                  <a:lnTo>
                    <a:pt x="1082" y="1854"/>
                  </a:lnTo>
                  <a:lnTo>
                    <a:pt x="1082" y="1858"/>
                  </a:lnTo>
                  <a:lnTo>
                    <a:pt x="1086" y="1864"/>
                  </a:lnTo>
                  <a:lnTo>
                    <a:pt x="1094" y="1868"/>
                  </a:lnTo>
                  <a:lnTo>
                    <a:pt x="1106" y="1872"/>
                  </a:lnTo>
                  <a:lnTo>
                    <a:pt x="1110" y="1872"/>
                  </a:lnTo>
                  <a:lnTo>
                    <a:pt x="1110" y="1874"/>
                  </a:lnTo>
                  <a:lnTo>
                    <a:pt x="1110" y="1876"/>
                  </a:lnTo>
                  <a:lnTo>
                    <a:pt x="1106" y="1878"/>
                  </a:lnTo>
                  <a:lnTo>
                    <a:pt x="1104" y="1880"/>
                  </a:lnTo>
                  <a:lnTo>
                    <a:pt x="1098" y="1880"/>
                  </a:lnTo>
                  <a:lnTo>
                    <a:pt x="1094" y="1878"/>
                  </a:lnTo>
                  <a:lnTo>
                    <a:pt x="1090" y="1874"/>
                  </a:lnTo>
                  <a:lnTo>
                    <a:pt x="1084" y="1868"/>
                  </a:lnTo>
                  <a:lnTo>
                    <a:pt x="1082" y="1866"/>
                  </a:lnTo>
                  <a:lnTo>
                    <a:pt x="1080" y="1866"/>
                  </a:lnTo>
                  <a:lnTo>
                    <a:pt x="1080" y="1872"/>
                  </a:lnTo>
                  <a:lnTo>
                    <a:pt x="1080" y="1882"/>
                  </a:lnTo>
                  <a:lnTo>
                    <a:pt x="1078" y="1898"/>
                  </a:lnTo>
                  <a:lnTo>
                    <a:pt x="1074" y="1910"/>
                  </a:lnTo>
                  <a:lnTo>
                    <a:pt x="1072" y="1914"/>
                  </a:lnTo>
                  <a:lnTo>
                    <a:pt x="1068" y="1918"/>
                  </a:lnTo>
                  <a:lnTo>
                    <a:pt x="1066" y="1918"/>
                  </a:lnTo>
                  <a:lnTo>
                    <a:pt x="1062" y="1914"/>
                  </a:lnTo>
                  <a:lnTo>
                    <a:pt x="1056" y="1910"/>
                  </a:lnTo>
                  <a:lnTo>
                    <a:pt x="1056" y="1912"/>
                  </a:lnTo>
                  <a:lnTo>
                    <a:pt x="1058" y="1922"/>
                  </a:lnTo>
                  <a:lnTo>
                    <a:pt x="1064" y="1936"/>
                  </a:lnTo>
                  <a:lnTo>
                    <a:pt x="1076" y="1964"/>
                  </a:lnTo>
                  <a:lnTo>
                    <a:pt x="1080" y="1974"/>
                  </a:lnTo>
                  <a:lnTo>
                    <a:pt x="1084" y="1982"/>
                  </a:lnTo>
                  <a:lnTo>
                    <a:pt x="1088" y="1988"/>
                  </a:lnTo>
                  <a:lnTo>
                    <a:pt x="1094" y="1996"/>
                  </a:lnTo>
                  <a:lnTo>
                    <a:pt x="1100" y="2006"/>
                  </a:lnTo>
                  <a:lnTo>
                    <a:pt x="1110" y="2018"/>
                  </a:lnTo>
                  <a:lnTo>
                    <a:pt x="1132" y="2042"/>
                  </a:lnTo>
                  <a:lnTo>
                    <a:pt x="1140" y="2052"/>
                  </a:lnTo>
                  <a:lnTo>
                    <a:pt x="1142" y="2058"/>
                  </a:lnTo>
                  <a:lnTo>
                    <a:pt x="1150" y="2070"/>
                  </a:lnTo>
                  <a:lnTo>
                    <a:pt x="1172" y="2092"/>
                  </a:lnTo>
                  <a:lnTo>
                    <a:pt x="1178" y="2100"/>
                  </a:lnTo>
                  <a:lnTo>
                    <a:pt x="1180" y="2110"/>
                  </a:lnTo>
                  <a:lnTo>
                    <a:pt x="1184" y="2118"/>
                  </a:lnTo>
                  <a:lnTo>
                    <a:pt x="1190" y="2128"/>
                  </a:lnTo>
                  <a:lnTo>
                    <a:pt x="1194" y="2136"/>
                  </a:lnTo>
                  <a:lnTo>
                    <a:pt x="1196" y="2142"/>
                  </a:lnTo>
                  <a:lnTo>
                    <a:pt x="1194" y="2148"/>
                  </a:lnTo>
                  <a:lnTo>
                    <a:pt x="1194" y="2156"/>
                  </a:lnTo>
                  <a:lnTo>
                    <a:pt x="1194" y="2158"/>
                  </a:lnTo>
                  <a:lnTo>
                    <a:pt x="1196" y="2160"/>
                  </a:lnTo>
                  <a:lnTo>
                    <a:pt x="1198" y="2164"/>
                  </a:lnTo>
                  <a:lnTo>
                    <a:pt x="1200" y="2168"/>
                  </a:lnTo>
                  <a:lnTo>
                    <a:pt x="1204" y="2170"/>
                  </a:lnTo>
                  <a:lnTo>
                    <a:pt x="1208" y="2168"/>
                  </a:lnTo>
                  <a:lnTo>
                    <a:pt x="1216" y="2164"/>
                  </a:lnTo>
                  <a:lnTo>
                    <a:pt x="1222" y="2162"/>
                  </a:lnTo>
                  <a:lnTo>
                    <a:pt x="1226" y="2162"/>
                  </a:lnTo>
                  <a:lnTo>
                    <a:pt x="1234" y="2162"/>
                  </a:lnTo>
                  <a:lnTo>
                    <a:pt x="1226" y="2168"/>
                  </a:lnTo>
                  <a:lnTo>
                    <a:pt x="1220" y="2172"/>
                  </a:lnTo>
                  <a:lnTo>
                    <a:pt x="1208" y="2174"/>
                  </a:lnTo>
                  <a:lnTo>
                    <a:pt x="1202" y="2176"/>
                  </a:lnTo>
                  <a:lnTo>
                    <a:pt x="1200" y="2178"/>
                  </a:lnTo>
                  <a:lnTo>
                    <a:pt x="1202" y="2182"/>
                  </a:lnTo>
                  <a:lnTo>
                    <a:pt x="1212" y="2202"/>
                  </a:lnTo>
                  <a:lnTo>
                    <a:pt x="1226" y="2240"/>
                  </a:lnTo>
                  <a:lnTo>
                    <a:pt x="1232" y="2260"/>
                  </a:lnTo>
                  <a:lnTo>
                    <a:pt x="1238" y="2278"/>
                  </a:lnTo>
                  <a:lnTo>
                    <a:pt x="1238" y="2294"/>
                  </a:lnTo>
                  <a:lnTo>
                    <a:pt x="1236" y="2300"/>
                  </a:lnTo>
                  <a:lnTo>
                    <a:pt x="1234" y="2306"/>
                  </a:lnTo>
                  <a:lnTo>
                    <a:pt x="1230" y="2314"/>
                  </a:lnTo>
                  <a:lnTo>
                    <a:pt x="1230" y="2324"/>
                  </a:lnTo>
                  <a:lnTo>
                    <a:pt x="1230" y="2336"/>
                  </a:lnTo>
                  <a:lnTo>
                    <a:pt x="1234" y="2346"/>
                  </a:lnTo>
                  <a:lnTo>
                    <a:pt x="1246" y="2372"/>
                  </a:lnTo>
                  <a:lnTo>
                    <a:pt x="1256" y="2396"/>
                  </a:lnTo>
                  <a:lnTo>
                    <a:pt x="1260" y="2408"/>
                  </a:lnTo>
                  <a:lnTo>
                    <a:pt x="1262" y="2422"/>
                  </a:lnTo>
                  <a:lnTo>
                    <a:pt x="1262" y="2436"/>
                  </a:lnTo>
                  <a:lnTo>
                    <a:pt x="1262" y="2450"/>
                  </a:lnTo>
                  <a:lnTo>
                    <a:pt x="1258" y="2464"/>
                  </a:lnTo>
                  <a:lnTo>
                    <a:pt x="1254" y="2476"/>
                  </a:lnTo>
                  <a:lnTo>
                    <a:pt x="1246" y="2486"/>
                  </a:lnTo>
                  <a:lnTo>
                    <a:pt x="1238" y="2494"/>
                  </a:lnTo>
                  <a:lnTo>
                    <a:pt x="1230" y="2502"/>
                  </a:lnTo>
                  <a:lnTo>
                    <a:pt x="1222" y="2510"/>
                  </a:lnTo>
                  <a:lnTo>
                    <a:pt x="1218" y="2518"/>
                  </a:lnTo>
                  <a:lnTo>
                    <a:pt x="1212" y="2528"/>
                  </a:lnTo>
                  <a:lnTo>
                    <a:pt x="1206" y="2548"/>
                  </a:lnTo>
                  <a:lnTo>
                    <a:pt x="1202" y="2570"/>
                  </a:lnTo>
                  <a:lnTo>
                    <a:pt x="1196" y="2610"/>
                  </a:lnTo>
                  <a:lnTo>
                    <a:pt x="1192" y="2626"/>
                  </a:lnTo>
                  <a:lnTo>
                    <a:pt x="1188" y="2640"/>
                  </a:lnTo>
                  <a:lnTo>
                    <a:pt x="1182" y="2652"/>
                  </a:lnTo>
                  <a:lnTo>
                    <a:pt x="1178" y="2662"/>
                  </a:lnTo>
                  <a:lnTo>
                    <a:pt x="1176" y="2670"/>
                  </a:lnTo>
                  <a:lnTo>
                    <a:pt x="1176" y="2680"/>
                  </a:lnTo>
                  <a:lnTo>
                    <a:pt x="1178" y="2700"/>
                  </a:lnTo>
                  <a:lnTo>
                    <a:pt x="1178" y="2712"/>
                  </a:lnTo>
                  <a:lnTo>
                    <a:pt x="1178" y="2726"/>
                  </a:lnTo>
                  <a:lnTo>
                    <a:pt x="1176" y="2736"/>
                  </a:lnTo>
                  <a:lnTo>
                    <a:pt x="1176" y="2746"/>
                  </a:lnTo>
                  <a:lnTo>
                    <a:pt x="1180" y="2764"/>
                  </a:lnTo>
                  <a:lnTo>
                    <a:pt x="1188" y="2784"/>
                  </a:lnTo>
                  <a:lnTo>
                    <a:pt x="1200" y="2804"/>
                  </a:lnTo>
                  <a:lnTo>
                    <a:pt x="1222" y="2850"/>
                  </a:lnTo>
                  <a:lnTo>
                    <a:pt x="1234" y="2876"/>
                  </a:lnTo>
                  <a:lnTo>
                    <a:pt x="1242" y="2904"/>
                  </a:lnTo>
                  <a:lnTo>
                    <a:pt x="1250" y="2930"/>
                  </a:lnTo>
                  <a:lnTo>
                    <a:pt x="1260" y="2946"/>
                  </a:lnTo>
                  <a:lnTo>
                    <a:pt x="1268" y="2958"/>
                  </a:lnTo>
                  <a:lnTo>
                    <a:pt x="1276" y="2966"/>
                  </a:lnTo>
                  <a:lnTo>
                    <a:pt x="1284" y="2976"/>
                  </a:lnTo>
                  <a:lnTo>
                    <a:pt x="1288" y="2990"/>
                  </a:lnTo>
                  <a:lnTo>
                    <a:pt x="1288" y="3008"/>
                  </a:lnTo>
                  <a:lnTo>
                    <a:pt x="1286" y="3038"/>
                  </a:lnTo>
                  <a:lnTo>
                    <a:pt x="1284" y="3052"/>
                  </a:lnTo>
                  <a:lnTo>
                    <a:pt x="1286" y="3070"/>
                  </a:lnTo>
                  <a:lnTo>
                    <a:pt x="1294" y="3112"/>
                  </a:lnTo>
                  <a:lnTo>
                    <a:pt x="1304" y="3156"/>
                  </a:lnTo>
                  <a:lnTo>
                    <a:pt x="1308" y="3178"/>
                  </a:lnTo>
                  <a:lnTo>
                    <a:pt x="1310" y="3200"/>
                  </a:lnTo>
                  <a:lnTo>
                    <a:pt x="1312" y="3220"/>
                  </a:lnTo>
                  <a:lnTo>
                    <a:pt x="1318" y="3238"/>
                  </a:lnTo>
                  <a:lnTo>
                    <a:pt x="1326" y="3254"/>
                  </a:lnTo>
                  <a:lnTo>
                    <a:pt x="1334" y="3266"/>
                  </a:lnTo>
                  <a:lnTo>
                    <a:pt x="1342" y="3278"/>
                  </a:lnTo>
                  <a:lnTo>
                    <a:pt x="1352" y="3286"/>
                  </a:lnTo>
                  <a:lnTo>
                    <a:pt x="1366" y="3302"/>
                  </a:lnTo>
                  <a:lnTo>
                    <a:pt x="1376" y="3316"/>
                  </a:lnTo>
                  <a:lnTo>
                    <a:pt x="1384" y="3330"/>
                  </a:lnTo>
                  <a:lnTo>
                    <a:pt x="1388" y="3344"/>
                  </a:lnTo>
                  <a:lnTo>
                    <a:pt x="1392" y="3358"/>
                  </a:lnTo>
                  <a:lnTo>
                    <a:pt x="1396" y="3374"/>
                  </a:lnTo>
                  <a:lnTo>
                    <a:pt x="1402" y="3392"/>
                  </a:lnTo>
                  <a:lnTo>
                    <a:pt x="1410" y="3414"/>
                  </a:lnTo>
                  <a:lnTo>
                    <a:pt x="1424" y="3436"/>
                  </a:lnTo>
                  <a:lnTo>
                    <a:pt x="1436" y="3458"/>
                  </a:lnTo>
                  <a:lnTo>
                    <a:pt x="1444" y="3474"/>
                  </a:lnTo>
                  <a:lnTo>
                    <a:pt x="1446" y="3490"/>
                  </a:lnTo>
                  <a:lnTo>
                    <a:pt x="1446" y="3502"/>
                  </a:lnTo>
                  <a:lnTo>
                    <a:pt x="1442" y="3510"/>
                  </a:lnTo>
                  <a:lnTo>
                    <a:pt x="1438" y="3516"/>
                  </a:lnTo>
                  <a:lnTo>
                    <a:pt x="1434" y="3518"/>
                  </a:lnTo>
                  <a:lnTo>
                    <a:pt x="1432" y="3518"/>
                  </a:lnTo>
                  <a:lnTo>
                    <a:pt x="1430" y="3516"/>
                  </a:lnTo>
                  <a:lnTo>
                    <a:pt x="1426" y="3518"/>
                  </a:lnTo>
                  <a:lnTo>
                    <a:pt x="1424" y="3518"/>
                  </a:lnTo>
                  <a:lnTo>
                    <a:pt x="1424" y="3522"/>
                  </a:lnTo>
                  <a:lnTo>
                    <a:pt x="1424" y="3526"/>
                  </a:lnTo>
                  <a:lnTo>
                    <a:pt x="1424" y="3532"/>
                  </a:lnTo>
                  <a:lnTo>
                    <a:pt x="1428" y="3538"/>
                  </a:lnTo>
                  <a:lnTo>
                    <a:pt x="1432" y="3546"/>
                  </a:lnTo>
                  <a:lnTo>
                    <a:pt x="1442" y="3558"/>
                  </a:lnTo>
                  <a:lnTo>
                    <a:pt x="1446" y="3568"/>
                  </a:lnTo>
                  <a:lnTo>
                    <a:pt x="1448" y="3574"/>
                  </a:lnTo>
                  <a:lnTo>
                    <a:pt x="1444" y="3580"/>
                  </a:lnTo>
                  <a:lnTo>
                    <a:pt x="1442" y="3582"/>
                  </a:lnTo>
                  <a:lnTo>
                    <a:pt x="1442" y="3588"/>
                  </a:lnTo>
                  <a:lnTo>
                    <a:pt x="1442" y="3596"/>
                  </a:lnTo>
                  <a:lnTo>
                    <a:pt x="1446" y="3602"/>
                  </a:lnTo>
                  <a:lnTo>
                    <a:pt x="1448" y="3602"/>
                  </a:lnTo>
                  <a:lnTo>
                    <a:pt x="1448" y="3598"/>
                  </a:lnTo>
                  <a:lnTo>
                    <a:pt x="1450" y="3594"/>
                  </a:lnTo>
                  <a:lnTo>
                    <a:pt x="1452" y="3590"/>
                  </a:lnTo>
                  <a:lnTo>
                    <a:pt x="1454" y="3588"/>
                  </a:lnTo>
                  <a:lnTo>
                    <a:pt x="1458" y="3588"/>
                  </a:lnTo>
                  <a:lnTo>
                    <a:pt x="1460" y="3588"/>
                  </a:lnTo>
                  <a:lnTo>
                    <a:pt x="1462" y="3590"/>
                  </a:lnTo>
                  <a:lnTo>
                    <a:pt x="1464" y="3592"/>
                  </a:lnTo>
                  <a:lnTo>
                    <a:pt x="1464" y="3596"/>
                  </a:lnTo>
                  <a:lnTo>
                    <a:pt x="1464" y="3602"/>
                  </a:lnTo>
                  <a:lnTo>
                    <a:pt x="1466" y="3604"/>
                  </a:lnTo>
                  <a:lnTo>
                    <a:pt x="1470" y="3606"/>
                  </a:lnTo>
                  <a:lnTo>
                    <a:pt x="1472" y="3606"/>
                  </a:lnTo>
                  <a:lnTo>
                    <a:pt x="1478" y="3606"/>
                  </a:lnTo>
                  <a:lnTo>
                    <a:pt x="1480" y="3608"/>
                  </a:lnTo>
                  <a:lnTo>
                    <a:pt x="1482" y="3612"/>
                  </a:lnTo>
                  <a:lnTo>
                    <a:pt x="1484" y="3618"/>
                  </a:lnTo>
                  <a:lnTo>
                    <a:pt x="1486" y="3620"/>
                  </a:lnTo>
                  <a:lnTo>
                    <a:pt x="1490" y="3620"/>
                  </a:lnTo>
                  <a:lnTo>
                    <a:pt x="1494" y="3624"/>
                  </a:lnTo>
                  <a:lnTo>
                    <a:pt x="1496" y="3628"/>
                  </a:lnTo>
                  <a:lnTo>
                    <a:pt x="1500" y="3626"/>
                  </a:lnTo>
                  <a:lnTo>
                    <a:pt x="1506" y="3626"/>
                  </a:lnTo>
                  <a:lnTo>
                    <a:pt x="1510" y="3626"/>
                  </a:lnTo>
                  <a:lnTo>
                    <a:pt x="1514" y="3628"/>
                  </a:lnTo>
                  <a:lnTo>
                    <a:pt x="1516" y="3626"/>
                  </a:lnTo>
                  <a:lnTo>
                    <a:pt x="1520" y="3620"/>
                  </a:lnTo>
                  <a:lnTo>
                    <a:pt x="1526" y="3612"/>
                  </a:lnTo>
                  <a:lnTo>
                    <a:pt x="1532" y="3610"/>
                  </a:lnTo>
                  <a:lnTo>
                    <a:pt x="1540" y="3608"/>
                  </a:lnTo>
                  <a:lnTo>
                    <a:pt x="1552" y="3606"/>
                  </a:lnTo>
                  <a:lnTo>
                    <a:pt x="1558" y="3608"/>
                  </a:lnTo>
                  <a:lnTo>
                    <a:pt x="1564" y="3608"/>
                  </a:lnTo>
                  <a:lnTo>
                    <a:pt x="1576" y="3604"/>
                  </a:lnTo>
                  <a:lnTo>
                    <a:pt x="1584" y="3602"/>
                  </a:lnTo>
                  <a:lnTo>
                    <a:pt x="1590" y="3598"/>
                  </a:lnTo>
                  <a:lnTo>
                    <a:pt x="1594" y="3592"/>
                  </a:lnTo>
                  <a:lnTo>
                    <a:pt x="1600" y="3586"/>
                  </a:lnTo>
                  <a:lnTo>
                    <a:pt x="1602" y="3586"/>
                  </a:lnTo>
                  <a:lnTo>
                    <a:pt x="1608" y="3584"/>
                  </a:lnTo>
                  <a:lnTo>
                    <a:pt x="1620" y="3584"/>
                  </a:lnTo>
                  <a:lnTo>
                    <a:pt x="1632" y="3588"/>
                  </a:lnTo>
                  <a:lnTo>
                    <a:pt x="1642" y="3590"/>
                  </a:lnTo>
                  <a:lnTo>
                    <a:pt x="1648" y="3590"/>
                  </a:lnTo>
                  <a:lnTo>
                    <a:pt x="1652" y="3586"/>
                  </a:lnTo>
                  <a:lnTo>
                    <a:pt x="1656" y="3586"/>
                  </a:lnTo>
                  <a:lnTo>
                    <a:pt x="1664" y="3586"/>
                  </a:lnTo>
                  <a:lnTo>
                    <a:pt x="1678" y="3592"/>
                  </a:lnTo>
                  <a:lnTo>
                    <a:pt x="1686" y="3594"/>
                  </a:lnTo>
                  <a:lnTo>
                    <a:pt x="1694" y="3594"/>
                  </a:lnTo>
                  <a:lnTo>
                    <a:pt x="1702" y="3594"/>
                  </a:lnTo>
                  <a:lnTo>
                    <a:pt x="1706" y="3590"/>
                  </a:lnTo>
                  <a:lnTo>
                    <a:pt x="1712" y="3584"/>
                  </a:lnTo>
                  <a:lnTo>
                    <a:pt x="1718" y="3582"/>
                  </a:lnTo>
                  <a:lnTo>
                    <a:pt x="1724" y="3584"/>
                  </a:lnTo>
                  <a:lnTo>
                    <a:pt x="1730" y="3584"/>
                  </a:lnTo>
                  <a:lnTo>
                    <a:pt x="1738" y="3586"/>
                  </a:lnTo>
                  <a:lnTo>
                    <a:pt x="1740" y="3584"/>
                  </a:lnTo>
                  <a:lnTo>
                    <a:pt x="1740" y="3580"/>
                  </a:lnTo>
                  <a:lnTo>
                    <a:pt x="1740" y="3574"/>
                  </a:lnTo>
                  <a:lnTo>
                    <a:pt x="1742" y="3572"/>
                  </a:lnTo>
                  <a:lnTo>
                    <a:pt x="1748" y="3572"/>
                  </a:lnTo>
                  <a:lnTo>
                    <a:pt x="1756" y="3572"/>
                  </a:lnTo>
                  <a:lnTo>
                    <a:pt x="1764" y="3572"/>
                  </a:lnTo>
                  <a:lnTo>
                    <a:pt x="1774" y="3570"/>
                  </a:lnTo>
                  <a:lnTo>
                    <a:pt x="1782" y="3568"/>
                  </a:lnTo>
                  <a:lnTo>
                    <a:pt x="1792" y="3562"/>
                  </a:lnTo>
                  <a:lnTo>
                    <a:pt x="1810" y="3550"/>
                  </a:lnTo>
                  <a:lnTo>
                    <a:pt x="1832" y="3532"/>
                  </a:lnTo>
                  <a:lnTo>
                    <a:pt x="1858" y="3506"/>
                  </a:lnTo>
                  <a:lnTo>
                    <a:pt x="1870" y="3490"/>
                  </a:lnTo>
                  <a:lnTo>
                    <a:pt x="1884" y="3472"/>
                  </a:lnTo>
                  <a:lnTo>
                    <a:pt x="1892" y="3462"/>
                  </a:lnTo>
                  <a:lnTo>
                    <a:pt x="1898" y="3456"/>
                  </a:lnTo>
                  <a:lnTo>
                    <a:pt x="1912" y="3442"/>
                  </a:lnTo>
                  <a:lnTo>
                    <a:pt x="1920" y="3432"/>
                  </a:lnTo>
                  <a:lnTo>
                    <a:pt x="1930" y="3418"/>
                  </a:lnTo>
                  <a:lnTo>
                    <a:pt x="1940" y="3398"/>
                  </a:lnTo>
                  <a:lnTo>
                    <a:pt x="1952" y="3372"/>
                  </a:lnTo>
                  <a:lnTo>
                    <a:pt x="1968" y="3344"/>
                  </a:lnTo>
                  <a:lnTo>
                    <a:pt x="1980" y="3324"/>
                  </a:lnTo>
                  <a:lnTo>
                    <a:pt x="1992" y="3314"/>
                  </a:lnTo>
                  <a:lnTo>
                    <a:pt x="2002" y="3304"/>
                  </a:lnTo>
                  <a:lnTo>
                    <a:pt x="2010" y="3294"/>
                  </a:lnTo>
                  <a:lnTo>
                    <a:pt x="2018" y="3276"/>
                  </a:lnTo>
                  <a:lnTo>
                    <a:pt x="2026" y="3250"/>
                  </a:lnTo>
                  <a:lnTo>
                    <a:pt x="2030" y="3210"/>
                  </a:lnTo>
                  <a:lnTo>
                    <a:pt x="2034" y="3182"/>
                  </a:lnTo>
                  <a:lnTo>
                    <a:pt x="2032" y="3176"/>
                  </a:lnTo>
                  <a:lnTo>
                    <a:pt x="2030" y="3176"/>
                  </a:lnTo>
                  <a:lnTo>
                    <a:pt x="2026" y="3176"/>
                  </a:lnTo>
                  <a:lnTo>
                    <a:pt x="2024" y="3176"/>
                  </a:lnTo>
                  <a:lnTo>
                    <a:pt x="2022" y="3170"/>
                  </a:lnTo>
                  <a:lnTo>
                    <a:pt x="2020" y="3164"/>
                  </a:lnTo>
                  <a:lnTo>
                    <a:pt x="2024" y="3156"/>
                  </a:lnTo>
                  <a:lnTo>
                    <a:pt x="2028" y="3148"/>
                  </a:lnTo>
                  <a:lnTo>
                    <a:pt x="2036" y="3140"/>
                  </a:lnTo>
                  <a:lnTo>
                    <a:pt x="2046" y="3132"/>
                  </a:lnTo>
                  <a:lnTo>
                    <a:pt x="2056" y="3126"/>
                  </a:lnTo>
                  <a:lnTo>
                    <a:pt x="2070" y="3118"/>
                  </a:lnTo>
                  <a:lnTo>
                    <a:pt x="2084" y="3114"/>
                  </a:lnTo>
                  <a:lnTo>
                    <a:pt x="2096" y="3108"/>
                  </a:lnTo>
                  <a:lnTo>
                    <a:pt x="2108" y="3100"/>
                  </a:lnTo>
                  <a:lnTo>
                    <a:pt x="2118" y="3094"/>
                  </a:lnTo>
                  <a:lnTo>
                    <a:pt x="2126" y="3086"/>
                  </a:lnTo>
                  <a:lnTo>
                    <a:pt x="2132" y="3078"/>
                  </a:lnTo>
                  <a:lnTo>
                    <a:pt x="2136" y="3070"/>
                  </a:lnTo>
                  <a:lnTo>
                    <a:pt x="2136" y="3062"/>
                  </a:lnTo>
                  <a:lnTo>
                    <a:pt x="2134" y="3056"/>
                  </a:lnTo>
                  <a:lnTo>
                    <a:pt x="2130" y="3050"/>
                  </a:lnTo>
                  <a:lnTo>
                    <a:pt x="2130" y="3044"/>
                  </a:lnTo>
                  <a:lnTo>
                    <a:pt x="2132" y="3034"/>
                  </a:lnTo>
                  <a:lnTo>
                    <a:pt x="2136" y="3016"/>
                  </a:lnTo>
                  <a:lnTo>
                    <a:pt x="2138" y="3006"/>
                  </a:lnTo>
                  <a:lnTo>
                    <a:pt x="2138" y="2990"/>
                  </a:lnTo>
                  <a:lnTo>
                    <a:pt x="2136" y="2972"/>
                  </a:lnTo>
                  <a:lnTo>
                    <a:pt x="2136" y="2970"/>
                  </a:lnTo>
                  <a:lnTo>
                    <a:pt x="2134" y="2972"/>
                  </a:lnTo>
                  <a:lnTo>
                    <a:pt x="2132" y="2974"/>
                  </a:lnTo>
                  <a:lnTo>
                    <a:pt x="2130" y="2974"/>
                  </a:lnTo>
                  <a:lnTo>
                    <a:pt x="2128" y="2972"/>
                  </a:lnTo>
                  <a:lnTo>
                    <a:pt x="2126" y="2962"/>
                  </a:lnTo>
                  <a:lnTo>
                    <a:pt x="2120" y="2934"/>
                  </a:lnTo>
                  <a:lnTo>
                    <a:pt x="2120" y="2920"/>
                  </a:lnTo>
                  <a:lnTo>
                    <a:pt x="2118" y="2910"/>
                  </a:lnTo>
                  <a:lnTo>
                    <a:pt x="2108" y="2896"/>
                  </a:lnTo>
                  <a:lnTo>
                    <a:pt x="2104" y="2890"/>
                  </a:lnTo>
                  <a:lnTo>
                    <a:pt x="2102" y="2886"/>
                  </a:lnTo>
                  <a:lnTo>
                    <a:pt x="2102" y="2878"/>
                  </a:lnTo>
                  <a:lnTo>
                    <a:pt x="2104" y="2870"/>
                  </a:lnTo>
                  <a:lnTo>
                    <a:pt x="2104" y="2860"/>
                  </a:lnTo>
                  <a:lnTo>
                    <a:pt x="2104" y="2854"/>
                  </a:lnTo>
                  <a:lnTo>
                    <a:pt x="2108" y="2854"/>
                  </a:lnTo>
                  <a:lnTo>
                    <a:pt x="2114" y="2852"/>
                  </a:lnTo>
                  <a:lnTo>
                    <a:pt x="2120" y="2848"/>
                  </a:lnTo>
                  <a:lnTo>
                    <a:pt x="2126" y="2842"/>
                  </a:lnTo>
                  <a:lnTo>
                    <a:pt x="2136" y="2832"/>
                  </a:lnTo>
                  <a:lnTo>
                    <a:pt x="2144" y="2822"/>
                  </a:lnTo>
                  <a:lnTo>
                    <a:pt x="2150" y="2816"/>
                  </a:lnTo>
                  <a:lnTo>
                    <a:pt x="2160" y="2812"/>
                  </a:lnTo>
                  <a:lnTo>
                    <a:pt x="2166" y="2808"/>
                  </a:lnTo>
                  <a:lnTo>
                    <a:pt x="2170" y="2804"/>
                  </a:lnTo>
                  <a:lnTo>
                    <a:pt x="2178" y="2794"/>
                  </a:lnTo>
                  <a:lnTo>
                    <a:pt x="2186" y="2780"/>
                  </a:lnTo>
                  <a:lnTo>
                    <a:pt x="2196" y="2764"/>
                  </a:lnTo>
                  <a:lnTo>
                    <a:pt x="2206" y="2750"/>
                  </a:lnTo>
                  <a:lnTo>
                    <a:pt x="2216" y="2740"/>
                  </a:lnTo>
                  <a:lnTo>
                    <a:pt x="2226" y="2734"/>
                  </a:lnTo>
                  <a:lnTo>
                    <a:pt x="2236" y="2728"/>
                  </a:lnTo>
                  <a:lnTo>
                    <a:pt x="2246" y="2724"/>
                  </a:lnTo>
                  <a:lnTo>
                    <a:pt x="2266" y="2718"/>
                  </a:lnTo>
                  <a:lnTo>
                    <a:pt x="2276" y="2714"/>
                  </a:lnTo>
                  <a:lnTo>
                    <a:pt x="2284" y="2708"/>
                  </a:lnTo>
                  <a:lnTo>
                    <a:pt x="2294" y="2700"/>
                  </a:lnTo>
                  <a:lnTo>
                    <a:pt x="2302" y="2690"/>
                  </a:lnTo>
                  <a:lnTo>
                    <a:pt x="2320" y="2666"/>
                  </a:lnTo>
                  <a:lnTo>
                    <a:pt x="2336" y="2636"/>
                  </a:lnTo>
                  <a:lnTo>
                    <a:pt x="2344" y="2622"/>
                  </a:lnTo>
                  <a:lnTo>
                    <a:pt x="2344" y="2620"/>
                  </a:lnTo>
                  <a:lnTo>
                    <a:pt x="2344" y="2616"/>
                  </a:lnTo>
                  <a:lnTo>
                    <a:pt x="2348" y="2606"/>
                  </a:lnTo>
                  <a:lnTo>
                    <a:pt x="2350" y="2598"/>
                  </a:lnTo>
                  <a:lnTo>
                    <a:pt x="2352" y="2594"/>
                  </a:lnTo>
                  <a:lnTo>
                    <a:pt x="2350" y="2590"/>
                  </a:lnTo>
                  <a:lnTo>
                    <a:pt x="2348" y="2586"/>
                  </a:lnTo>
                  <a:lnTo>
                    <a:pt x="2344" y="2582"/>
                  </a:lnTo>
                  <a:lnTo>
                    <a:pt x="2340" y="2576"/>
                  </a:lnTo>
                  <a:lnTo>
                    <a:pt x="2338" y="2566"/>
                  </a:lnTo>
                  <a:lnTo>
                    <a:pt x="2338" y="2552"/>
                  </a:lnTo>
                  <a:lnTo>
                    <a:pt x="2338" y="2500"/>
                  </a:lnTo>
                  <a:lnTo>
                    <a:pt x="2338" y="2478"/>
                  </a:lnTo>
                  <a:lnTo>
                    <a:pt x="2334" y="2454"/>
                  </a:lnTo>
                  <a:lnTo>
                    <a:pt x="2334" y="2440"/>
                  </a:lnTo>
                  <a:lnTo>
                    <a:pt x="2334" y="2432"/>
                  </a:lnTo>
                  <a:lnTo>
                    <a:pt x="2338" y="2426"/>
                  </a:lnTo>
                  <a:lnTo>
                    <a:pt x="2342" y="2424"/>
                  </a:lnTo>
                  <a:lnTo>
                    <a:pt x="2344" y="2420"/>
                  </a:lnTo>
                  <a:lnTo>
                    <a:pt x="2344" y="2414"/>
                  </a:lnTo>
                  <a:lnTo>
                    <a:pt x="2340" y="2406"/>
                  </a:lnTo>
                  <a:lnTo>
                    <a:pt x="2334" y="2394"/>
                  </a:lnTo>
                  <a:lnTo>
                    <a:pt x="2324" y="2384"/>
                  </a:lnTo>
                  <a:lnTo>
                    <a:pt x="2318" y="2380"/>
                  </a:lnTo>
                  <a:lnTo>
                    <a:pt x="2312" y="2376"/>
                  </a:lnTo>
                  <a:lnTo>
                    <a:pt x="2308" y="2368"/>
                  </a:lnTo>
                  <a:lnTo>
                    <a:pt x="2304" y="2358"/>
                  </a:lnTo>
                  <a:lnTo>
                    <a:pt x="2302" y="2348"/>
                  </a:lnTo>
                  <a:lnTo>
                    <a:pt x="2300" y="2334"/>
                  </a:lnTo>
                  <a:lnTo>
                    <a:pt x="2292" y="2310"/>
                  </a:lnTo>
                  <a:lnTo>
                    <a:pt x="2288" y="2298"/>
                  </a:lnTo>
                  <a:lnTo>
                    <a:pt x="2288" y="2290"/>
                  </a:lnTo>
                  <a:lnTo>
                    <a:pt x="2288" y="2286"/>
                  </a:lnTo>
                  <a:lnTo>
                    <a:pt x="2290" y="2280"/>
                  </a:lnTo>
                  <a:lnTo>
                    <a:pt x="2292" y="2278"/>
                  </a:lnTo>
                  <a:lnTo>
                    <a:pt x="2294" y="2274"/>
                  </a:lnTo>
                  <a:lnTo>
                    <a:pt x="2294" y="2268"/>
                  </a:lnTo>
                  <a:lnTo>
                    <a:pt x="2292" y="2258"/>
                  </a:lnTo>
                  <a:lnTo>
                    <a:pt x="2288" y="2248"/>
                  </a:lnTo>
                  <a:lnTo>
                    <a:pt x="2288" y="2240"/>
                  </a:lnTo>
                  <a:lnTo>
                    <a:pt x="2290" y="2236"/>
                  </a:lnTo>
                  <a:lnTo>
                    <a:pt x="2292" y="2232"/>
                  </a:lnTo>
                  <a:lnTo>
                    <a:pt x="2294" y="2230"/>
                  </a:lnTo>
                  <a:lnTo>
                    <a:pt x="2296" y="2228"/>
                  </a:lnTo>
                  <a:lnTo>
                    <a:pt x="2296" y="2226"/>
                  </a:lnTo>
                  <a:lnTo>
                    <a:pt x="2294" y="2220"/>
                  </a:lnTo>
                  <a:lnTo>
                    <a:pt x="2282" y="2206"/>
                  </a:lnTo>
                  <a:lnTo>
                    <a:pt x="2272" y="2192"/>
                  </a:lnTo>
                  <a:lnTo>
                    <a:pt x="2268" y="2184"/>
                  </a:lnTo>
                  <a:lnTo>
                    <a:pt x="2266" y="2174"/>
                  </a:lnTo>
                  <a:lnTo>
                    <a:pt x="2268" y="2164"/>
                  </a:lnTo>
                  <a:lnTo>
                    <a:pt x="2272" y="2150"/>
                  </a:lnTo>
                  <a:lnTo>
                    <a:pt x="2276" y="2138"/>
                  </a:lnTo>
                  <a:lnTo>
                    <a:pt x="2278" y="2130"/>
                  </a:lnTo>
                  <a:lnTo>
                    <a:pt x="2282" y="2122"/>
                  </a:lnTo>
                  <a:lnTo>
                    <a:pt x="2288" y="2108"/>
                  </a:lnTo>
                  <a:lnTo>
                    <a:pt x="2304" y="2084"/>
                  </a:lnTo>
                  <a:lnTo>
                    <a:pt x="2308" y="2074"/>
                  </a:lnTo>
                  <a:lnTo>
                    <a:pt x="2310" y="2058"/>
                  </a:lnTo>
                  <a:lnTo>
                    <a:pt x="2312" y="2052"/>
                  </a:lnTo>
                  <a:lnTo>
                    <a:pt x="2314" y="2048"/>
                  </a:lnTo>
                  <a:lnTo>
                    <a:pt x="2320" y="2046"/>
                  </a:lnTo>
                  <a:lnTo>
                    <a:pt x="2322" y="2044"/>
                  </a:lnTo>
                  <a:lnTo>
                    <a:pt x="2324" y="2042"/>
                  </a:lnTo>
                  <a:lnTo>
                    <a:pt x="2324" y="2036"/>
                  </a:lnTo>
                  <a:lnTo>
                    <a:pt x="2322" y="2026"/>
                  </a:lnTo>
                  <a:lnTo>
                    <a:pt x="2324" y="2016"/>
                  </a:lnTo>
                  <a:lnTo>
                    <a:pt x="2326" y="2008"/>
                  </a:lnTo>
                  <a:lnTo>
                    <a:pt x="2332" y="2004"/>
                  </a:lnTo>
                  <a:lnTo>
                    <a:pt x="2338" y="2002"/>
                  </a:lnTo>
                  <a:lnTo>
                    <a:pt x="2350" y="1998"/>
                  </a:lnTo>
                  <a:lnTo>
                    <a:pt x="2354" y="1994"/>
                  </a:lnTo>
                  <a:lnTo>
                    <a:pt x="2354" y="1988"/>
                  </a:lnTo>
                  <a:lnTo>
                    <a:pt x="2352" y="1980"/>
                  </a:lnTo>
                  <a:lnTo>
                    <a:pt x="2356" y="1980"/>
                  </a:lnTo>
                  <a:lnTo>
                    <a:pt x="2360" y="1980"/>
                  </a:lnTo>
                  <a:lnTo>
                    <a:pt x="2366" y="1978"/>
                  </a:lnTo>
                  <a:lnTo>
                    <a:pt x="2372" y="1972"/>
                  </a:lnTo>
                  <a:lnTo>
                    <a:pt x="2380" y="1962"/>
                  </a:lnTo>
                  <a:lnTo>
                    <a:pt x="2388" y="1950"/>
                  </a:lnTo>
                  <a:lnTo>
                    <a:pt x="2390" y="1944"/>
                  </a:lnTo>
                  <a:lnTo>
                    <a:pt x="2394" y="1932"/>
                  </a:lnTo>
                  <a:lnTo>
                    <a:pt x="2396" y="1926"/>
                  </a:lnTo>
                  <a:lnTo>
                    <a:pt x="2400" y="1918"/>
                  </a:lnTo>
                  <a:lnTo>
                    <a:pt x="2408" y="1908"/>
                  </a:lnTo>
                  <a:lnTo>
                    <a:pt x="2422" y="1892"/>
                  </a:lnTo>
                  <a:lnTo>
                    <a:pt x="2450" y="1860"/>
                  </a:lnTo>
                  <a:lnTo>
                    <a:pt x="2470" y="1836"/>
                  </a:lnTo>
                  <a:lnTo>
                    <a:pt x="2494" y="1812"/>
                  </a:lnTo>
                  <a:lnTo>
                    <a:pt x="2532" y="1780"/>
                  </a:lnTo>
                  <a:lnTo>
                    <a:pt x="2556" y="1760"/>
                  </a:lnTo>
                  <a:lnTo>
                    <a:pt x="2580" y="1736"/>
                  </a:lnTo>
                  <a:lnTo>
                    <a:pt x="2604" y="1710"/>
                  </a:lnTo>
                  <a:lnTo>
                    <a:pt x="2626" y="1680"/>
                  </a:lnTo>
                  <a:lnTo>
                    <a:pt x="2646" y="1646"/>
                  </a:lnTo>
                  <a:lnTo>
                    <a:pt x="2666" y="1610"/>
                  </a:lnTo>
                  <a:lnTo>
                    <a:pt x="2686" y="1570"/>
                  </a:lnTo>
                  <a:lnTo>
                    <a:pt x="2702" y="1526"/>
                  </a:lnTo>
                  <a:lnTo>
                    <a:pt x="2712" y="1502"/>
                  </a:lnTo>
                  <a:lnTo>
                    <a:pt x="2722" y="1482"/>
                  </a:lnTo>
                  <a:lnTo>
                    <a:pt x="2738" y="1452"/>
                  </a:lnTo>
                  <a:lnTo>
                    <a:pt x="2750" y="1426"/>
                  </a:lnTo>
                  <a:lnTo>
                    <a:pt x="2752" y="1416"/>
                  </a:lnTo>
                  <a:lnTo>
                    <a:pt x="2754" y="1404"/>
                  </a:lnTo>
                  <a:lnTo>
                    <a:pt x="2758" y="1388"/>
                  </a:lnTo>
                  <a:lnTo>
                    <a:pt x="2762" y="1378"/>
                  </a:lnTo>
                  <a:lnTo>
                    <a:pt x="2768" y="1376"/>
                  </a:lnTo>
                  <a:lnTo>
                    <a:pt x="2772" y="1376"/>
                  </a:lnTo>
                  <a:lnTo>
                    <a:pt x="2776" y="1376"/>
                  </a:lnTo>
                  <a:lnTo>
                    <a:pt x="2770" y="136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3" name="Freeform 6155">
              <a:extLst>
                <a:ext uri="{FF2B5EF4-FFF2-40B4-BE49-F238E27FC236}">
                  <a16:creationId xmlns:a16="http://schemas.microsoft.com/office/drawing/2014/main" id="{5DCC3A9C-16F0-469E-851D-49E3E81D1EEE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040675" y="2527450"/>
              <a:ext cx="1264689" cy="1655655"/>
            </a:xfrm>
            <a:custGeom>
              <a:avLst/>
              <a:gdLst>
                <a:gd name="T0" fmla="*/ 794599 w 2834"/>
                <a:gd name="T1" fmla="*/ 115556 h 4108"/>
                <a:gd name="T2" fmla="*/ 750173 w 2834"/>
                <a:gd name="T3" fmla="*/ 64762 h 4108"/>
                <a:gd name="T4" fmla="*/ 742557 w 2834"/>
                <a:gd name="T5" fmla="*/ 528256 h 4108"/>
                <a:gd name="T6" fmla="*/ 842833 w 2834"/>
                <a:gd name="T7" fmla="*/ 165080 h 4108"/>
                <a:gd name="T8" fmla="*/ 708285 w 2834"/>
                <a:gd name="T9" fmla="*/ 563811 h 4108"/>
                <a:gd name="T10" fmla="*/ 635933 w 2834"/>
                <a:gd name="T11" fmla="*/ 595557 h 4108"/>
                <a:gd name="T12" fmla="*/ 684167 w 2834"/>
                <a:gd name="T13" fmla="*/ 565081 h 4108"/>
                <a:gd name="T14" fmla="*/ 836487 w 2834"/>
                <a:gd name="T15" fmla="*/ 25397 h 4108"/>
                <a:gd name="T16" fmla="*/ 91392 w 2834"/>
                <a:gd name="T17" fmla="*/ 1043813 h 4108"/>
                <a:gd name="T18" fmla="*/ 44426 w 2834"/>
                <a:gd name="T19" fmla="*/ 1184766 h 4108"/>
                <a:gd name="T20" fmla="*/ 107893 w 2834"/>
                <a:gd name="T21" fmla="*/ 1048892 h 4108"/>
                <a:gd name="T22" fmla="*/ 119317 w 2834"/>
                <a:gd name="T23" fmla="*/ 1116194 h 4108"/>
                <a:gd name="T24" fmla="*/ 171359 w 2834"/>
                <a:gd name="T25" fmla="*/ 1036194 h 4108"/>
                <a:gd name="T26" fmla="*/ 129471 w 2834"/>
                <a:gd name="T27" fmla="*/ 1116194 h 4108"/>
                <a:gd name="T28" fmla="*/ 148511 w 2834"/>
                <a:gd name="T29" fmla="*/ 1240639 h 4108"/>
                <a:gd name="T30" fmla="*/ 200554 w 2834"/>
                <a:gd name="T31" fmla="*/ 1323179 h 4108"/>
                <a:gd name="T32" fmla="*/ 397299 w 2834"/>
                <a:gd name="T33" fmla="*/ 877463 h 4108"/>
                <a:gd name="T34" fmla="*/ 224671 w 2834"/>
                <a:gd name="T35" fmla="*/ 943495 h 4108"/>
                <a:gd name="T36" fmla="*/ 331294 w 2834"/>
                <a:gd name="T37" fmla="*/ 721272 h 4108"/>
                <a:gd name="T38" fmla="*/ 114239 w 2834"/>
                <a:gd name="T39" fmla="*/ 665399 h 4108"/>
                <a:gd name="T40" fmla="*/ 151050 w 2834"/>
                <a:gd name="T41" fmla="*/ 1219051 h 4108"/>
                <a:gd name="T42" fmla="*/ 576275 w 2834"/>
                <a:gd name="T43" fmla="*/ 1158099 h 4108"/>
                <a:gd name="T44" fmla="*/ 580083 w 2834"/>
                <a:gd name="T45" fmla="*/ 1159369 h 4108"/>
                <a:gd name="T46" fmla="*/ 694322 w 2834"/>
                <a:gd name="T47" fmla="*/ 1079368 h 4108"/>
                <a:gd name="T48" fmla="*/ 401107 w 2834"/>
                <a:gd name="T49" fmla="*/ 961273 h 4108"/>
                <a:gd name="T50" fmla="*/ 840295 w 2834"/>
                <a:gd name="T51" fmla="*/ 1010797 h 4108"/>
                <a:gd name="T52" fmla="*/ 605469 w 2834"/>
                <a:gd name="T53" fmla="*/ 1771434 h 4108"/>
                <a:gd name="T54" fmla="*/ 799676 w 2834"/>
                <a:gd name="T55" fmla="*/ 1789212 h 4108"/>
                <a:gd name="T56" fmla="*/ 858065 w 2834"/>
                <a:gd name="T57" fmla="*/ 1842545 h 4108"/>
                <a:gd name="T58" fmla="*/ 1586659 w 2834"/>
                <a:gd name="T59" fmla="*/ 2201912 h 4108"/>
                <a:gd name="T60" fmla="*/ 1488921 w 2834"/>
                <a:gd name="T61" fmla="*/ 2069848 h 4108"/>
                <a:gd name="T62" fmla="*/ 1391183 w 2834"/>
                <a:gd name="T63" fmla="*/ 620954 h 4108"/>
                <a:gd name="T64" fmla="*/ 1212208 w 2834"/>
                <a:gd name="T65" fmla="*/ 568891 h 4108"/>
                <a:gd name="T66" fmla="*/ 974843 w 2834"/>
                <a:gd name="T67" fmla="*/ 468573 h 4108"/>
                <a:gd name="T68" fmla="*/ 856796 w 2834"/>
                <a:gd name="T69" fmla="*/ 514287 h 4108"/>
                <a:gd name="T70" fmla="*/ 732402 w 2834"/>
                <a:gd name="T71" fmla="*/ 544764 h 4108"/>
                <a:gd name="T72" fmla="*/ 657512 w 2834"/>
                <a:gd name="T73" fmla="*/ 642542 h 4108"/>
                <a:gd name="T74" fmla="*/ 562312 w 2834"/>
                <a:gd name="T75" fmla="*/ 758098 h 4108"/>
                <a:gd name="T76" fmla="*/ 446803 w 2834"/>
                <a:gd name="T77" fmla="*/ 830479 h 4108"/>
                <a:gd name="T78" fmla="*/ 396030 w 2834"/>
                <a:gd name="T79" fmla="*/ 911749 h 4108"/>
                <a:gd name="T80" fmla="*/ 482344 w 2834"/>
                <a:gd name="T81" fmla="*/ 1027305 h 4108"/>
                <a:gd name="T82" fmla="*/ 679090 w 2834"/>
                <a:gd name="T83" fmla="*/ 1102226 h 4108"/>
                <a:gd name="T84" fmla="*/ 728594 w 2834"/>
                <a:gd name="T85" fmla="*/ 845717 h 4108"/>
                <a:gd name="T86" fmla="*/ 818716 w 2834"/>
                <a:gd name="T87" fmla="*/ 825399 h 4108"/>
                <a:gd name="T88" fmla="*/ 984998 w 2834"/>
                <a:gd name="T89" fmla="*/ 975241 h 4108"/>
                <a:gd name="T90" fmla="*/ 748903 w 2834"/>
                <a:gd name="T91" fmla="*/ 1168258 h 4108"/>
                <a:gd name="T92" fmla="*/ 514078 w 2834"/>
                <a:gd name="T93" fmla="*/ 1158099 h 4108"/>
                <a:gd name="T94" fmla="*/ 486152 w 2834"/>
                <a:gd name="T95" fmla="*/ 1146670 h 4108"/>
                <a:gd name="T96" fmla="*/ 392222 w 2834"/>
                <a:gd name="T97" fmla="*/ 1235559 h 4108"/>
                <a:gd name="T98" fmla="*/ 185322 w 2834"/>
                <a:gd name="T99" fmla="*/ 1389211 h 4108"/>
                <a:gd name="T100" fmla="*/ 171359 w 2834"/>
                <a:gd name="T101" fmla="*/ 1584767 h 4108"/>
                <a:gd name="T102" fmla="*/ 180244 w 2834"/>
                <a:gd name="T103" fmla="*/ 1823498 h 4108"/>
                <a:gd name="T104" fmla="*/ 542003 w 2834"/>
                <a:gd name="T105" fmla="*/ 1610164 h 4108"/>
                <a:gd name="T106" fmla="*/ 628317 w 2834"/>
                <a:gd name="T107" fmla="*/ 1615243 h 4108"/>
                <a:gd name="T108" fmla="*/ 786983 w 2834"/>
                <a:gd name="T109" fmla="*/ 1730799 h 4108"/>
                <a:gd name="T110" fmla="*/ 884721 w 2834"/>
                <a:gd name="T111" fmla="*/ 1789212 h 4108"/>
                <a:gd name="T112" fmla="*/ 972305 w 2834"/>
                <a:gd name="T113" fmla="*/ 1674926 h 4108"/>
                <a:gd name="T114" fmla="*/ 1124624 w 2834"/>
                <a:gd name="T115" fmla="*/ 1530163 h 4108"/>
                <a:gd name="T116" fmla="*/ 1213477 w 2834"/>
                <a:gd name="T117" fmla="*/ 1530163 h 4108"/>
                <a:gd name="T118" fmla="*/ 976113 w 2834"/>
                <a:gd name="T119" fmla="*/ 1692704 h 4108"/>
                <a:gd name="T120" fmla="*/ 1042118 w 2834"/>
                <a:gd name="T121" fmla="*/ 1838736 h 4108"/>
                <a:gd name="T122" fmla="*/ 1153819 w 2834"/>
                <a:gd name="T123" fmla="*/ 2114292 h 4108"/>
                <a:gd name="T124" fmla="*/ 1426724 w 2834"/>
                <a:gd name="T125" fmla="*/ 2595564 h 4108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2834"/>
                <a:gd name="T190" fmla="*/ 0 h 4108"/>
                <a:gd name="T191" fmla="*/ 2834 w 2834"/>
                <a:gd name="T192" fmla="*/ 4108 h 4108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2834" h="4108">
                  <a:moveTo>
                    <a:pt x="1216" y="808"/>
                  </a:moveTo>
                  <a:lnTo>
                    <a:pt x="1216" y="808"/>
                  </a:lnTo>
                  <a:lnTo>
                    <a:pt x="1216" y="806"/>
                  </a:lnTo>
                  <a:lnTo>
                    <a:pt x="1212" y="804"/>
                  </a:lnTo>
                  <a:lnTo>
                    <a:pt x="1208" y="804"/>
                  </a:lnTo>
                  <a:lnTo>
                    <a:pt x="1206" y="804"/>
                  </a:lnTo>
                  <a:lnTo>
                    <a:pt x="1206" y="806"/>
                  </a:lnTo>
                  <a:lnTo>
                    <a:pt x="1210" y="808"/>
                  </a:lnTo>
                  <a:lnTo>
                    <a:pt x="1214" y="808"/>
                  </a:lnTo>
                  <a:lnTo>
                    <a:pt x="1216" y="808"/>
                  </a:lnTo>
                  <a:close/>
                  <a:moveTo>
                    <a:pt x="1202" y="798"/>
                  </a:moveTo>
                  <a:lnTo>
                    <a:pt x="1202" y="798"/>
                  </a:lnTo>
                  <a:lnTo>
                    <a:pt x="1198" y="798"/>
                  </a:lnTo>
                  <a:lnTo>
                    <a:pt x="1194" y="802"/>
                  </a:lnTo>
                  <a:lnTo>
                    <a:pt x="1194" y="806"/>
                  </a:lnTo>
                  <a:lnTo>
                    <a:pt x="1196" y="806"/>
                  </a:lnTo>
                  <a:lnTo>
                    <a:pt x="1200" y="806"/>
                  </a:lnTo>
                  <a:lnTo>
                    <a:pt x="1202" y="802"/>
                  </a:lnTo>
                  <a:lnTo>
                    <a:pt x="1202" y="800"/>
                  </a:lnTo>
                  <a:lnTo>
                    <a:pt x="1202" y="798"/>
                  </a:lnTo>
                  <a:close/>
                  <a:moveTo>
                    <a:pt x="1082" y="898"/>
                  </a:moveTo>
                  <a:lnTo>
                    <a:pt x="1082" y="898"/>
                  </a:lnTo>
                  <a:lnTo>
                    <a:pt x="1078" y="896"/>
                  </a:lnTo>
                  <a:lnTo>
                    <a:pt x="1074" y="900"/>
                  </a:lnTo>
                  <a:lnTo>
                    <a:pt x="1072" y="902"/>
                  </a:lnTo>
                  <a:lnTo>
                    <a:pt x="1072" y="906"/>
                  </a:lnTo>
                  <a:lnTo>
                    <a:pt x="1072" y="910"/>
                  </a:lnTo>
                  <a:lnTo>
                    <a:pt x="1066" y="914"/>
                  </a:lnTo>
                  <a:lnTo>
                    <a:pt x="1062" y="916"/>
                  </a:lnTo>
                  <a:lnTo>
                    <a:pt x="1064" y="914"/>
                  </a:lnTo>
                  <a:lnTo>
                    <a:pt x="1066" y="910"/>
                  </a:lnTo>
                  <a:lnTo>
                    <a:pt x="1064" y="908"/>
                  </a:lnTo>
                  <a:lnTo>
                    <a:pt x="1062" y="908"/>
                  </a:lnTo>
                  <a:lnTo>
                    <a:pt x="1060" y="908"/>
                  </a:lnTo>
                  <a:lnTo>
                    <a:pt x="1060" y="906"/>
                  </a:lnTo>
                  <a:lnTo>
                    <a:pt x="1062" y="902"/>
                  </a:lnTo>
                  <a:lnTo>
                    <a:pt x="1066" y="896"/>
                  </a:lnTo>
                  <a:lnTo>
                    <a:pt x="1066" y="894"/>
                  </a:lnTo>
                  <a:lnTo>
                    <a:pt x="1064" y="892"/>
                  </a:lnTo>
                  <a:lnTo>
                    <a:pt x="1058" y="892"/>
                  </a:lnTo>
                  <a:lnTo>
                    <a:pt x="1054" y="896"/>
                  </a:lnTo>
                  <a:lnTo>
                    <a:pt x="1048" y="900"/>
                  </a:lnTo>
                  <a:lnTo>
                    <a:pt x="1046" y="906"/>
                  </a:lnTo>
                  <a:lnTo>
                    <a:pt x="1046" y="912"/>
                  </a:lnTo>
                  <a:lnTo>
                    <a:pt x="1046" y="916"/>
                  </a:lnTo>
                  <a:lnTo>
                    <a:pt x="1046" y="918"/>
                  </a:lnTo>
                  <a:lnTo>
                    <a:pt x="1042" y="920"/>
                  </a:lnTo>
                  <a:lnTo>
                    <a:pt x="1036" y="922"/>
                  </a:lnTo>
                  <a:lnTo>
                    <a:pt x="1036" y="924"/>
                  </a:lnTo>
                  <a:lnTo>
                    <a:pt x="1036" y="928"/>
                  </a:lnTo>
                  <a:lnTo>
                    <a:pt x="1032" y="938"/>
                  </a:lnTo>
                  <a:lnTo>
                    <a:pt x="1030" y="942"/>
                  </a:lnTo>
                  <a:lnTo>
                    <a:pt x="1034" y="940"/>
                  </a:lnTo>
                  <a:lnTo>
                    <a:pt x="1040" y="938"/>
                  </a:lnTo>
                  <a:lnTo>
                    <a:pt x="1044" y="938"/>
                  </a:lnTo>
                  <a:lnTo>
                    <a:pt x="1048" y="940"/>
                  </a:lnTo>
                  <a:lnTo>
                    <a:pt x="1050" y="940"/>
                  </a:lnTo>
                  <a:lnTo>
                    <a:pt x="1052" y="940"/>
                  </a:lnTo>
                  <a:lnTo>
                    <a:pt x="1054" y="936"/>
                  </a:lnTo>
                  <a:lnTo>
                    <a:pt x="1056" y="934"/>
                  </a:lnTo>
                  <a:lnTo>
                    <a:pt x="1058" y="932"/>
                  </a:lnTo>
                  <a:lnTo>
                    <a:pt x="1060" y="934"/>
                  </a:lnTo>
                  <a:lnTo>
                    <a:pt x="1062" y="936"/>
                  </a:lnTo>
                  <a:lnTo>
                    <a:pt x="1064" y="936"/>
                  </a:lnTo>
                  <a:lnTo>
                    <a:pt x="1068" y="930"/>
                  </a:lnTo>
                  <a:lnTo>
                    <a:pt x="1070" y="926"/>
                  </a:lnTo>
                  <a:lnTo>
                    <a:pt x="1072" y="924"/>
                  </a:lnTo>
                  <a:lnTo>
                    <a:pt x="1076" y="920"/>
                  </a:lnTo>
                  <a:lnTo>
                    <a:pt x="1084" y="920"/>
                  </a:lnTo>
                  <a:lnTo>
                    <a:pt x="1088" y="918"/>
                  </a:lnTo>
                  <a:lnTo>
                    <a:pt x="1090" y="916"/>
                  </a:lnTo>
                  <a:lnTo>
                    <a:pt x="1090" y="914"/>
                  </a:lnTo>
                  <a:lnTo>
                    <a:pt x="1090" y="910"/>
                  </a:lnTo>
                  <a:lnTo>
                    <a:pt x="1086" y="904"/>
                  </a:lnTo>
                  <a:lnTo>
                    <a:pt x="1082" y="898"/>
                  </a:lnTo>
                  <a:close/>
                  <a:moveTo>
                    <a:pt x="1190" y="808"/>
                  </a:moveTo>
                  <a:lnTo>
                    <a:pt x="1190" y="808"/>
                  </a:lnTo>
                  <a:lnTo>
                    <a:pt x="1188" y="808"/>
                  </a:lnTo>
                  <a:lnTo>
                    <a:pt x="1186" y="808"/>
                  </a:lnTo>
                  <a:lnTo>
                    <a:pt x="1184" y="808"/>
                  </a:lnTo>
                  <a:lnTo>
                    <a:pt x="1182" y="808"/>
                  </a:lnTo>
                  <a:lnTo>
                    <a:pt x="1180" y="808"/>
                  </a:lnTo>
                  <a:lnTo>
                    <a:pt x="1178" y="810"/>
                  </a:lnTo>
                  <a:lnTo>
                    <a:pt x="1176" y="814"/>
                  </a:lnTo>
                  <a:lnTo>
                    <a:pt x="1178" y="814"/>
                  </a:lnTo>
                  <a:lnTo>
                    <a:pt x="1178" y="816"/>
                  </a:lnTo>
                  <a:lnTo>
                    <a:pt x="1184" y="814"/>
                  </a:lnTo>
                  <a:lnTo>
                    <a:pt x="1188" y="810"/>
                  </a:lnTo>
                  <a:lnTo>
                    <a:pt x="1190" y="808"/>
                  </a:lnTo>
                  <a:close/>
                  <a:moveTo>
                    <a:pt x="1400" y="746"/>
                  </a:moveTo>
                  <a:lnTo>
                    <a:pt x="1400" y="746"/>
                  </a:lnTo>
                  <a:lnTo>
                    <a:pt x="1394" y="744"/>
                  </a:lnTo>
                  <a:lnTo>
                    <a:pt x="1390" y="744"/>
                  </a:lnTo>
                  <a:lnTo>
                    <a:pt x="1388" y="744"/>
                  </a:lnTo>
                  <a:lnTo>
                    <a:pt x="1390" y="748"/>
                  </a:lnTo>
                  <a:lnTo>
                    <a:pt x="1394" y="750"/>
                  </a:lnTo>
                  <a:lnTo>
                    <a:pt x="1398" y="750"/>
                  </a:lnTo>
                  <a:lnTo>
                    <a:pt x="1400" y="748"/>
                  </a:lnTo>
                  <a:lnTo>
                    <a:pt x="1400" y="746"/>
                  </a:lnTo>
                  <a:close/>
                  <a:moveTo>
                    <a:pt x="1252" y="182"/>
                  </a:moveTo>
                  <a:lnTo>
                    <a:pt x="1252" y="182"/>
                  </a:lnTo>
                  <a:lnTo>
                    <a:pt x="1256" y="186"/>
                  </a:lnTo>
                  <a:lnTo>
                    <a:pt x="1256" y="188"/>
                  </a:lnTo>
                  <a:lnTo>
                    <a:pt x="1258" y="190"/>
                  </a:lnTo>
                  <a:lnTo>
                    <a:pt x="1258" y="192"/>
                  </a:lnTo>
                  <a:lnTo>
                    <a:pt x="1262" y="192"/>
                  </a:lnTo>
                  <a:lnTo>
                    <a:pt x="1272" y="190"/>
                  </a:lnTo>
                  <a:lnTo>
                    <a:pt x="1290" y="186"/>
                  </a:lnTo>
                  <a:lnTo>
                    <a:pt x="1306" y="186"/>
                  </a:lnTo>
                  <a:lnTo>
                    <a:pt x="1312" y="184"/>
                  </a:lnTo>
                  <a:lnTo>
                    <a:pt x="1316" y="182"/>
                  </a:lnTo>
                  <a:lnTo>
                    <a:pt x="1318" y="178"/>
                  </a:lnTo>
                  <a:lnTo>
                    <a:pt x="1318" y="172"/>
                  </a:lnTo>
                  <a:lnTo>
                    <a:pt x="1316" y="166"/>
                  </a:lnTo>
                  <a:lnTo>
                    <a:pt x="1312" y="162"/>
                  </a:lnTo>
                  <a:lnTo>
                    <a:pt x="1306" y="160"/>
                  </a:lnTo>
                  <a:lnTo>
                    <a:pt x="1300" y="158"/>
                  </a:lnTo>
                  <a:lnTo>
                    <a:pt x="1284" y="158"/>
                  </a:lnTo>
                  <a:lnTo>
                    <a:pt x="1266" y="162"/>
                  </a:lnTo>
                  <a:lnTo>
                    <a:pt x="1250" y="166"/>
                  </a:lnTo>
                  <a:lnTo>
                    <a:pt x="1238" y="168"/>
                  </a:lnTo>
                  <a:lnTo>
                    <a:pt x="1238" y="170"/>
                  </a:lnTo>
                  <a:lnTo>
                    <a:pt x="1238" y="174"/>
                  </a:lnTo>
                  <a:lnTo>
                    <a:pt x="1252" y="182"/>
                  </a:lnTo>
                  <a:close/>
                  <a:moveTo>
                    <a:pt x="1236" y="808"/>
                  </a:moveTo>
                  <a:lnTo>
                    <a:pt x="1236" y="808"/>
                  </a:lnTo>
                  <a:lnTo>
                    <a:pt x="1238" y="806"/>
                  </a:lnTo>
                  <a:lnTo>
                    <a:pt x="1236" y="804"/>
                  </a:lnTo>
                  <a:lnTo>
                    <a:pt x="1228" y="802"/>
                  </a:lnTo>
                  <a:lnTo>
                    <a:pt x="1224" y="798"/>
                  </a:lnTo>
                  <a:lnTo>
                    <a:pt x="1220" y="796"/>
                  </a:lnTo>
                  <a:lnTo>
                    <a:pt x="1216" y="794"/>
                  </a:lnTo>
                  <a:lnTo>
                    <a:pt x="1216" y="798"/>
                  </a:lnTo>
                  <a:lnTo>
                    <a:pt x="1216" y="802"/>
                  </a:lnTo>
                  <a:lnTo>
                    <a:pt x="1220" y="806"/>
                  </a:lnTo>
                  <a:lnTo>
                    <a:pt x="1228" y="810"/>
                  </a:lnTo>
                  <a:lnTo>
                    <a:pt x="1236" y="808"/>
                  </a:lnTo>
                  <a:close/>
                  <a:moveTo>
                    <a:pt x="902" y="108"/>
                  </a:moveTo>
                  <a:lnTo>
                    <a:pt x="902" y="108"/>
                  </a:lnTo>
                  <a:lnTo>
                    <a:pt x="902" y="114"/>
                  </a:lnTo>
                  <a:lnTo>
                    <a:pt x="904" y="120"/>
                  </a:lnTo>
                  <a:lnTo>
                    <a:pt x="906" y="124"/>
                  </a:lnTo>
                  <a:lnTo>
                    <a:pt x="910" y="126"/>
                  </a:lnTo>
                  <a:lnTo>
                    <a:pt x="912" y="128"/>
                  </a:lnTo>
                  <a:lnTo>
                    <a:pt x="910" y="128"/>
                  </a:lnTo>
                  <a:lnTo>
                    <a:pt x="900" y="130"/>
                  </a:lnTo>
                  <a:lnTo>
                    <a:pt x="886" y="130"/>
                  </a:lnTo>
                  <a:lnTo>
                    <a:pt x="884" y="132"/>
                  </a:lnTo>
                  <a:lnTo>
                    <a:pt x="886" y="136"/>
                  </a:lnTo>
                  <a:lnTo>
                    <a:pt x="898" y="148"/>
                  </a:lnTo>
                  <a:lnTo>
                    <a:pt x="922" y="172"/>
                  </a:lnTo>
                  <a:lnTo>
                    <a:pt x="936" y="184"/>
                  </a:lnTo>
                  <a:lnTo>
                    <a:pt x="948" y="192"/>
                  </a:lnTo>
                  <a:lnTo>
                    <a:pt x="960" y="194"/>
                  </a:lnTo>
                  <a:lnTo>
                    <a:pt x="970" y="192"/>
                  </a:lnTo>
                  <a:lnTo>
                    <a:pt x="980" y="188"/>
                  </a:lnTo>
                  <a:lnTo>
                    <a:pt x="990" y="182"/>
                  </a:lnTo>
                  <a:lnTo>
                    <a:pt x="1018" y="164"/>
                  </a:lnTo>
                  <a:lnTo>
                    <a:pt x="1038" y="152"/>
                  </a:lnTo>
                  <a:lnTo>
                    <a:pt x="1040" y="152"/>
                  </a:lnTo>
                  <a:lnTo>
                    <a:pt x="1042" y="154"/>
                  </a:lnTo>
                  <a:lnTo>
                    <a:pt x="1042" y="158"/>
                  </a:lnTo>
                  <a:lnTo>
                    <a:pt x="1048" y="160"/>
                  </a:lnTo>
                  <a:lnTo>
                    <a:pt x="1056" y="164"/>
                  </a:lnTo>
                  <a:lnTo>
                    <a:pt x="1072" y="166"/>
                  </a:lnTo>
                  <a:lnTo>
                    <a:pt x="1088" y="168"/>
                  </a:lnTo>
                  <a:lnTo>
                    <a:pt x="1096" y="170"/>
                  </a:lnTo>
                  <a:lnTo>
                    <a:pt x="1094" y="172"/>
                  </a:lnTo>
                  <a:lnTo>
                    <a:pt x="1088" y="176"/>
                  </a:lnTo>
                  <a:lnTo>
                    <a:pt x="1058" y="186"/>
                  </a:lnTo>
                  <a:lnTo>
                    <a:pt x="1014" y="198"/>
                  </a:lnTo>
                  <a:lnTo>
                    <a:pt x="994" y="206"/>
                  </a:lnTo>
                  <a:lnTo>
                    <a:pt x="980" y="210"/>
                  </a:lnTo>
                  <a:lnTo>
                    <a:pt x="972" y="216"/>
                  </a:lnTo>
                  <a:lnTo>
                    <a:pt x="970" y="218"/>
                  </a:lnTo>
                  <a:lnTo>
                    <a:pt x="970" y="220"/>
                  </a:lnTo>
                  <a:lnTo>
                    <a:pt x="976" y="222"/>
                  </a:lnTo>
                  <a:lnTo>
                    <a:pt x="988" y="224"/>
                  </a:lnTo>
                  <a:lnTo>
                    <a:pt x="1008" y="224"/>
                  </a:lnTo>
                  <a:lnTo>
                    <a:pt x="1034" y="222"/>
                  </a:lnTo>
                  <a:lnTo>
                    <a:pt x="1058" y="220"/>
                  </a:lnTo>
                  <a:lnTo>
                    <a:pt x="1072" y="220"/>
                  </a:lnTo>
                  <a:lnTo>
                    <a:pt x="1074" y="222"/>
                  </a:lnTo>
                  <a:lnTo>
                    <a:pt x="1076" y="222"/>
                  </a:lnTo>
                  <a:lnTo>
                    <a:pt x="1072" y="226"/>
                  </a:lnTo>
                  <a:lnTo>
                    <a:pt x="1064" y="232"/>
                  </a:lnTo>
                  <a:lnTo>
                    <a:pt x="1050" y="236"/>
                  </a:lnTo>
                  <a:lnTo>
                    <a:pt x="1036" y="242"/>
                  </a:lnTo>
                  <a:lnTo>
                    <a:pt x="1018" y="244"/>
                  </a:lnTo>
                  <a:lnTo>
                    <a:pt x="994" y="250"/>
                  </a:lnTo>
                  <a:lnTo>
                    <a:pt x="988" y="252"/>
                  </a:lnTo>
                  <a:lnTo>
                    <a:pt x="984" y="256"/>
                  </a:lnTo>
                  <a:lnTo>
                    <a:pt x="986" y="260"/>
                  </a:lnTo>
                  <a:lnTo>
                    <a:pt x="990" y="264"/>
                  </a:lnTo>
                  <a:lnTo>
                    <a:pt x="1014" y="274"/>
                  </a:lnTo>
                  <a:lnTo>
                    <a:pt x="1028" y="280"/>
                  </a:lnTo>
                  <a:lnTo>
                    <a:pt x="1036" y="286"/>
                  </a:lnTo>
                  <a:lnTo>
                    <a:pt x="1048" y="296"/>
                  </a:lnTo>
                  <a:lnTo>
                    <a:pt x="1052" y="302"/>
                  </a:lnTo>
                  <a:lnTo>
                    <a:pt x="1060" y="308"/>
                  </a:lnTo>
                  <a:lnTo>
                    <a:pt x="1072" y="312"/>
                  </a:lnTo>
                  <a:lnTo>
                    <a:pt x="1090" y="318"/>
                  </a:lnTo>
                  <a:lnTo>
                    <a:pt x="1098" y="320"/>
                  </a:lnTo>
                  <a:lnTo>
                    <a:pt x="1104" y="320"/>
                  </a:lnTo>
                  <a:lnTo>
                    <a:pt x="1110" y="318"/>
                  </a:lnTo>
                  <a:lnTo>
                    <a:pt x="1114" y="316"/>
                  </a:lnTo>
                  <a:lnTo>
                    <a:pt x="1116" y="312"/>
                  </a:lnTo>
                  <a:lnTo>
                    <a:pt x="1116" y="306"/>
                  </a:lnTo>
                  <a:lnTo>
                    <a:pt x="1118" y="294"/>
                  </a:lnTo>
                  <a:lnTo>
                    <a:pt x="1120" y="282"/>
                  </a:lnTo>
                  <a:lnTo>
                    <a:pt x="1124" y="268"/>
                  </a:lnTo>
                  <a:lnTo>
                    <a:pt x="1128" y="262"/>
                  </a:lnTo>
                  <a:lnTo>
                    <a:pt x="1132" y="256"/>
                  </a:lnTo>
                  <a:lnTo>
                    <a:pt x="1138" y="252"/>
                  </a:lnTo>
                  <a:lnTo>
                    <a:pt x="1146" y="248"/>
                  </a:lnTo>
                  <a:lnTo>
                    <a:pt x="1160" y="242"/>
                  </a:lnTo>
                  <a:lnTo>
                    <a:pt x="1166" y="236"/>
                  </a:lnTo>
                  <a:lnTo>
                    <a:pt x="1166" y="230"/>
                  </a:lnTo>
                  <a:lnTo>
                    <a:pt x="1164" y="224"/>
                  </a:lnTo>
                  <a:lnTo>
                    <a:pt x="1162" y="218"/>
                  </a:lnTo>
                  <a:lnTo>
                    <a:pt x="1162" y="214"/>
                  </a:lnTo>
                  <a:lnTo>
                    <a:pt x="1162" y="212"/>
                  </a:lnTo>
                  <a:lnTo>
                    <a:pt x="1166" y="208"/>
                  </a:lnTo>
                  <a:lnTo>
                    <a:pt x="1176" y="204"/>
                  </a:lnTo>
                  <a:lnTo>
                    <a:pt x="1182" y="202"/>
                  </a:lnTo>
                  <a:lnTo>
                    <a:pt x="1188" y="200"/>
                  </a:lnTo>
                  <a:lnTo>
                    <a:pt x="1190" y="196"/>
                  </a:lnTo>
                  <a:lnTo>
                    <a:pt x="1192" y="192"/>
                  </a:lnTo>
                  <a:lnTo>
                    <a:pt x="1194" y="186"/>
                  </a:lnTo>
                  <a:lnTo>
                    <a:pt x="1194" y="178"/>
                  </a:lnTo>
                  <a:lnTo>
                    <a:pt x="1196" y="170"/>
                  </a:lnTo>
                  <a:lnTo>
                    <a:pt x="1198" y="166"/>
                  </a:lnTo>
                  <a:lnTo>
                    <a:pt x="1202" y="164"/>
                  </a:lnTo>
                  <a:lnTo>
                    <a:pt x="1206" y="160"/>
                  </a:lnTo>
                  <a:lnTo>
                    <a:pt x="1212" y="158"/>
                  </a:lnTo>
                  <a:lnTo>
                    <a:pt x="1234" y="156"/>
                  </a:lnTo>
                  <a:lnTo>
                    <a:pt x="1272" y="152"/>
                  </a:lnTo>
                  <a:lnTo>
                    <a:pt x="1284" y="148"/>
                  </a:lnTo>
                  <a:lnTo>
                    <a:pt x="1290" y="146"/>
                  </a:lnTo>
                  <a:lnTo>
                    <a:pt x="1290" y="144"/>
                  </a:lnTo>
                  <a:lnTo>
                    <a:pt x="1290" y="142"/>
                  </a:lnTo>
                  <a:lnTo>
                    <a:pt x="1284" y="138"/>
                  </a:lnTo>
                  <a:lnTo>
                    <a:pt x="1274" y="136"/>
                  </a:lnTo>
                  <a:lnTo>
                    <a:pt x="1260" y="130"/>
                  </a:lnTo>
                  <a:lnTo>
                    <a:pt x="1244" y="126"/>
                  </a:lnTo>
                  <a:lnTo>
                    <a:pt x="1236" y="124"/>
                  </a:lnTo>
                  <a:lnTo>
                    <a:pt x="1226" y="118"/>
                  </a:lnTo>
                  <a:lnTo>
                    <a:pt x="1224" y="116"/>
                  </a:lnTo>
                  <a:lnTo>
                    <a:pt x="1220" y="114"/>
                  </a:lnTo>
                  <a:lnTo>
                    <a:pt x="1202" y="114"/>
                  </a:lnTo>
                  <a:lnTo>
                    <a:pt x="1190" y="112"/>
                  </a:lnTo>
                  <a:lnTo>
                    <a:pt x="1186" y="110"/>
                  </a:lnTo>
                  <a:lnTo>
                    <a:pt x="1184" y="106"/>
                  </a:lnTo>
                  <a:lnTo>
                    <a:pt x="1182" y="102"/>
                  </a:lnTo>
                  <a:lnTo>
                    <a:pt x="1182" y="96"/>
                  </a:lnTo>
                  <a:lnTo>
                    <a:pt x="1182" y="90"/>
                  </a:lnTo>
                  <a:lnTo>
                    <a:pt x="1178" y="84"/>
                  </a:lnTo>
                  <a:lnTo>
                    <a:pt x="1170" y="78"/>
                  </a:lnTo>
                  <a:lnTo>
                    <a:pt x="1162" y="74"/>
                  </a:lnTo>
                  <a:lnTo>
                    <a:pt x="1156" y="76"/>
                  </a:lnTo>
                  <a:lnTo>
                    <a:pt x="1152" y="82"/>
                  </a:lnTo>
                  <a:lnTo>
                    <a:pt x="1148" y="88"/>
                  </a:lnTo>
                  <a:lnTo>
                    <a:pt x="1144" y="96"/>
                  </a:lnTo>
                  <a:lnTo>
                    <a:pt x="1144" y="98"/>
                  </a:lnTo>
                  <a:lnTo>
                    <a:pt x="1142" y="94"/>
                  </a:lnTo>
                  <a:lnTo>
                    <a:pt x="1140" y="84"/>
                  </a:lnTo>
                  <a:lnTo>
                    <a:pt x="1140" y="78"/>
                  </a:lnTo>
                  <a:lnTo>
                    <a:pt x="1142" y="74"/>
                  </a:lnTo>
                  <a:lnTo>
                    <a:pt x="1144" y="70"/>
                  </a:lnTo>
                  <a:lnTo>
                    <a:pt x="1150" y="66"/>
                  </a:lnTo>
                  <a:lnTo>
                    <a:pt x="1152" y="64"/>
                  </a:lnTo>
                  <a:lnTo>
                    <a:pt x="1132" y="54"/>
                  </a:lnTo>
                  <a:lnTo>
                    <a:pt x="1124" y="50"/>
                  </a:lnTo>
                  <a:lnTo>
                    <a:pt x="1108" y="50"/>
                  </a:lnTo>
                  <a:lnTo>
                    <a:pt x="1100" y="50"/>
                  </a:lnTo>
                  <a:lnTo>
                    <a:pt x="1092" y="48"/>
                  </a:lnTo>
                  <a:lnTo>
                    <a:pt x="1084" y="42"/>
                  </a:lnTo>
                  <a:lnTo>
                    <a:pt x="1080" y="40"/>
                  </a:lnTo>
                  <a:lnTo>
                    <a:pt x="1076" y="40"/>
                  </a:lnTo>
                  <a:lnTo>
                    <a:pt x="1070" y="40"/>
                  </a:lnTo>
                  <a:lnTo>
                    <a:pt x="1062" y="44"/>
                  </a:lnTo>
                  <a:lnTo>
                    <a:pt x="1058" y="48"/>
                  </a:lnTo>
                  <a:lnTo>
                    <a:pt x="1056" y="54"/>
                  </a:lnTo>
                  <a:lnTo>
                    <a:pt x="1054" y="58"/>
                  </a:lnTo>
                  <a:lnTo>
                    <a:pt x="1056" y="66"/>
                  </a:lnTo>
                  <a:lnTo>
                    <a:pt x="1060" y="80"/>
                  </a:lnTo>
                  <a:lnTo>
                    <a:pt x="1068" y="94"/>
                  </a:lnTo>
                  <a:lnTo>
                    <a:pt x="1084" y="120"/>
                  </a:lnTo>
                  <a:lnTo>
                    <a:pt x="1086" y="130"/>
                  </a:lnTo>
                  <a:lnTo>
                    <a:pt x="1086" y="132"/>
                  </a:lnTo>
                  <a:lnTo>
                    <a:pt x="1084" y="132"/>
                  </a:lnTo>
                  <a:lnTo>
                    <a:pt x="1080" y="132"/>
                  </a:lnTo>
                  <a:lnTo>
                    <a:pt x="1076" y="130"/>
                  </a:lnTo>
                  <a:lnTo>
                    <a:pt x="1068" y="122"/>
                  </a:lnTo>
                  <a:lnTo>
                    <a:pt x="1048" y="96"/>
                  </a:lnTo>
                  <a:lnTo>
                    <a:pt x="1036" y="82"/>
                  </a:lnTo>
                  <a:lnTo>
                    <a:pt x="1026" y="72"/>
                  </a:lnTo>
                  <a:lnTo>
                    <a:pt x="1020" y="68"/>
                  </a:lnTo>
                  <a:lnTo>
                    <a:pt x="1014" y="66"/>
                  </a:lnTo>
                  <a:lnTo>
                    <a:pt x="1008" y="64"/>
                  </a:lnTo>
                  <a:lnTo>
                    <a:pt x="1004" y="66"/>
                  </a:lnTo>
                  <a:lnTo>
                    <a:pt x="998" y="68"/>
                  </a:lnTo>
                  <a:lnTo>
                    <a:pt x="994" y="70"/>
                  </a:lnTo>
                  <a:lnTo>
                    <a:pt x="990" y="78"/>
                  </a:lnTo>
                  <a:lnTo>
                    <a:pt x="988" y="88"/>
                  </a:lnTo>
                  <a:lnTo>
                    <a:pt x="986" y="96"/>
                  </a:lnTo>
                  <a:lnTo>
                    <a:pt x="986" y="108"/>
                  </a:lnTo>
                  <a:lnTo>
                    <a:pt x="984" y="106"/>
                  </a:lnTo>
                  <a:lnTo>
                    <a:pt x="980" y="100"/>
                  </a:lnTo>
                  <a:lnTo>
                    <a:pt x="974" y="90"/>
                  </a:lnTo>
                  <a:lnTo>
                    <a:pt x="968" y="84"/>
                  </a:lnTo>
                  <a:lnTo>
                    <a:pt x="960" y="80"/>
                  </a:lnTo>
                  <a:lnTo>
                    <a:pt x="954" y="78"/>
                  </a:lnTo>
                  <a:lnTo>
                    <a:pt x="950" y="76"/>
                  </a:lnTo>
                  <a:lnTo>
                    <a:pt x="948" y="76"/>
                  </a:lnTo>
                  <a:lnTo>
                    <a:pt x="960" y="72"/>
                  </a:lnTo>
                  <a:lnTo>
                    <a:pt x="972" y="70"/>
                  </a:lnTo>
                  <a:lnTo>
                    <a:pt x="978" y="66"/>
                  </a:lnTo>
                  <a:lnTo>
                    <a:pt x="984" y="62"/>
                  </a:lnTo>
                  <a:lnTo>
                    <a:pt x="984" y="60"/>
                  </a:lnTo>
                  <a:lnTo>
                    <a:pt x="982" y="56"/>
                  </a:lnTo>
                  <a:lnTo>
                    <a:pt x="978" y="56"/>
                  </a:lnTo>
                  <a:lnTo>
                    <a:pt x="970" y="56"/>
                  </a:lnTo>
                  <a:lnTo>
                    <a:pt x="958" y="60"/>
                  </a:lnTo>
                  <a:lnTo>
                    <a:pt x="946" y="62"/>
                  </a:lnTo>
                  <a:lnTo>
                    <a:pt x="938" y="62"/>
                  </a:lnTo>
                  <a:lnTo>
                    <a:pt x="934" y="62"/>
                  </a:lnTo>
                  <a:lnTo>
                    <a:pt x="930" y="58"/>
                  </a:lnTo>
                  <a:lnTo>
                    <a:pt x="928" y="56"/>
                  </a:lnTo>
                  <a:lnTo>
                    <a:pt x="926" y="56"/>
                  </a:lnTo>
                  <a:lnTo>
                    <a:pt x="922" y="58"/>
                  </a:lnTo>
                  <a:lnTo>
                    <a:pt x="916" y="60"/>
                  </a:lnTo>
                  <a:lnTo>
                    <a:pt x="908" y="64"/>
                  </a:lnTo>
                  <a:lnTo>
                    <a:pt x="904" y="64"/>
                  </a:lnTo>
                  <a:lnTo>
                    <a:pt x="902" y="64"/>
                  </a:lnTo>
                  <a:lnTo>
                    <a:pt x="900" y="60"/>
                  </a:lnTo>
                  <a:lnTo>
                    <a:pt x="896" y="58"/>
                  </a:lnTo>
                  <a:lnTo>
                    <a:pt x="892" y="58"/>
                  </a:lnTo>
                  <a:lnTo>
                    <a:pt x="884" y="60"/>
                  </a:lnTo>
                  <a:lnTo>
                    <a:pt x="874" y="64"/>
                  </a:lnTo>
                  <a:lnTo>
                    <a:pt x="862" y="72"/>
                  </a:lnTo>
                  <a:lnTo>
                    <a:pt x="856" y="78"/>
                  </a:lnTo>
                  <a:lnTo>
                    <a:pt x="854" y="82"/>
                  </a:lnTo>
                  <a:lnTo>
                    <a:pt x="854" y="88"/>
                  </a:lnTo>
                  <a:lnTo>
                    <a:pt x="858" y="92"/>
                  </a:lnTo>
                  <a:lnTo>
                    <a:pt x="862" y="98"/>
                  </a:lnTo>
                  <a:lnTo>
                    <a:pt x="872" y="112"/>
                  </a:lnTo>
                  <a:lnTo>
                    <a:pt x="878" y="116"/>
                  </a:lnTo>
                  <a:lnTo>
                    <a:pt x="884" y="118"/>
                  </a:lnTo>
                  <a:lnTo>
                    <a:pt x="890" y="114"/>
                  </a:lnTo>
                  <a:lnTo>
                    <a:pt x="894" y="110"/>
                  </a:lnTo>
                  <a:lnTo>
                    <a:pt x="902" y="104"/>
                  </a:lnTo>
                  <a:lnTo>
                    <a:pt x="902" y="108"/>
                  </a:lnTo>
                  <a:close/>
                  <a:moveTo>
                    <a:pt x="1272" y="818"/>
                  </a:moveTo>
                  <a:lnTo>
                    <a:pt x="1272" y="818"/>
                  </a:lnTo>
                  <a:lnTo>
                    <a:pt x="1272" y="816"/>
                  </a:lnTo>
                  <a:lnTo>
                    <a:pt x="1270" y="814"/>
                  </a:lnTo>
                  <a:lnTo>
                    <a:pt x="1266" y="812"/>
                  </a:lnTo>
                  <a:lnTo>
                    <a:pt x="1264" y="814"/>
                  </a:lnTo>
                  <a:lnTo>
                    <a:pt x="1264" y="818"/>
                  </a:lnTo>
                  <a:lnTo>
                    <a:pt x="1264" y="820"/>
                  </a:lnTo>
                  <a:lnTo>
                    <a:pt x="1272" y="818"/>
                  </a:lnTo>
                  <a:close/>
                  <a:moveTo>
                    <a:pt x="1168" y="848"/>
                  </a:moveTo>
                  <a:lnTo>
                    <a:pt x="1168" y="848"/>
                  </a:lnTo>
                  <a:lnTo>
                    <a:pt x="1176" y="848"/>
                  </a:lnTo>
                  <a:lnTo>
                    <a:pt x="1180" y="848"/>
                  </a:lnTo>
                  <a:lnTo>
                    <a:pt x="1182" y="844"/>
                  </a:lnTo>
                  <a:lnTo>
                    <a:pt x="1184" y="840"/>
                  </a:lnTo>
                  <a:lnTo>
                    <a:pt x="1190" y="836"/>
                  </a:lnTo>
                  <a:lnTo>
                    <a:pt x="1192" y="834"/>
                  </a:lnTo>
                  <a:lnTo>
                    <a:pt x="1192" y="832"/>
                  </a:lnTo>
                  <a:lnTo>
                    <a:pt x="1192" y="830"/>
                  </a:lnTo>
                  <a:lnTo>
                    <a:pt x="1188" y="828"/>
                  </a:lnTo>
                  <a:lnTo>
                    <a:pt x="1182" y="826"/>
                  </a:lnTo>
                  <a:lnTo>
                    <a:pt x="1180" y="826"/>
                  </a:lnTo>
                  <a:lnTo>
                    <a:pt x="1180" y="828"/>
                  </a:lnTo>
                  <a:lnTo>
                    <a:pt x="1176" y="830"/>
                  </a:lnTo>
                  <a:lnTo>
                    <a:pt x="1174" y="830"/>
                  </a:lnTo>
                  <a:lnTo>
                    <a:pt x="1172" y="832"/>
                  </a:lnTo>
                  <a:lnTo>
                    <a:pt x="1170" y="832"/>
                  </a:lnTo>
                  <a:lnTo>
                    <a:pt x="1166" y="832"/>
                  </a:lnTo>
                  <a:lnTo>
                    <a:pt x="1164" y="832"/>
                  </a:lnTo>
                  <a:lnTo>
                    <a:pt x="1162" y="834"/>
                  </a:lnTo>
                  <a:lnTo>
                    <a:pt x="1162" y="838"/>
                  </a:lnTo>
                  <a:lnTo>
                    <a:pt x="1160" y="842"/>
                  </a:lnTo>
                  <a:lnTo>
                    <a:pt x="1156" y="842"/>
                  </a:lnTo>
                  <a:lnTo>
                    <a:pt x="1154" y="842"/>
                  </a:lnTo>
                  <a:lnTo>
                    <a:pt x="1152" y="844"/>
                  </a:lnTo>
                  <a:lnTo>
                    <a:pt x="1152" y="846"/>
                  </a:lnTo>
                  <a:lnTo>
                    <a:pt x="1154" y="848"/>
                  </a:lnTo>
                  <a:lnTo>
                    <a:pt x="1168" y="848"/>
                  </a:lnTo>
                  <a:close/>
                  <a:moveTo>
                    <a:pt x="1214" y="822"/>
                  </a:moveTo>
                  <a:lnTo>
                    <a:pt x="1214" y="822"/>
                  </a:lnTo>
                  <a:lnTo>
                    <a:pt x="1218" y="816"/>
                  </a:lnTo>
                  <a:lnTo>
                    <a:pt x="1218" y="814"/>
                  </a:lnTo>
                  <a:lnTo>
                    <a:pt x="1216" y="814"/>
                  </a:lnTo>
                  <a:lnTo>
                    <a:pt x="1212" y="812"/>
                  </a:lnTo>
                  <a:lnTo>
                    <a:pt x="1208" y="814"/>
                  </a:lnTo>
                  <a:lnTo>
                    <a:pt x="1206" y="814"/>
                  </a:lnTo>
                  <a:lnTo>
                    <a:pt x="1202" y="812"/>
                  </a:lnTo>
                  <a:lnTo>
                    <a:pt x="1198" y="810"/>
                  </a:lnTo>
                  <a:lnTo>
                    <a:pt x="1196" y="812"/>
                  </a:lnTo>
                  <a:lnTo>
                    <a:pt x="1192" y="814"/>
                  </a:lnTo>
                  <a:lnTo>
                    <a:pt x="1190" y="814"/>
                  </a:lnTo>
                  <a:lnTo>
                    <a:pt x="1188" y="814"/>
                  </a:lnTo>
                  <a:lnTo>
                    <a:pt x="1188" y="816"/>
                  </a:lnTo>
                  <a:lnTo>
                    <a:pt x="1184" y="820"/>
                  </a:lnTo>
                  <a:lnTo>
                    <a:pt x="1182" y="822"/>
                  </a:lnTo>
                  <a:lnTo>
                    <a:pt x="1184" y="824"/>
                  </a:lnTo>
                  <a:lnTo>
                    <a:pt x="1190" y="824"/>
                  </a:lnTo>
                  <a:lnTo>
                    <a:pt x="1196" y="828"/>
                  </a:lnTo>
                  <a:lnTo>
                    <a:pt x="1200" y="830"/>
                  </a:lnTo>
                  <a:lnTo>
                    <a:pt x="1204" y="830"/>
                  </a:lnTo>
                  <a:lnTo>
                    <a:pt x="1214" y="822"/>
                  </a:lnTo>
                  <a:close/>
                  <a:moveTo>
                    <a:pt x="1352" y="792"/>
                  </a:moveTo>
                  <a:lnTo>
                    <a:pt x="1352" y="792"/>
                  </a:lnTo>
                  <a:lnTo>
                    <a:pt x="1348" y="790"/>
                  </a:lnTo>
                  <a:lnTo>
                    <a:pt x="1344" y="788"/>
                  </a:lnTo>
                  <a:lnTo>
                    <a:pt x="1338" y="788"/>
                  </a:lnTo>
                  <a:lnTo>
                    <a:pt x="1330" y="790"/>
                  </a:lnTo>
                  <a:lnTo>
                    <a:pt x="1328" y="792"/>
                  </a:lnTo>
                  <a:lnTo>
                    <a:pt x="1330" y="794"/>
                  </a:lnTo>
                  <a:lnTo>
                    <a:pt x="1340" y="798"/>
                  </a:lnTo>
                  <a:lnTo>
                    <a:pt x="1350" y="796"/>
                  </a:lnTo>
                  <a:lnTo>
                    <a:pt x="1352" y="796"/>
                  </a:lnTo>
                  <a:lnTo>
                    <a:pt x="1352" y="792"/>
                  </a:lnTo>
                  <a:close/>
                  <a:moveTo>
                    <a:pt x="1326" y="780"/>
                  </a:moveTo>
                  <a:lnTo>
                    <a:pt x="1326" y="780"/>
                  </a:lnTo>
                  <a:lnTo>
                    <a:pt x="1330" y="778"/>
                  </a:lnTo>
                  <a:lnTo>
                    <a:pt x="1334" y="776"/>
                  </a:lnTo>
                  <a:lnTo>
                    <a:pt x="1338" y="776"/>
                  </a:lnTo>
                  <a:lnTo>
                    <a:pt x="1342" y="776"/>
                  </a:lnTo>
                  <a:lnTo>
                    <a:pt x="1346" y="778"/>
                  </a:lnTo>
                  <a:lnTo>
                    <a:pt x="1350" y="776"/>
                  </a:lnTo>
                  <a:lnTo>
                    <a:pt x="1364" y="766"/>
                  </a:lnTo>
                  <a:lnTo>
                    <a:pt x="1372" y="760"/>
                  </a:lnTo>
                  <a:lnTo>
                    <a:pt x="1372" y="758"/>
                  </a:lnTo>
                  <a:lnTo>
                    <a:pt x="1372" y="756"/>
                  </a:lnTo>
                  <a:lnTo>
                    <a:pt x="1368" y="756"/>
                  </a:lnTo>
                  <a:lnTo>
                    <a:pt x="1362" y="756"/>
                  </a:lnTo>
                  <a:lnTo>
                    <a:pt x="1356" y="758"/>
                  </a:lnTo>
                  <a:lnTo>
                    <a:pt x="1358" y="760"/>
                  </a:lnTo>
                  <a:lnTo>
                    <a:pt x="1358" y="762"/>
                  </a:lnTo>
                  <a:lnTo>
                    <a:pt x="1356" y="764"/>
                  </a:lnTo>
                  <a:lnTo>
                    <a:pt x="1350" y="762"/>
                  </a:lnTo>
                  <a:lnTo>
                    <a:pt x="1348" y="762"/>
                  </a:lnTo>
                  <a:lnTo>
                    <a:pt x="1346" y="762"/>
                  </a:lnTo>
                  <a:lnTo>
                    <a:pt x="1342" y="766"/>
                  </a:lnTo>
                  <a:lnTo>
                    <a:pt x="1342" y="770"/>
                  </a:lnTo>
                  <a:lnTo>
                    <a:pt x="1340" y="768"/>
                  </a:lnTo>
                  <a:lnTo>
                    <a:pt x="1338" y="766"/>
                  </a:lnTo>
                  <a:lnTo>
                    <a:pt x="1332" y="766"/>
                  </a:lnTo>
                  <a:lnTo>
                    <a:pt x="1318" y="770"/>
                  </a:lnTo>
                  <a:lnTo>
                    <a:pt x="1314" y="774"/>
                  </a:lnTo>
                  <a:lnTo>
                    <a:pt x="1318" y="776"/>
                  </a:lnTo>
                  <a:lnTo>
                    <a:pt x="1320" y="776"/>
                  </a:lnTo>
                  <a:lnTo>
                    <a:pt x="1322" y="778"/>
                  </a:lnTo>
                  <a:lnTo>
                    <a:pt x="1320" y="780"/>
                  </a:lnTo>
                  <a:lnTo>
                    <a:pt x="1326" y="780"/>
                  </a:lnTo>
                  <a:close/>
                  <a:moveTo>
                    <a:pt x="1414" y="220"/>
                  </a:moveTo>
                  <a:lnTo>
                    <a:pt x="1414" y="220"/>
                  </a:lnTo>
                  <a:lnTo>
                    <a:pt x="1408" y="216"/>
                  </a:lnTo>
                  <a:lnTo>
                    <a:pt x="1402" y="216"/>
                  </a:lnTo>
                  <a:lnTo>
                    <a:pt x="1392" y="218"/>
                  </a:lnTo>
                  <a:lnTo>
                    <a:pt x="1388" y="220"/>
                  </a:lnTo>
                  <a:lnTo>
                    <a:pt x="1382" y="220"/>
                  </a:lnTo>
                  <a:lnTo>
                    <a:pt x="1374" y="218"/>
                  </a:lnTo>
                  <a:lnTo>
                    <a:pt x="1364" y="214"/>
                  </a:lnTo>
                  <a:lnTo>
                    <a:pt x="1356" y="208"/>
                  </a:lnTo>
                  <a:lnTo>
                    <a:pt x="1354" y="204"/>
                  </a:lnTo>
                  <a:lnTo>
                    <a:pt x="1356" y="200"/>
                  </a:lnTo>
                  <a:lnTo>
                    <a:pt x="1360" y="198"/>
                  </a:lnTo>
                  <a:lnTo>
                    <a:pt x="1370" y="194"/>
                  </a:lnTo>
                  <a:lnTo>
                    <a:pt x="1370" y="192"/>
                  </a:lnTo>
                  <a:lnTo>
                    <a:pt x="1366" y="190"/>
                  </a:lnTo>
                  <a:lnTo>
                    <a:pt x="1354" y="188"/>
                  </a:lnTo>
                  <a:lnTo>
                    <a:pt x="1336" y="188"/>
                  </a:lnTo>
                  <a:lnTo>
                    <a:pt x="1316" y="188"/>
                  </a:lnTo>
                  <a:lnTo>
                    <a:pt x="1296" y="190"/>
                  </a:lnTo>
                  <a:lnTo>
                    <a:pt x="1280" y="194"/>
                  </a:lnTo>
                  <a:lnTo>
                    <a:pt x="1274" y="196"/>
                  </a:lnTo>
                  <a:lnTo>
                    <a:pt x="1270" y="198"/>
                  </a:lnTo>
                  <a:lnTo>
                    <a:pt x="1270" y="202"/>
                  </a:lnTo>
                  <a:lnTo>
                    <a:pt x="1272" y="204"/>
                  </a:lnTo>
                  <a:lnTo>
                    <a:pt x="1276" y="208"/>
                  </a:lnTo>
                  <a:lnTo>
                    <a:pt x="1286" y="212"/>
                  </a:lnTo>
                  <a:lnTo>
                    <a:pt x="1292" y="214"/>
                  </a:lnTo>
                  <a:lnTo>
                    <a:pt x="1292" y="216"/>
                  </a:lnTo>
                  <a:lnTo>
                    <a:pt x="1292" y="218"/>
                  </a:lnTo>
                  <a:lnTo>
                    <a:pt x="1286" y="224"/>
                  </a:lnTo>
                  <a:lnTo>
                    <a:pt x="1272" y="236"/>
                  </a:lnTo>
                  <a:lnTo>
                    <a:pt x="1264" y="242"/>
                  </a:lnTo>
                  <a:lnTo>
                    <a:pt x="1262" y="246"/>
                  </a:lnTo>
                  <a:lnTo>
                    <a:pt x="1264" y="248"/>
                  </a:lnTo>
                  <a:lnTo>
                    <a:pt x="1270" y="250"/>
                  </a:lnTo>
                  <a:lnTo>
                    <a:pt x="1288" y="250"/>
                  </a:lnTo>
                  <a:lnTo>
                    <a:pt x="1314" y="246"/>
                  </a:lnTo>
                  <a:lnTo>
                    <a:pt x="1324" y="248"/>
                  </a:lnTo>
                  <a:lnTo>
                    <a:pt x="1328" y="248"/>
                  </a:lnTo>
                  <a:lnTo>
                    <a:pt x="1328" y="250"/>
                  </a:lnTo>
                  <a:lnTo>
                    <a:pt x="1328" y="256"/>
                  </a:lnTo>
                  <a:lnTo>
                    <a:pt x="1328" y="260"/>
                  </a:lnTo>
                  <a:lnTo>
                    <a:pt x="1326" y="264"/>
                  </a:lnTo>
                  <a:lnTo>
                    <a:pt x="1326" y="266"/>
                  </a:lnTo>
                  <a:lnTo>
                    <a:pt x="1328" y="266"/>
                  </a:lnTo>
                  <a:lnTo>
                    <a:pt x="1336" y="266"/>
                  </a:lnTo>
                  <a:lnTo>
                    <a:pt x="1350" y="260"/>
                  </a:lnTo>
                  <a:lnTo>
                    <a:pt x="1376" y="250"/>
                  </a:lnTo>
                  <a:lnTo>
                    <a:pt x="1402" y="238"/>
                  </a:lnTo>
                  <a:lnTo>
                    <a:pt x="1412" y="234"/>
                  </a:lnTo>
                  <a:lnTo>
                    <a:pt x="1418" y="228"/>
                  </a:lnTo>
                  <a:lnTo>
                    <a:pt x="1420" y="226"/>
                  </a:lnTo>
                  <a:lnTo>
                    <a:pt x="1420" y="224"/>
                  </a:lnTo>
                  <a:lnTo>
                    <a:pt x="1418" y="222"/>
                  </a:lnTo>
                  <a:lnTo>
                    <a:pt x="1414" y="220"/>
                  </a:lnTo>
                  <a:close/>
                  <a:moveTo>
                    <a:pt x="1370" y="792"/>
                  </a:moveTo>
                  <a:lnTo>
                    <a:pt x="1370" y="792"/>
                  </a:lnTo>
                  <a:lnTo>
                    <a:pt x="1378" y="782"/>
                  </a:lnTo>
                  <a:lnTo>
                    <a:pt x="1380" y="776"/>
                  </a:lnTo>
                  <a:lnTo>
                    <a:pt x="1378" y="774"/>
                  </a:lnTo>
                  <a:lnTo>
                    <a:pt x="1376" y="772"/>
                  </a:lnTo>
                  <a:lnTo>
                    <a:pt x="1372" y="770"/>
                  </a:lnTo>
                  <a:lnTo>
                    <a:pt x="1370" y="774"/>
                  </a:lnTo>
                  <a:lnTo>
                    <a:pt x="1362" y="776"/>
                  </a:lnTo>
                  <a:lnTo>
                    <a:pt x="1354" y="780"/>
                  </a:lnTo>
                  <a:lnTo>
                    <a:pt x="1350" y="784"/>
                  </a:lnTo>
                  <a:lnTo>
                    <a:pt x="1350" y="786"/>
                  </a:lnTo>
                  <a:lnTo>
                    <a:pt x="1350" y="788"/>
                  </a:lnTo>
                  <a:lnTo>
                    <a:pt x="1356" y="792"/>
                  </a:lnTo>
                  <a:lnTo>
                    <a:pt x="1364" y="794"/>
                  </a:lnTo>
                  <a:lnTo>
                    <a:pt x="1366" y="794"/>
                  </a:lnTo>
                  <a:lnTo>
                    <a:pt x="1370" y="792"/>
                  </a:lnTo>
                  <a:close/>
                  <a:moveTo>
                    <a:pt x="1388" y="762"/>
                  </a:moveTo>
                  <a:lnTo>
                    <a:pt x="1388" y="762"/>
                  </a:lnTo>
                  <a:lnTo>
                    <a:pt x="1384" y="762"/>
                  </a:lnTo>
                  <a:lnTo>
                    <a:pt x="1380" y="764"/>
                  </a:lnTo>
                  <a:lnTo>
                    <a:pt x="1380" y="766"/>
                  </a:lnTo>
                  <a:lnTo>
                    <a:pt x="1380" y="770"/>
                  </a:lnTo>
                  <a:lnTo>
                    <a:pt x="1384" y="776"/>
                  </a:lnTo>
                  <a:lnTo>
                    <a:pt x="1386" y="778"/>
                  </a:lnTo>
                  <a:lnTo>
                    <a:pt x="1388" y="778"/>
                  </a:lnTo>
                  <a:lnTo>
                    <a:pt x="1394" y="776"/>
                  </a:lnTo>
                  <a:lnTo>
                    <a:pt x="1396" y="772"/>
                  </a:lnTo>
                  <a:lnTo>
                    <a:pt x="1396" y="770"/>
                  </a:lnTo>
                  <a:lnTo>
                    <a:pt x="1396" y="766"/>
                  </a:lnTo>
                  <a:lnTo>
                    <a:pt x="1392" y="764"/>
                  </a:lnTo>
                  <a:lnTo>
                    <a:pt x="1388" y="762"/>
                  </a:lnTo>
                  <a:close/>
                  <a:moveTo>
                    <a:pt x="1264" y="804"/>
                  </a:moveTo>
                  <a:lnTo>
                    <a:pt x="1264" y="804"/>
                  </a:lnTo>
                  <a:lnTo>
                    <a:pt x="1264" y="800"/>
                  </a:lnTo>
                  <a:lnTo>
                    <a:pt x="1262" y="798"/>
                  </a:lnTo>
                  <a:lnTo>
                    <a:pt x="1258" y="798"/>
                  </a:lnTo>
                  <a:lnTo>
                    <a:pt x="1252" y="802"/>
                  </a:lnTo>
                  <a:lnTo>
                    <a:pt x="1248" y="804"/>
                  </a:lnTo>
                  <a:lnTo>
                    <a:pt x="1248" y="808"/>
                  </a:lnTo>
                  <a:lnTo>
                    <a:pt x="1250" y="810"/>
                  </a:lnTo>
                  <a:lnTo>
                    <a:pt x="1254" y="812"/>
                  </a:lnTo>
                  <a:lnTo>
                    <a:pt x="1260" y="814"/>
                  </a:lnTo>
                  <a:lnTo>
                    <a:pt x="1262" y="812"/>
                  </a:lnTo>
                  <a:lnTo>
                    <a:pt x="1264" y="804"/>
                  </a:lnTo>
                  <a:close/>
                  <a:moveTo>
                    <a:pt x="1102" y="904"/>
                  </a:moveTo>
                  <a:lnTo>
                    <a:pt x="1102" y="904"/>
                  </a:lnTo>
                  <a:lnTo>
                    <a:pt x="1102" y="908"/>
                  </a:lnTo>
                  <a:lnTo>
                    <a:pt x="1104" y="908"/>
                  </a:lnTo>
                  <a:lnTo>
                    <a:pt x="1112" y="908"/>
                  </a:lnTo>
                  <a:lnTo>
                    <a:pt x="1114" y="906"/>
                  </a:lnTo>
                  <a:lnTo>
                    <a:pt x="1112" y="902"/>
                  </a:lnTo>
                  <a:lnTo>
                    <a:pt x="1106" y="902"/>
                  </a:lnTo>
                  <a:lnTo>
                    <a:pt x="1104" y="902"/>
                  </a:lnTo>
                  <a:lnTo>
                    <a:pt x="1102" y="904"/>
                  </a:lnTo>
                  <a:close/>
                  <a:moveTo>
                    <a:pt x="1116" y="898"/>
                  </a:moveTo>
                  <a:lnTo>
                    <a:pt x="1116" y="898"/>
                  </a:lnTo>
                  <a:lnTo>
                    <a:pt x="1120" y="900"/>
                  </a:lnTo>
                  <a:lnTo>
                    <a:pt x="1122" y="898"/>
                  </a:lnTo>
                  <a:lnTo>
                    <a:pt x="1124" y="896"/>
                  </a:lnTo>
                  <a:lnTo>
                    <a:pt x="1124" y="894"/>
                  </a:lnTo>
                  <a:lnTo>
                    <a:pt x="1120" y="892"/>
                  </a:lnTo>
                  <a:lnTo>
                    <a:pt x="1116" y="894"/>
                  </a:lnTo>
                  <a:lnTo>
                    <a:pt x="1114" y="896"/>
                  </a:lnTo>
                  <a:lnTo>
                    <a:pt x="1116" y="898"/>
                  </a:lnTo>
                  <a:close/>
                  <a:moveTo>
                    <a:pt x="1150" y="850"/>
                  </a:moveTo>
                  <a:lnTo>
                    <a:pt x="1150" y="850"/>
                  </a:lnTo>
                  <a:lnTo>
                    <a:pt x="1148" y="850"/>
                  </a:lnTo>
                  <a:lnTo>
                    <a:pt x="1148" y="848"/>
                  </a:lnTo>
                  <a:lnTo>
                    <a:pt x="1146" y="846"/>
                  </a:lnTo>
                  <a:lnTo>
                    <a:pt x="1144" y="846"/>
                  </a:lnTo>
                  <a:lnTo>
                    <a:pt x="1142" y="848"/>
                  </a:lnTo>
                  <a:lnTo>
                    <a:pt x="1140" y="846"/>
                  </a:lnTo>
                  <a:lnTo>
                    <a:pt x="1138" y="844"/>
                  </a:lnTo>
                  <a:lnTo>
                    <a:pt x="1136" y="846"/>
                  </a:lnTo>
                  <a:lnTo>
                    <a:pt x="1136" y="848"/>
                  </a:lnTo>
                  <a:lnTo>
                    <a:pt x="1132" y="848"/>
                  </a:lnTo>
                  <a:lnTo>
                    <a:pt x="1130" y="846"/>
                  </a:lnTo>
                  <a:lnTo>
                    <a:pt x="1130" y="850"/>
                  </a:lnTo>
                  <a:lnTo>
                    <a:pt x="1130" y="852"/>
                  </a:lnTo>
                  <a:lnTo>
                    <a:pt x="1128" y="850"/>
                  </a:lnTo>
                  <a:lnTo>
                    <a:pt x="1124" y="850"/>
                  </a:lnTo>
                  <a:lnTo>
                    <a:pt x="1120" y="850"/>
                  </a:lnTo>
                  <a:lnTo>
                    <a:pt x="1118" y="854"/>
                  </a:lnTo>
                  <a:lnTo>
                    <a:pt x="1120" y="856"/>
                  </a:lnTo>
                  <a:lnTo>
                    <a:pt x="1124" y="856"/>
                  </a:lnTo>
                  <a:lnTo>
                    <a:pt x="1124" y="858"/>
                  </a:lnTo>
                  <a:lnTo>
                    <a:pt x="1120" y="860"/>
                  </a:lnTo>
                  <a:lnTo>
                    <a:pt x="1114" y="860"/>
                  </a:lnTo>
                  <a:lnTo>
                    <a:pt x="1108" y="860"/>
                  </a:lnTo>
                  <a:lnTo>
                    <a:pt x="1108" y="862"/>
                  </a:lnTo>
                  <a:lnTo>
                    <a:pt x="1110" y="862"/>
                  </a:lnTo>
                  <a:lnTo>
                    <a:pt x="1110" y="864"/>
                  </a:lnTo>
                  <a:lnTo>
                    <a:pt x="1108" y="866"/>
                  </a:lnTo>
                  <a:lnTo>
                    <a:pt x="1106" y="866"/>
                  </a:lnTo>
                  <a:lnTo>
                    <a:pt x="1108" y="868"/>
                  </a:lnTo>
                  <a:lnTo>
                    <a:pt x="1110" y="870"/>
                  </a:lnTo>
                  <a:lnTo>
                    <a:pt x="1108" y="870"/>
                  </a:lnTo>
                  <a:lnTo>
                    <a:pt x="1108" y="872"/>
                  </a:lnTo>
                  <a:lnTo>
                    <a:pt x="1108" y="874"/>
                  </a:lnTo>
                  <a:lnTo>
                    <a:pt x="1108" y="876"/>
                  </a:lnTo>
                  <a:lnTo>
                    <a:pt x="1108" y="878"/>
                  </a:lnTo>
                  <a:lnTo>
                    <a:pt x="1106" y="880"/>
                  </a:lnTo>
                  <a:lnTo>
                    <a:pt x="1104" y="882"/>
                  </a:lnTo>
                  <a:lnTo>
                    <a:pt x="1108" y="884"/>
                  </a:lnTo>
                  <a:lnTo>
                    <a:pt x="1114" y="884"/>
                  </a:lnTo>
                  <a:lnTo>
                    <a:pt x="1114" y="886"/>
                  </a:lnTo>
                  <a:lnTo>
                    <a:pt x="1114" y="888"/>
                  </a:lnTo>
                  <a:lnTo>
                    <a:pt x="1116" y="888"/>
                  </a:lnTo>
                  <a:lnTo>
                    <a:pt x="1120" y="884"/>
                  </a:lnTo>
                  <a:lnTo>
                    <a:pt x="1122" y="880"/>
                  </a:lnTo>
                  <a:lnTo>
                    <a:pt x="1126" y="876"/>
                  </a:lnTo>
                  <a:lnTo>
                    <a:pt x="1130" y="874"/>
                  </a:lnTo>
                  <a:lnTo>
                    <a:pt x="1132" y="876"/>
                  </a:lnTo>
                  <a:lnTo>
                    <a:pt x="1132" y="878"/>
                  </a:lnTo>
                  <a:lnTo>
                    <a:pt x="1134" y="878"/>
                  </a:lnTo>
                  <a:lnTo>
                    <a:pt x="1142" y="878"/>
                  </a:lnTo>
                  <a:lnTo>
                    <a:pt x="1146" y="876"/>
                  </a:lnTo>
                  <a:lnTo>
                    <a:pt x="1148" y="874"/>
                  </a:lnTo>
                  <a:lnTo>
                    <a:pt x="1146" y="870"/>
                  </a:lnTo>
                  <a:lnTo>
                    <a:pt x="1146" y="866"/>
                  </a:lnTo>
                  <a:lnTo>
                    <a:pt x="1148" y="864"/>
                  </a:lnTo>
                  <a:lnTo>
                    <a:pt x="1150" y="862"/>
                  </a:lnTo>
                  <a:lnTo>
                    <a:pt x="1150" y="860"/>
                  </a:lnTo>
                  <a:lnTo>
                    <a:pt x="1152" y="852"/>
                  </a:lnTo>
                  <a:lnTo>
                    <a:pt x="1152" y="850"/>
                  </a:lnTo>
                  <a:lnTo>
                    <a:pt x="1150" y="850"/>
                  </a:lnTo>
                  <a:close/>
                  <a:moveTo>
                    <a:pt x="1254" y="830"/>
                  </a:moveTo>
                  <a:lnTo>
                    <a:pt x="1254" y="830"/>
                  </a:lnTo>
                  <a:lnTo>
                    <a:pt x="1260" y="826"/>
                  </a:lnTo>
                  <a:lnTo>
                    <a:pt x="1262" y="824"/>
                  </a:lnTo>
                  <a:lnTo>
                    <a:pt x="1260" y="820"/>
                  </a:lnTo>
                  <a:lnTo>
                    <a:pt x="1258" y="822"/>
                  </a:lnTo>
                  <a:lnTo>
                    <a:pt x="1256" y="826"/>
                  </a:lnTo>
                  <a:lnTo>
                    <a:pt x="1254" y="830"/>
                  </a:lnTo>
                  <a:close/>
                  <a:moveTo>
                    <a:pt x="1226" y="818"/>
                  </a:moveTo>
                  <a:lnTo>
                    <a:pt x="1226" y="818"/>
                  </a:lnTo>
                  <a:lnTo>
                    <a:pt x="1222" y="818"/>
                  </a:lnTo>
                  <a:lnTo>
                    <a:pt x="1218" y="820"/>
                  </a:lnTo>
                  <a:lnTo>
                    <a:pt x="1214" y="826"/>
                  </a:lnTo>
                  <a:lnTo>
                    <a:pt x="1216" y="826"/>
                  </a:lnTo>
                  <a:lnTo>
                    <a:pt x="1220" y="824"/>
                  </a:lnTo>
                  <a:lnTo>
                    <a:pt x="1224" y="822"/>
                  </a:lnTo>
                  <a:lnTo>
                    <a:pt x="1226" y="818"/>
                  </a:lnTo>
                  <a:close/>
                  <a:moveTo>
                    <a:pt x="1074" y="928"/>
                  </a:moveTo>
                  <a:lnTo>
                    <a:pt x="1074" y="928"/>
                  </a:lnTo>
                  <a:lnTo>
                    <a:pt x="1074" y="930"/>
                  </a:lnTo>
                  <a:lnTo>
                    <a:pt x="1074" y="932"/>
                  </a:lnTo>
                  <a:lnTo>
                    <a:pt x="1078" y="932"/>
                  </a:lnTo>
                  <a:lnTo>
                    <a:pt x="1082" y="930"/>
                  </a:lnTo>
                  <a:lnTo>
                    <a:pt x="1084" y="926"/>
                  </a:lnTo>
                  <a:lnTo>
                    <a:pt x="1084" y="924"/>
                  </a:lnTo>
                  <a:lnTo>
                    <a:pt x="1080" y="924"/>
                  </a:lnTo>
                  <a:lnTo>
                    <a:pt x="1076" y="924"/>
                  </a:lnTo>
                  <a:lnTo>
                    <a:pt x="1074" y="928"/>
                  </a:lnTo>
                  <a:close/>
                  <a:moveTo>
                    <a:pt x="772" y="1274"/>
                  </a:moveTo>
                  <a:lnTo>
                    <a:pt x="772" y="1274"/>
                  </a:lnTo>
                  <a:lnTo>
                    <a:pt x="784" y="1270"/>
                  </a:lnTo>
                  <a:lnTo>
                    <a:pt x="788" y="1270"/>
                  </a:lnTo>
                  <a:lnTo>
                    <a:pt x="790" y="1268"/>
                  </a:lnTo>
                  <a:lnTo>
                    <a:pt x="790" y="1266"/>
                  </a:lnTo>
                  <a:lnTo>
                    <a:pt x="788" y="1264"/>
                  </a:lnTo>
                  <a:lnTo>
                    <a:pt x="786" y="1264"/>
                  </a:lnTo>
                  <a:lnTo>
                    <a:pt x="784" y="1262"/>
                  </a:lnTo>
                  <a:lnTo>
                    <a:pt x="784" y="1260"/>
                  </a:lnTo>
                  <a:lnTo>
                    <a:pt x="778" y="1262"/>
                  </a:lnTo>
                  <a:lnTo>
                    <a:pt x="768" y="1266"/>
                  </a:lnTo>
                  <a:lnTo>
                    <a:pt x="760" y="1268"/>
                  </a:lnTo>
                  <a:lnTo>
                    <a:pt x="758" y="1270"/>
                  </a:lnTo>
                  <a:lnTo>
                    <a:pt x="756" y="1274"/>
                  </a:lnTo>
                  <a:lnTo>
                    <a:pt x="758" y="1276"/>
                  </a:lnTo>
                  <a:lnTo>
                    <a:pt x="760" y="1276"/>
                  </a:lnTo>
                  <a:lnTo>
                    <a:pt x="772" y="1274"/>
                  </a:lnTo>
                  <a:close/>
                  <a:moveTo>
                    <a:pt x="776" y="1258"/>
                  </a:moveTo>
                  <a:lnTo>
                    <a:pt x="776" y="1258"/>
                  </a:lnTo>
                  <a:lnTo>
                    <a:pt x="780" y="1256"/>
                  </a:lnTo>
                  <a:lnTo>
                    <a:pt x="778" y="1252"/>
                  </a:lnTo>
                  <a:lnTo>
                    <a:pt x="776" y="1250"/>
                  </a:lnTo>
                  <a:lnTo>
                    <a:pt x="774" y="1252"/>
                  </a:lnTo>
                  <a:lnTo>
                    <a:pt x="772" y="1254"/>
                  </a:lnTo>
                  <a:lnTo>
                    <a:pt x="764" y="1256"/>
                  </a:lnTo>
                  <a:lnTo>
                    <a:pt x="760" y="1258"/>
                  </a:lnTo>
                  <a:lnTo>
                    <a:pt x="758" y="1258"/>
                  </a:lnTo>
                  <a:lnTo>
                    <a:pt x="758" y="1260"/>
                  </a:lnTo>
                  <a:lnTo>
                    <a:pt x="764" y="1260"/>
                  </a:lnTo>
                  <a:lnTo>
                    <a:pt x="776" y="1258"/>
                  </a:lnTo>
                  <a:close/>
                  <a:moveTo>
                    <a:pt x="892" y="180"/>
                  </a:moveTo>
                  <a:lnTo>
                    <a:pt x="892" y="180"/>
                  </a:lnTo>
                  <a:lnTo>
                    <a:pt x="904" y="186"/>
                  </a:lnTo>
                  <a:lnTo>
                    <a:pt x="912" y="188"/>
                  </a:lnTo>
                  <a:lnTo>
                    <a:pt x="912" y="186"/>
                  </a:lnTo>
                  <a:lnTo>
                    <a:pt x="910" y="182"/>
                  </a:lnTo>
                  <a:lnTo>
                    <a:pt x="906" y="176"/>
                  </a:lnTo>
                  <a:lnTo>
                    <a:pt x="900" y="170"/>
                  </a:lnTo>
                  <a:lnTo>
                    <a:pt x="894" y="164"/>
                  </a:lnTo>
                  <a:lnTo>
                    <a:pt x="888" y="164"/>
                  </a:lnTo>
                  <a:lnTo>
                    <a:pt x="882" y="162"/>
                  </a:lnTo>
                  <a:lnTo>
                    <a:pt x="878" y="158"/>
                  </a:lnTo>
                  <a:lnTo>
                    <a:pt x="870" y="144"/>
                  </a:lnTo>
                  <a:lnTo>
                    <a:pt x="866" y="138"/>
                  </a:lnTo>
                  <a:lnTo>
                    <a:pt x="860" y="134"/>
                  </a:lnTo>
                  <a:lnTo>
                    <a:pt x="856" y="132"/>
                  </a:lnTo>
                  <a:lnTo>
                    <a:pt x="850" y="132"/>
                  </a:lnTo>
                  <a:lnTo>
                    <a:pt x="846" y="136"/>
                  </a:lnTo>
                  <a:lnTo>
                    <a:pt x="846" y="142"/>
                  </a:lnTo>
                  <a:lnTo>
                    <a:pt x="860" y="164"/>
                  </a:lnTo>
                  <a:lnTo>
                    <a:pt x="866" y="174"/>
                  </a:lnTo>
                  <a:lnTo>
                    <a:pt x="868" y="174"/>
                  </a:lnTo>
                  <a:lnTo>
                    <a:pt x="870" y="174"/>
                  </a:lnTo>
                  <a:lnTo>
                    <a:pt x="872" y="172"/>
                  </a:lnTo>
                  <a:lnTo>
                    <a:pt x="876" y="172"/>
                  </a:lnTo>
                  <a:lnTo>
                    <a:pt x="884" y="174"/>
                  </a:lnTo>
                  <a:lnTo>
                    <a:pt x="892" y="180"/>
                  </a:lnTo>
                  <a:close/>
                  <a:moveTo>
                    <a:pt x="1006" y="948"/>
                  </a:moveTo>
                  <a:lnTo>
                    <a:pt x="1006" y="948"/>
                  </a:lnTo>
                  <a:lnTo>
                    <a:pt x="1016" y="944"/>
                  </a:lnTo>
                  <a:lnTo>
                    <a:pt x="1026" y="934"/>
                  </a:lnTo>
                  <a:lnTo>
                    <a:pt x="1030" y="932"/>
                  </a:lnTo>
                  <a:lnTo>
                    <a:pt x="1030" y="930"/>
                  </a:lnTo>
                  <a:lnTo>
                    <a:pt x="1026" y="930"/>
                  </a:lnTo>
                  <a:lnTo>
                    <a:pt x="1018" y="930"/>
                  </a:lnTo>
                  <a:lnTo>
                    <a:pt x="1008" y="932"/>
                  </a:lnTo>
                  <a:lnTo>
                    <a:pt x="1004" y="934"/>
                  </a:lnTo>
                  <a:lnTo>
                    <a:pt x="1006" y="936"/>
                  </a:lnTo>
                  <a:lnTo>
                    <a:pt x="1006" y="938"/>
                  </a:lnTo>
                  <a:lnTo>
                    <a:pt x="1002" y="938"/>
                  </a:lnTo>
                  <a:lnTo>
                    <a:pt x="998" y="938"/>
                  </a:lnTo>
                  <a:lnTo>
                    <a:pt x="998" y="940"/>
                  </a:lnTo>
                  <a:lnTo>
                    <a:pt x="1000" y="942"/>
                  </a:lnTo>
                  <a:lnTo>
                    <a:pt x="998" y="946"/>
                  </a:lnTo>
                  <a:lnTo>
                    <a:pt x="996" y="948"/>
                  </a:lnTo>
                  <a:lnTo>
                    <a:pt x="1000" y="948"/>
                  </a:lnTo>
                  <a:lnTo>
                    <a:pt x="1006" y="948"/>
                  </a:lnTo>
                  <a:close/>
                  <a:moveTo>
                    <a:pt x="1028" y="900"/>
                  </a:moveTo>
                  <a:lnTo>
                    <a:pt x="1028" y="900"/>
                  </a:lnTo>
                  <a:lnTo>
                    <a:pt x="1024" y="900"/>
                  </a:lnTo>
                  <a:lnTo>
                    <a:pt x="1022" y="902"/>
                  </a:lnTo>
                  <a:lnTo>
                    <a:pt x="1022" y="904"/>
                  </a:lnTo>
                  <a:lnTo>
                    <a:pt x="1018" y="906"/>
                  </a:lnTo>
                  <a:lnTo>
                    <a:pt x="1016" y="904"/>
                  </a:lnTo>
                  <a:lnTo>
                    <a:pt x="1014" y="902"/>
                  </a:lnTo>
                  <a:lnTo>
                    <a:pt x="1012" y="902"/>
                  </a:lnTo>
                  <a:lnTo>
                    <a:pt x="1010" y="904"/>
                  </a:lnTo>
                  <a:lnTo>
                    <a:pt x="1008" y="904"/>
                  </a:lnTo>
                  <a:lnTo>
                    <a:pt x="1006" y="904"/>
                  </a:lnTo>
                  <a:lnTo>
                    <a:pt x="1004" y="906"/>
                  </a:lnTo>
                  <a:lnTo>
                    <a:pt x="1004" y="910"/>
                  </a:lnTo>
                  <a:lnTo>
                    <a:pt x="1002" y="912"/>
                  </a:lnTo>
                  <a:lnTo>
                    <a:pt x="1002" y="914"/>
                  </a:lnTo>
                  <a:lnTo>
                    <a:pt x="1004" y="916"/>
                  </a:lnTo>
                  <a:lnTo>
                    <a:pt x="1008" y="918"/>
                  </a:lnTo>
                  <a:lnTo>
                    <a:pt x="1012" y="916"/>
                  </a:lnTo>
                  <a:lnTo>
                    <a:pt x="1016" y="914"/>
                  </a:lnTo>
                  <a:lnTo>
                    <a:pt x="1026" y="910"/>
                  </a:lnTo>
                  <a:lnTo>
                    <a:pt x="1030" y="910"/>
                  </a:lnTo>
                  <a:lnTo>
                    <a:pt x="1026" y="914"/>
                  </a:lnTo>
                  <a:lnTo>
                    <a:pt x="1020" y="918"/>
                  </a:lnTo>
                  <a:lnTo>
                    <a:pt x="1020" y="920"/>
                  </a:lnTo>
                  <a:lnTo>
                    <a:pt x="1030" y="918"/>
                  </a:lnTo>
                  <a:lnTo>
                    <a:pt x="1040" y="916"/>
                  </a:lnTo>
                  <a:lnTo>
                    <a:pt x="1042" y="914"/>
                  </a:lnTo>
                  <a:lnTo>
                    <a:pt x="1042" y="912"/>
                  </a:lnTo>
                  <a:lnTo>
                    <a:pt x="1042" y="910"/>
                  </a:lnTo>
                  <a:lnTo>
                    <a:pt x="1040" y="906"/>
                  </a:lnTo>
                  <a:lnTo>
                    <a:pt x="1040" y="904"/>
                  </a:lnTo>
                  <a:lnTo>
                    <a:pt x="1042" y="902"/>
                  </a:lnTo>
                  <a:lnTo>
                    <a:pt x="1042" y="900"/>
                  </a:lnTo>
                  <a:lnTo>
                    <a:pt x="1038" y="896"/>
                  </a:lnTo>
                  <a:lnTo>
                    <a:pt x="1034" y="890"/>
                  </a:lnTo>
                  <a:lnTo>
                    <a:pt x="1032" y="890"/>
                  </a:lnTo>
                  <a:lnTo>
                    <a:pt x="1030" y="890"/>
                  </a:lnTo>
                  <a:lnTo>
                    <a:pt x="1028" y="890"/>
                  </a:lnTo>
                  <a:lnTo>
                    <a:pt x="1028" y="892"/>
                  </a:lnTo>
                  <a:lnTo>
                    <a:pt x="1030" y="896"/>
                  </a:lnTo>
                  <a:lnTo>
                    <a:pt x="1032" y="900"/>
                  </a:lnTo>
                  <a:lnTo>
                    <a:pt x="1028" y="900"/>
                  </a:lnTo>
                  <a:close/>
                  <a:moveTo>
                    <a:pt x="996" y="942"/>
                  </a:moveTo>
                  <a:lnTo>
                    <a:pt x="996" y="942"/>
                  </a:lnTo>
                  <a:lnTo>
                    <a:pt x="996" y="940"/>
                  </a:lnTo>
                  <a:lnTo>
                    <a:pt x="994" y="938"/>
                  </a:lnTo>
                  <a:lnTo>
                    <a:pt x="990" y="938"/>
                  </a:lnTo>
                  <a:lnTo>
                    <a:pt x="988" y="938"/>
                  </a:lnTo>
                  <a:lnTo>
                    <a:pt x="990" y="940"/>
                  </a:lnTo>
                  <a:lnTo>
                    <a:pt x="992" y="942"/>
                  </a:lnTo>
                  <a:lnTo>
                    <a:pt x="994" y="942"/>
                  </a:lnTo>
                  <a:lnTo>
                    <a:pt x="996" y="942"/>
                  </a:lnTo>
                  <a:close/>
                  <a:moveTo>
                    <a:pt x="942" y="966"/>
                  </a:moveTo>
                  <a:lnTo>
                    <a:pt x="942" y="966"/>
                  </a:lnTo>
                  <a:lnTo>
                    <a:pt x="940" y="974"/>
                  </a:lnTo>
                  <a:lnTo>
                    <a:pt x="946" y="970"/>
                  </a:lnTo>
                  <a:lnTo>
                    <a:pt x="948" y="968"/>
                  </a:lnTo>
                  <a:lnTo>
                    <a:pt x="950" y="964"/>
                  </a:lnTo>
                  <a:lnTo>
                    <a:pt x="950" y="958"/>
                  </a:lnTo>
                  <a:lnTo>
                    <a:pt x="950" y="956"/>
                  </a:lnTo>
                  <a:lnTo>
                    <a:pt x="948" y="956"/>
                  </a:lnTo>
                  <a:lnTo>
                    <a:pt x="942" y="966"/>
                  </a:lnTo>
                  <a:close/>
                  <a:moveTo>
                    <a:pt x="970" y="956"/>
                  </a:moveTo>
                  <a:lnTo>
                    <a:pt x="970" y="956"/>
                  </a:lnTo>
                  <a:lnTo>
                    <a:pt x="972" y="956"/>
                  </a:lnTo>
                  <a:lnTo>
                    <a:pt x="974" y="956"/>
                  </a:lnTo>
                  <a:lnTo>
                    <a:pt x="976" y="956"/>
                  </a:lnTo>
                  <a:lnTo>
                    <a:pt x="978" y="954"/>
                  </a:lnTo>
                  <a:lnTo>
                    <a:pt x="982" y="952"/>
                  </a:lnTo>
                  <a:lnTo>
                    <a:pt x="984" y="950"/>
                  </a:lnTo>
                  <a:lnTo>
                    <a:pt x="988" y="946"/>
                  </a:lnTo>
                  <a:lnTo>
                    <a:pt x="992" y="946"/>
                  </a:lnTo>
                  <a:lnTo>
                    <a:pt x="990" y="944"/>
                  </a:lnTo>
                  <a:lnTo>
                    <a:pt x="980" y="942"/>
                  </a:lnTo>
                  <a:lnTo>
                    <a:pt x="976" y="940"/>
                  </a:lnTo>
                  <a:lnTo>
                    <a:pt x="972" y="942"/>
                  </a:lnTo>
                  <a:lnTo>
                    <a:pt x="970" y="944"/>
                  </a:lnTo>
                  <a:lnTo>
                    <a:pt x="966" y="948"/>
                  </a:lnTo>
                  <a:lnTo>
                    <a:pt x="966" y="952"/>
                  </a:lnTo>
                  <a:lnTo>
                    <a:pt x="966" y="954"/>
                  </a:lnTo>
                  <a:lnTo>
                    <a:pt x="964" y="956"/>
                  </a:lnTo>
                  <a:lnTo>
                    <a:pt x="966" y="958"/>
                  </a:lnTo>
                  <a:lnTo>
                    <a:pt x="968" y="958"/>
                  </a:lnTo>
                  <a:lnTo>
                    <a:pt x="970" y="956"/>
                  </a:lnTo>
                  <a:close/>
                  <a:moveTo>
                    <a:pt x="958" y="954"/>
                  </a:moveTo>
                  <a:lnTo>
                    <a:pt x="958" y="954"/>
                  </a:lnTo>
                  <a:lnTo>
                    <a:pt x="958" y="956"/>
                  </a:lnTo>
                  <a:lnTo>
                    <a:pt x="956" y="956"/>
                  </a:lnTo>
                  <a:lnTo>
                    <a:pt x="954" y="956"/>
                  </a:lnTo>
                  <a:lnTo>
                    <a:pt x="954" y="960"/>
                  </a:lnTo>
                  <a:lnTo>
                    <a:pt x="956" y="962"/>
                  </a:lnTo>
                  <a:lnTo>
                    <a:pt x="962" y="958"/>
                  </a:lnTo>
                  <a:lnTo>
                    <a:pt x="964" y="954"/>
                  </a:lnTo>
                  <a:lnTo>
                    <a:pt x="962" y="950"/>
                  </a:lnTo>
                  <a:lnTo>
                    <a:pt x="960" y="950"/>
                  </a:lnTo>
                  <a:lnTo>
                    <a:pt x="958" y="954"/>
                  </a:lnTo>
                  <a:close/>
                  <a:moveTo>
                    <a:pt x="1028" y="966"/>
                  </a:moveTo>
                  <a:lnTo>
                    <a:pt x="1028" y="966"/>
                  </a:lnTo>
                  <a:lnTo>
                    <a:pt x="1032" y="966"/>
                  </a:lnTo>
                  <a:lnTo>
                    <a:pt x="1034" y="964"/>
                  </a:lnTo>
                  <a:lnTo>
                    <a:pt x="1030" y="962"/>
                  </a:lnTo>
                  <a:lnTo>
                    <a:pt x="1028" y="962"/>
                  </a:lnTo>
                  <a:lnTo>
                    <a:pt x="1026" y="964"/>
                  </a:lnTo>
                  <a:lnTo>
                    <a:pt x="1026" y="966"/>
                  </a:lnTo>
                  <a:lnTo>
                    <a:pt x="1028" y="966"/>
                  </a:lnTo>
                  <a:close/>
                  <a:moveTo>
                    <a:pt x="1078" y="890"/>
                  </a:moveTo>
                  <a:lnTo>
                    <a:pt x="1078" y="890"/>
                  </a:lnTo>
                  <a:lnTo>
                    <a:pt x="1080" y="892"/>
                  </a:lnTo>
                  <a:lnTo>
                    <a:pt x="1082" y="894"/>
                  </a:lnTo>
                  <a:lnTo>
                    <a:pt x="1088" y="896"/>
                  </a:lnTo>
                  <a:lnTo>
                    <a:pt x="1092" y="896"/>
                  </a:lnTo>
                  <a:lnTo>
                    <a:pt x="1092" y="894"/>
                  </a:lnTo>
                  <a:lnTo>
                    <a:pt x="1088" y="892"/>
                  </a:lnTo>
                  <a:lnTo>
                    <a:pt x="1082" y="890"/>
                  </a:lnTo>
                  <a:lnTo>
                    <a:pt x="1078" y="890"/>
                  </a:lnTo>
                  <a:close/>
                  <a:moveTo>
                    <a:pt x="1054" y="890"/>
                  </a:moveTo>
                  <a:lnTo>
                    <a:pt x="1054" y="890"/>
                  </a:lnTo>
                  <a:lnTo>
                    <a:pt x="1060" y="890"/>
                  </a:lnTo>
                  <a:lnTo>
                    <a:pt x="1062" y="888"/>
                  </a:lnTo>
                  <a:lnTo>
                    <a:pt x="1068" y="878"/>
                  </a:lnTo>
                  <a:lnTo>
                    <a:pt x="1072" y="872"/>
                  </a:lnTo>
                  <a:lnTo>
                    <a:pt x="1074" y="868"/>
                  </a:lnTo>
                  <a:lnTo>
                    <a:pt x="1072" y="868"/>
                  </a:lnTo>
                  <a:lnTo>
                    <a:pt x="1066" y="870"/>
                  </a:lnTo>
                  <a:lnTo>
                    <a:pt x="1054" y="878"/>
                  </a:lnTo>
                  <a:lnTo>
                    <a:pt x="1050" y="882"/>
                  </a:lnTo>
                  <a:lnTo>
                    <a:pt x="1046" y="890"/>
                  </a:lnTo>
                  <a:lnTo>
                    <a:pt x="1044" y="894"/>
                  </a:lnTo>
                  <a:lnTo>
                    <a:pt x="1044" y="896"/>
                  </a:lnTo>
                  <a:lnTo>
                    <a:pt x="1046" y="898"/>
                  </a:lnTo>
                  <a:lnTo>
                    <a:pt x="1048" y="898"/>
                  </a:lnTo>
                  <a:lnTo>
                    <a:pt x="1048" y="894"/>
                  </a:lnTo>
                  <a:lnTo>
                    <a:pt x="1050" y="892"/>
                  </a:lnTo>
                  <a:lnTo>
                    <a:pt x="1054" y="890"/>
                  </a:lnTo>
                  <a:close/>
                  <a:moveTo>
                    <a:pt x="752" y="1276"/>
                  </a:moveTo>
                  <a:lnTo>
                    <a:pt x="752" y="1276"/>
                  </a:lnTo>
                  <a:lnTo>
                    <a:pt x="750" y="1274"/>
                  </a:lnTo>
                  <a:lnTo>
                    <a:pt x="742" y="1274"/>
                  </a:lnTo>
                  <a:lnTo>
                    <a:pt x="738" y="1276"/>
                  </a:lnTo>
                  <a:lnTo>
                    <a:pt x="736" y="1278"/>
                  </a:lnTo>
                  <a:lnTo>
                    <a:pt x="742" y="1282"/>
                  </a:lnTo>
                  <a:lnTo>
                    <a:pt x="748" y="1282"/>
                  </a:lnTo>
                  <a:lnTo>
                    <a:pt x="750" y="1278"/>
                  </a:lnTo>
                  <a:lnTo>
                    <a:pt x="752" y="1276"/>
                  </a:lnTo>
                  <a:close/>
                  <a:moveTo>
                    <a:pt x="1156" y="42"/>
                  </a:moveTo>
                  <a:lnTo>
                    <a:pt x="1156" y="42"/>
                  </a:lnTo>
                  <a:lnTo>
                    <a:pt x="1164" y="44"/>
                  </a:lnTo>
                  <a:lnTo>
                    <a:pt x="1166" y="46"/>
                  </a:lnTo>
                  <a:lnTo>
                    <a:pt x="1164" y="48"/>
                  </a:lnTo>
                  <a:lnTo>
                    <a:pt x="1162" y="48"/>
                  </a:lnTo>
                  <a:lnTo>
                    <a:pt x="1160" y="50"/>
                  </a:lnTo>
                  <a:lnTo>
                    <a:pt x="1162" y="52"/>
                  </a:lnTo>
                  <a:lnTo>
                    <a:pt x="1166" y="56"/>
                  </a:lnTo>
                  <a:lnTo>
                    <a:pt x="1176" y="62"/>
                  </a:lnTo>
                  <a:lnTo>
                    <a:pt x="1186" y="66"/>
                  </a:lnTo>
                  <a:lnTo>
                    <a:pt x="1194" y="68"/>
                  </a:lnTo>
                  <a:lnTo>
                    <a:pt x="1204" y="68"/>
                  </a:lnTo>
                  <a:lnTo>
                    <a:pt x="1214" y="66"/>
                  </a:lnTo>
                  <a:lnTo>
                    <a:pt x="1238" y="62"/>
                  </a:lnTo>
                  <a:lnTo>
                    <a:pt x="1252" y="60"/>
                  </a:lnTo>
                  <a:lnTo>
                    <a:pt x="1270" y="58"/>
                  </a:lnTo>
                  <a:lnTo>
                    <a:pt x="1296" y="58"/>
                  </a:lnTo>
                  <a:lnTo>
                    <a:pt x="1298" y="60"/>
                  </a:lnTo>
                  <a:lnTo>
                    <a:pt x="1294" y="62"/>
                  </a:lnTo>
                  <a:lnTo>
                    <a:pt x="1274" y="66"/>
                  </a:lnTo>
                  <a:lnTo>
                    <a:pt x="1236" y="74"/>
                  </a:lnTo>
                  <a:lnTo>
                    <a:pt x="1220" y="78"/>
                  </a:lnTo>
                  <a:lnTo>
                    <a:pt x="1216" y="80"/>
                  </a:lnTo>
                  <a:lnTo>
                    <a:pt x="1216" y="82"/>
                  </a:lnTo>
                  <a:lnTo>
                    <a:pt x="1216" y="84"/>
                  </a:lnTo>
                  <a:lnTo>
                    <a:pt x="1220" y="86"/>
                  </a:lnTo>
                  <a:lnTo>
                    <a:pt x="1232" y="88"/>
                  </a:lnTo>
                  <a:lnTo>
                    <a:pt x="1270" y="92"/>
                  </a:lnTo>
                  <a:lnTo>
                    <a:pt x="1308" y="94"/>
                  </a:lnTo>
                  <a:lnTo>
                    <a:pt x="1324" y="96"/>
                  </a:lnTo>
                  <a:lnTo>
                    <a:pt x="1336" y="100"/>
                  </a:lnTo>
                  <a:lnTo>
                    <a:pt x="1360" y="110"/>
                  </a:lnTo>
                  <a:lnTo>
                    <a:pt x="1370" y="114"/>
                  </a:lnTo>
                  <a:lnTo>
                    <a:pt x="1380" y="114"/>
                  </a:lnTo>
                  <a:lnTo>
                    <a:pt x="1390" y="112"/>
                  </a:lnTo>
                  <a:lnTo>
                    <a:pt x="1402" y="106"/>
                  </a:lnTo>
                  <a:lnTo>
                    <a:pt x="1412" y="98"/>
                  </a:lnTo>
                  <a:lnTo>
                    <a:pt x="1420" y="96"/>
                  </a:lnTo>
                  <a:lnTo>
                    <a:pt x="1424" y="94"/>
                  </a:lnTo>
                  <a:lnTo>
                    <a:pt x="1430" y="96"/>
                  </a:lnTo>
                  <a:lnTo>
                    <a:pt x="1438" y="98"/>
                  </a:lnTo>
                  <a:lnTo>
                    <a:pt x="1446" y="98"/>
                  </a:lnTo>
                  <a:lnTo>
                    <a:pt x="1456" y="96"/>
                  </a:lnTo>
                  <a:lnTo>
                    <a:pt x="1464" y="92"/>
                  </a:lnTo>
                  <a:lnTo>
                    <a:pt x="1468" y="88"/>
                  </a:lnTo>
                  <a:lnTo>
                    <a:pt x="1468" y="84"/>
                  </a:lnTo>
                  <a:lnTo>
                    <a:pt x="1468" y="80"/>
                  </a:lnTo>
                  <a:lnTo>
                    <a:pt x="1470" y="76"/>
                  </a:lnTo>
                  <a:lnTo>
                    <a:pt x="1476" y="72"/>
                  </a:lnTo>
                  <a:lnTo>
                    <a:pt x="1488" y="66"/>
                  </a:lnTo>
                  <a:lnTo>
                    <a:pt x="1506" y="58"/>
                  </a:lnTo>
                  <a:lnTo>
                    <a:pt x="1516" y="54"/>
                  </a:lnTo>
                  <a:lnTo>
                    <a:pt x="1522" y="48"/>
                  </a:lnTo>
                  <a:lnTo>
                    <a:pt x="1520" y="42"/>
                  </a:lnTo>
                  <a:lnTo>
                    <a:pt x="1516" y="38"/>
                  </a:lnTo>
                  <a:lnTo>
                    <a:pt x="1510" y="34"/>
                  </a:lnTo>
                  <a:lnTo>
                    <a:pt x="1502" y="30"/>
                  </a:lnTo>
                  <a:lnTo>
                    <a:pt x="1492" y="28"/>
                  </a:lnTo>
                  <a:lnTo>
                    <a:pt x="1484" y="28"/>
                  </a:lnTo>
                  <a:lnTo>
                    <a:pt x="1468" y="28"/>
                  </a:lnTo>
                  <a:lnTo>
                    <a:pt x="1450" y="24"/>
                  </a:lnTo>
                  <a:lnTo>
                    <a:pt x="1430" y="18"/>
                  </a:lnTo>
                  <a:lnTo>
                    <a:pt x="1406" y="14"/>
                  </a:lnTo>
                  <a:lnTo>
                    <a:pt x="1394" y="12"/>
                  </a:lnTo>
                  <a:lnTo>
                    <a:pt x="1388" y="14"/>
                  </a:lnTo>
                  <a:lnTo>
                    <a:pt x="1384" y="16"/>
                  </a:lnTo>
                  <a:lnTo>
                    <a:pt x="1382" y="20"/>
                  </a:lnTo>
                  <a:lnTo>
                    <a:pt x="1378" y="28"/>
                  </a:lnTo>
                  <a:lnTo>
                    <a:pt x="1374" y="30"/>
                  </a:lnTo>
                  <a:lnTo>
                    <a:pt x="1366" y="30"/>
                  </a:lnTo>
                  <a:lnTo>
                    <a:pt x="1360" y="28"/>
                  </a:lnTo>
                  <a:lnTo>
                    <a:pt x="1358" y="24"/>
                  </a:lnTo>
                  <a:lnTo>
                    <a:pt x="1358" y="20"/>
                  </a:lnTo>
                  <a:lnTo>
                    <a:pt x="1360" y="16"/>
                  </a:lnTo>
                  <a:lnTo>
                    <a:pt x="1362" y="10"/>
                  </a:lnTo>
                  <a:lnTo>
                    <a:pt x="1362" y="6"/>
                  </a:lnTo>
                  <a:lnTo>
                    <a:pt x="1360" y="4"/>
                  </a:lnTo>
                  <a:lnTo>
                    <a:pt x="1350" y="0"/>
                  </a:lnTo>
                  <a:lnTo>
                    <a:pt x="1344" y="0"/>
                  </a:lnTo>
                  <a:lnTo>
                    <a:pt x="1340" y="2"/>
                  </a:lnTo>
                  <a:lnTo>
                    <a:pt x="1334" y="4"/>
                  </a:lnTo>
                  <a:lnTo>
                    <a:pt x="1332" y="8"/>
                  </a:lnTo>
                  <a:lnTo>
                    <a:pt x="1328" y="14"/>
                  </a:lnTo>
                  <a:lnTo>
                    <a:pt x="1326" y="22"/>
                  </a:lnTo>
                  <a:lnTo>
                    <a:pt x="1324" y="36"/>
                  </a:lnTo>
                  <a:lnTo>
                    <a:pt x="1322" y="40"/>
                  </a:lnTo>
                  <a:lnTo>
                    <a:pt x="1320" y="40"/>
                  </a:lnTo>
                  <a:lnTo>
                    <a:pt x="1318" y="40"/>
                  </a:lnTo>
                  <a:lnTo>
                    <a:pt x="1314" y="36"/>
                  </a:lnTo>
                  <a:lnTo>
                    <a:pt x="1306" y="24"/>
                  </a:lnTo>
                  <a:lnTo>
                    <a:pt x="1300" y="20"/>
                  </a:lnTo>
                  <a:lnTo>
                    <a:pt x="1296" y="18"/>
                  </a:lnTo>
                  <a:lnTo>
                    <a:pt x="1292" y="18"/>
                  </a:lnTo>
                  <a:lnTo>
                    <a:pt x="1286" y="18"/>
                  </a:lnTo>
                  <a:lnTo>
                    <a:pt x="1278" y="20"/>
                  </a:lnTo>
                  <a:lnTo>
                    <a:pt x="1268" y="18"/>
                  </a:lnTo>
                  <a:lnTo>
                    <a:pt x="1252" y="16"/>
                  </a:lnTo>
                  <a:lnTo>
                    <a:pt x="1232" y="8"/>
                  </a:lnTo>
                  <a:lnTo>
                    <a:pt x="1216" y="2"/>
                  </a:lnTo>
                  <a:lnTo>
                    <a:pt x="1208" y="2"/>
                  </a:lnTo>
                  <a:lnTo>
                    <a:pt x="1208" y="4"/>
                  </a:lnTo>
                  <a:lnTo>
                    <a:pt x="1212" y="10"/>
                  </a:lnTo>
                  <a:lnTo>
                    <a:pt x="1216" y="16"/>
                  </a:lnTo>
                  <a:lnTo>
                    <a:pt x="1216" y="20"/>
                  </a:lnTo>
                  <a:lnTo>
                    <a:pt x="1216" y="22"/>
                  </a:lnTo>
                  <a:lnTo>
                    <a:pt x="1212" y="22"/>
                  </a:lnTo>
                  <a:lnTo>
                    <a:pt x="1200" y="16"/>
                  </a:lnTo>
                  <a:lnTo>
                    <a:pt x="1188" y="12"/>
                  </a:lnTo>
                  <a:lnTo>
                    <a:pt x="1182" y="12"/>
                  </a:lnTo>
                  <a:lnTo>
                    <a:pt x="1184" y="14"/>
                  </a:lnTo>
                  <a:lnTo>
                    <a:pt x="1188" y="18"/>
                  </a:lnTo>
                  <a:lnTo>
                    <a:pt x="1192" y="24"/>
                  </a:lnTo>
                  <a:lnTo>
                    <a:pt x="1194" y="28"/>
                  </a:lnTo>
                  <a:lnTo>
                    <a:pt x="1194" y="30"/>
                  </a:lnTo>
                  <a:lnTo>
                    <a:pt x="1190" y="30"/>
                  </a:lnTo>
                  <a:lnTo>
                    <a:pt x="1180" y="28"/>
                  </a:lnTo>
                  <a:lnTo>
                    <a:pt x="1166" y="26"/>
                  </a:lnTo>
                  <a:lnTo>
                    <a:pt x="1154" y="24"/>
                  </a:lnTo>
                  <a:lnTo>
                    <a:pt x="1148" y="24"/>
                  </a:lnTo>
                  <a:lnTo>
                    <a:pt x="1142" y="26"/>
                  </a:lnTo>
                  <a:lnTo>
                    <a:pt x="1142" y="30"/>
                  </a:lnTo>
                  <a:lnTo>
                    <a:pt x="1144" y="34"/>
                  </a:lnTo>
                  <a:lnTo>
                    <a:pt x="1148" y="38"/>
                  </a:lnTo>
                  <a:lnTo>
                    <a:pt x="1156" y="42"/>
                  </a:lnTo>
                  <a:close/>
                  <a:moveTo>
                    <a:pt x="388" y="1446"/>
                  </a:moveTo>
                  <a:lnTo>
                    <a:pt x="388" y="1446"/>
                  </a:lnTo>
                  <a:lnTo>
                    <a:pt x="384" y="1448"/>
                  </a:lnTo>
                  <a:lnTo>
                    <a:pt x="384" y="1450"/>
                  </a:lnTo>
                  <a:lnTo>
                    <a:pt x="384" y="1452"/>
                  </a:lnTo>
                  <a:lnTo>
                    <a:pt x="386" y="1456"/>
                  </a:lnTo>
                  <a:lnTo>
                    <a:pt x="388" y="1454"/>
                  </a:lnTo>
                  <a:lnTo>
                    <a:pt x="390" y="1452"/>
                  </a:lnTo>
                  <a:lnTo>
                    <a:pt x="390" y="1448"/>
                  </a:lnTo>
                  <a:lnTo>
                    <a:pt x="388" y="1446"/>
                  </a:lnTo>
                  <a:close/>
                  <a:moveTo>
                    <a:pt x="164" y="1358"/>
                  </a:moveTo>
                  <a:lnTo>
                    <a:pt x="164" y="1358"/>
                  </a:lnTo>
                  <a:lnTo>
                    <a:pt x="166" y="1356"/>
                  </a:lnTo>
                  <a:lnTo>
                    <a:pt x="168" y="1358"/>
                  </a:lnTo>
                  <a:lnTo>
                    <a:pt x="170" y="1356"/>
                  </a:lnTo>
                  <a:lnTo>
                    <a:pt x="172" y="1354"/>
                  </a:lnTo>
                  <a:lnTo>
                    <a:pt x="170" y="1354"/>
                  </a:lnTo>
                  <a:lnTo>
                    <a:pt x="168" y="1350"/>
                  </a:lnTo>
                  <a:lnTo>
                    <a:pt x="164" y="1346"/>
                  </a:lnTo>
                  <a:lnTo>
                    <a:pt x="164" y="1348"/>
                  </a:lnTo>
                  <a:lnTo>
                    <a:pt x="164" y="1350"/>
                  </a:lnTo>
                  <a:lnTo>
                    <a:pt x="164" y="1352"/>
                  </a:lnTo>
                  <a:lnTo>
                    <a:pt x="164" y="1354"/>
                  </a:lnTo>
                  <a:lnTo>
                    <a:pt x="164" y="1358"/>
                  </a:lnTo>
                  <a:close/>
                  <a:moveTo>
                    <a:pt x="148" y="1644"/>
                  </a:moveTo>
                  <a:lnTo>
                    <a:pt x="148" y="1644"/>
                  </a:lnTo>
                  <a:lnTo>
                    <a:pt x="150" y="1642"/>
                  </a:lnTo>
                  <a:lnTo>
                    <a:pt x="150" y="1640"/>
                  </a:lnTo>
                  <a:lnTo>
                    <a:pt x="152" y="1636"/>
                  </a:lnTo>
                  <a:lnTo>
                    <a:pt x="156" y="1634"/>
                  </a:lnTo>
                  <a:lnTo>
                    <a:pt x="160" y="1634"/>
                  </a:lnTo>
                  <a:lnTo>
                    <a:pt x="162" y="1634"/>
                  </a:lnTo>
                  <a:lnTo>
                    <a:pt x="162" y="1632"/>
                  </a:lnTo>
                  <a:lnTo>
                    <a:pt x="162" y="1630"/>
                  </a:lnTo>
                  <a:lnTo>
                    <a:pt x="164" y="1630"/>
                  </a:lnTo>
                  <a:lnTo>
                    <a:pt x="166" y="1628"/>
                  </a:lnTo>
                  <a:lnTo>
                    <a:pt x="166" y="1626"/>
                  </a:lnTo>
                  <a:lnTo>
                    <a:pt x="164" y="1624"/>
                  </a:lnTo>
                  <a:lnTo>
                    <a:pt x="166" y="1622"/>
                  </a:lnTo>
                  <a:lnTo>
                    <a:pt x="164" y="1620"/>
                  </a:lnTo>
                  <a:lnTo>
                    <a:pt x="166" y="1618"/>
                  </a:lnTo>
                  <a:lnTo>
                    <a:pt x="168" y="1618"/>
                  </a:lnTo>
                  <a:lnTo>
                    <a:pt x="170" y="1618"/>
                  </a:lnTo>
                  <a:lnTo>
                    <a:pt x="174" y="1616"/>
                  </a:lnTo>
                  <a:lnTo>
                    <a:pt x="176" y="1614"/>
                  </a:lnTo>
                  <a:lnTo>
                    <a:pt x="172" y="1614"/>
                  </a:lnTo>
                  <a:lnTo>
                    <a:pt x="168" y="1614"/>
                  </a:lnTo>
                  <a:lnTo>
                    <a:pt x="172" y="1610"/>
                  </a:lnTo>
                  <a:lnTo>
                    <a:pt x="174" y="1606"/>
                  </a:lnTo>
                  <a:lnTo>
                    <a:pt x="174" y="1600"/>
                  </a:lnTo>
                  <a:lnTo>
                    <a:pt x="172" y="1598"/>
                  </a:lnTo>
                  <a:lnTo>
                    <a:pt x="170" y="1598"/>
                  </a:lnTo>
                  <a:lnTo>
                    <a:pt x="164" y="1602"/>
                  </a:lnTo>
                  <a:lnTo>
                    <a:pt x="158" y="1606"/>
                  </a:lnTo>
                  <a:lnTo>
                    <a:pt x="150" y="1610"/>
                  </a:lnTo>
                  <a:lnTo>
                    <a:pt x="148" y="1612"/>
                  </a:lnTo>
                  <a:lnTo>
                    <a:pt x="148" y="1614"/>
                  </a:lnTo>
                  <a:lnTo>
                    <a:pt x="148" y="1616"/>
                  </a:lnTo>
                  <a:lnTo>
                    <a:pt x="148" y="1620"/>
                  </a:lnTo>
                  <a:lnTo>
                    <a:pt x="146" y="1620"/>
                  </a:lnTo>
                  <a:lnTo>
                    <a:pt x="144" y="1618"/>
                  </a:lnTo>
                  <a:lnTo>
                    <a:pt x="142" y="1616"/>
                  </a:lnTo>
                  <a:lnTo>
                    <a:pt x="140" y="1616"/>
                  </a:lnTo>
                  <a:lnTo>
                    <a:pt x="136" y="1622"/>
                  </a:lnTo>
                  <a:lnTo>
                    <a:pt x="136" y="1624"/>
                  </a:lnTo>
                  <a:lnTo>
                    <a:pt x="138" y="1628"/>
                  </a:lnTo>
                  <a:lnTo>
                    <a:pt x="140" y="1630"/>
                  </a:lnTo>
                  <a:lnTo>
                    <a:pt x="138" y="1632"/>
                  </a:lnTo>
                  <a:lnTo>
                    <a:pt x="144" y="1636"/>
                  </a:lnTo>
                  <a:lnTo>
                    <a:pt x="146" y="1636"/>
                  </a:lnTo>
                  <a:lnTo>
                    <a:pt x="142" y="1638"/>
                  </a:lnTo>
                  <a:lnTo>
                    <a:pt x="138" y="1642"/>
                  </a:lnTo>
                  <a:lnTo>
                    <a:pt x="136" y="1644"/>
                  </a:lnTo>
                  <a:lnTo>
                    <a:pt x="138" y="1646"/>
                  </a:lnTo>
                  <a:lnTo>
                    <a:pt x="140" y="1648"/>
                  </a:lnTo>
                  <a:lnTo>
                    <a:pt x="142" y="1648"/>
                  </a:lnTo>
                  <a:lnTo>
                    <a:pt x="144" y="1644"/>
                  </a:lnTo>
                  <a:lnTo>
                    <a:pt x="148" y="1644"/>
                  </a:lnTo>
                  <a:close/>
                  <a:moveTo>
                    <a:pt x="84" y="2020"/>
                  </a:moveTo>
                  <a:lnTo>
                    <a:pt x="84" y="2020"/>
                  </a:lnTo>
                  <a:lnTo>
                    <a:pt x="88" y="2008"/>
                  </a:lnTo>
                  <a:lnTo>
                    <a:pt x="90" y="2008"/>
                  </a:lnTo>
                  <a:lnTo>
                    <a:pt x="92" y="2012"/>
                  </a:lnTo>
                  <a:lnTo>
                    <a:pt x="94" y="2014"/>
                  </a:lnTo>
                  <a:lnTo>
                    <a:pt x="96" y="2014"/>
                  </a:lnTo>
                  <a:lnTo>
                    <a:pt x="106" y="2008"/>
                  </a:lnTo>
                  <a:lnTo>
                    <a:pt x="120" y="2000"/>
                  </a:lnTo>
                  <a:lnTo>
                    <a:pt x="126" y="1996"/>
                  </a:lnTo>
                  <a:lnTo>
                    <a:pt x="132" y="1994"/>
                  </a:lnTo>
                  <a:lnTo>
                    <a:pt x="142" y="1992"/>
                  </a:lnTo>
                  <a:lnTo>
                    <a:pt x="148" y="1990"/>
                  </a:lnTo>
                  <a:lnTo>
                    <a:pt x="152" y="1990"/>
                  </a:lnTo>
                  <a:lnTo>
                    <a:pt x="160" y="1990"/>
                  </a:lnTo>
                  <a:lnTo>
                    <a:pt x="166" y="1992"/>
                  </a:lnTo>
                  <a:lnTo>
                    <a:pt x="168" y="1988"/>
                  </a:lnTo>
                  <a:lnTo>
                    <a:pt x="168" y="1980"/>
                  </a:lnTo>
                  <a:lnTo>
                    <a:pt x="168" y="1974"/>
                  </a:lnTo>
                  <a:lnTo>
                    <a:pt x="172" y="1966"/>
                  </a:lnTo>
                  <a:lnTo>
                    <a:pt x="176" y="1958"/>
                  </a:lnTo>
                  <a:lnTo>
                    <a:pt x="178" y="1950"/>
                  </a:lnTo>
                  <a:lnTo>
                    <a:pt x="180" y="1934"/>
                  </a:lnTo>
                  <a:lnTo>
                    <a:pt x="178" y="1920"/>
                  </a:lnTo>
                  <a:lnTo>
                    <a:pt x="174" y="1906"/>
                  </a:lnTo>
                  <a:lnTo>
                    <a:pt x="168" y="1888"/>
                  </a:lnTo>
                  <a:lnTo>
                    <a:pt x="166" y="1884"/>
                  </a:lnTo>
                  <a:lnTo>
                    <a:pt x="170" y="1884"/>
                  </a:lnTo>
                  <a:lnTo>
                    <a:pt x="172" y="1882"/>
                  </a:lnTo>
                  <a:lnTo>
                    <a:pt x="172" y="1880"/>
                  </a:lnTo>
                  <a:lnTo>
                    <a:pt x="168" y="1874"/>
                  </a:lnTo>
                  <a:lnTo>
                    <a:pt x="172" y="1874"/>
                  </a:lnTo>
                  <a:lnTo>
                    <a:pt x="176" y="1876"/>
                  </a:lnTo>
                  <a:lnTo>
                    <a:pt x="178" y="1878"/>
                  </a:lnTo>
                  <a:lnTo>
                    <a:pt x="180" y="1878"/>
                  </a:lnTo>
                  <a:lnTo>
                    <a:pt x="186" y="1870"/>
                  </a:lnTo>
                  <a:lnTo>
                    <a:pt x="190" y="1866"/>
                  </a:lnTo>
                  <a:lnTo>
                    <a:pt x="194" y="1866"/>
                  </a:lnTo>
                  <a:lnTo>
                    <a:pt x="196" y="1864"/>
                  </a:lnTo>
                  <a:lnTo>
                    <a:pt x="198" y="1862"/>
                  </a:lnTo>
                  <a:lnTo>
                    <a:pt x="196" y="1858"/>
                  </a:lnTo>
                  <a:lnTo>
                    <a:pt x="194" y="1858"/>
                  </a:lnTo>
                  <a:lnTo>
                    <a:pt x="192" y="1858"/>
                  </a:lnTo>
                  <a:lnTo>
                    <a:pt x="194" y="1854"/>
                  </a:lnTo>
                  <a:lnTo>
                    <a:pt x="196" y="1850"/>
                  </a:lnTo>
                  <a:lnTo>
                    <a:pt x="196" y="1848"/>
                  </a:lnTo>
                  <a:lnTo>
                    <a:pt x="196" y="1850"/>
                  </a:lnTo>
                  <a:lnTo>
                    <a:pt x="200" y="1858"/>
                  </a:lnTo>
                  <a:lnTo>
                    <a:pt x="202" y="1858"/>
                  </a:lnTo>
                  <a:lnTo>
                    <a:pt x="204" y="1856"/>
                  </a:lnTo>
                  <a:lnTo>
                    <a:pt x="204" y="1850"/>
                  </a:lnTo>
                  <a:lnTo>
                    <a:pt x="202" y="1844"/>
                  </a:lnTo>
                  <a:lnTo>
                    <a:pt x="198" y="1840"/>
                  </a:lnTo>
                  <a:lnTo>
                    <a:pt x="196" y="1838"/>
                  </a:lnTo>
                  <a:lnTo>
                    <a:pt x="194" y="1838"/>
                  </a:lnTo>
                  <a:lnTo>
                    <a:pt x="186" y="1840"/>
                  </a:lnTo>
                  <a:lnTo>
                    <a:pt x="184" y="1840"/>
                  </a:lnTo>
                  <a:lnTo>
                    <a:pt x="186" y="1838"/>
                  </a:lnTo>
                  <a:lnTo>
                    <a:pt x="192" y="1834"/>
                  </a:lnTo>
                  <a:lnTo>
                    <a:pt x="194" y="1832"/>
                  </a:lnTo>
                  <a:lnTo>
                    <a:pt x="192" y="1828"/>
                  </a:lnTo>
                  <a:lnTo>
                    <a:pt x="190" y="1828"/>
                  </a:lnTo>
                  <a:lnTo>
                    <a:pt x="186" y="1826"/>
                  </a:lnTo>
                  <a:lnTo>
                    <a:pt x="182" y="1820"/>
                  </a:lnTo>
                  <a:lnTo>
                    <a:pt x="176" y="1808"/>
                  </a:lnTo>
                  <a:lnTo>
                    <a:pt x="174" y="1806"/>
                  </a:lnTo>
                  <a:lnTo>
                    <a:pt x="172" y="1804"/>
                  </a:lnTo>
                  <a:lnTo>
                    <a:pt x="164" y="1806"/>
                  </a:lnTo>
                  <a:lnTo>
                    <a:pt x="156" y="1808"/>
                  </a:lnTo>
                  <a:lnTo>
                    <a:pt x="148" y="1808"/>
                  </a:lnTo>
                  <a:lnTo>
                    <a:pt x="142" y="1810"/>
                  </a:lnTo>
                  <a:lnTo>
                    <a:pt x="140" y="1812"/>
                  </a:lnTo>
                  <a:lnTo>
                    <a:pt x="138" y="1814"/>
                  </a:lnTo>
                  <a:lnTo>
                    <a:pt x="130" y="1816"/>
                  </a:lnTo>
                  <a:lnTo>
                    <a:pt x="126" y="1818"/>
                  </a:lnTo>
                  <a:lnTo>
                    <a:pt x="124" y="1822"/>
                  </a:lnTo>
                  <a:lnTo>
                    <a:pt x="122" y="1828"/>
                  </a:lnTo>
                  <a:lnTo>
                    <a:pt x="120" y="1834"/>
                  </a:lnTo>
                  <a:lnTo>
                    <a:pt x="116" y="1836"/>
                  </a:lnTo>
                  <a:lnTo>
                    <a:pt x="112" y="1836"/>
                  </a:lnTo>
                  <a:lnTo>
                    <a:pt x="116" y="1836"/>
                  </a:lnTo>
                  <a:lnTo>
                    <a:pt x="120" y="1832"/>
                  </a:lnTo>
                  <a:lnTo>
                    <a:pt x="122" y="1826"/>
                  </a:lnTo>
                  <a:lnTo>
                    <a:pt x="124" y="1818"/>
                  </a:lnTo>
                  <a:lnTo>
                    <a:pt x="128" y="1816"/>
                  </a:lnTo>
                  <a:lnTo>
                    <a:pt x="132" y="1814"/>
                  </a:lnTo>
                  <a:lnTo>
                    <a:pt x="132" y="1810"/>
                  </a:lnTo>
                  <a:lnTo>
                    <a:pt x="134" y="1808"/>
                  </a:lnTo>
                  <a:lnTo>
                    <a:pt x="138" y="1806"/>
                  </a:lnTo>
                  <a:lnTo>
                    <a:pt x="140" y="1804"/>
                  </a:lnTo>
                  <a:lnTo>
                    <a:pt x="134" y="1798"/>
                  </a:lnTo>
                  <a:lnTo>
                    <a:pt x="130" y="1796"/>
                  </a:lnTo>
                  <a:lnTo>
                    <a:pt x="126" y="1796"/>
                  </a:lnTo>
                  <a:lnTo>
                    <a:pt x="124" y="1798"/>
                  </a:lnTo>
                  <a:lnTo>
                    <a:pt x="122" y="1800"/>
                  </a:lnTo>
                  <a:lnTo>
                    <a:pt x="118" y="1804"/>
                  </a:lnTo>
                  <a:lnTo>
                    <a:pt x="116" y="1804"/>
                  </a:lnTo>
                  <a:lnTo>
                    <a:pt x="112" y="1804"/>
                  </a:lnTo>
                  <a:lnTo>
                    <a:pt x="104" y="1806"/>
                  </a:lnTo>
                  <a:lnTo>
                    <a:pt x="94" y="1810"/>
                  </a:lnTo>
                  <a:lnTo>
                    <a:pt x="86" y="1816"/>
                  </a:lnTo>
                  <a:lnTo>
                    <a:pt x="84" y="1820"/>
                  </a:lnTo>
                  <a:lnTo>
                    <a:pt x="84" y="1824"/>
                  </a:lnTo>
                  <a:lnTo>
                    <a:pt x="84" y="1828"/>
                  </a:lnTo>
                  <a:lnTo>
                    <a:pt x="82" y="1830"/>
                  </a:lnTo>
                  <a:lnTo>
                    <a:pt x="76" y="1834"/>
                  </a:lnTo>
                  <a:lnTo>
                    <a:pt x="70" y="1836"/>
                  </a:lnTo>
                  <a:lnTo>
                    <a:pt x="68" y="1838"/>
                  </a:lnTo>
                  <a:lnTo>
                    <a:pt x="68" y="1840"/>
                  </a:lnTo>
                  <a:lnTo>
                    <a:pt x="70" y="1842"/>
                  </a:lnTo>
                  <a:lnTo>
                    <a:pt x="76" y="1842"/>
                  </a:lnTo>
                  <a:lnTo>
                    <a:pt x="86" y="1842"/>
                  </a:lnTo>
                  <a:lnTo>
                    <a:pt x="94" y="1844"/>
                  </a:lnTo>
                  <a:lnTo>
                    <a:pt x="94" y="1846"/>
                  </a:lnTo>
                  <a:lnTo>
                    <a:pt x="90" y="1848"/>
                  </a:lnTo>
                  <a:lnTo>
                    <a:pt x="82" y="1856"/>
                  </a:lnTo>
                  <a:lnTo>
                    <a:pt x="78" y="1862"/>
                  </a:lnTo>
                  <a:lnTo>
                    <a:pt x="74" y="1866"/>
                  </a:lnTo>
                  <a:lnTo>
                    <a:pt x="70" y="1866"/>
                  </a:lnTo>
                  <a:lnTo>
                    <a:pt x="62" y="1864"/>
                  </a:lnTo>
                  <a:lnTo>
                    <a:pt x="58" y="1866"/>
                  </a:lnTo>
                  <a:lnTo>
                    <a:pt x="54" y="1866"/>
                  </a:lnTo>
                  <a:lnTo>
                    <a:pt x="48" y="1864"/>
                  </a:lnTo>
                  <a:lnTo>
                    <a:pt x="40" y="1860"/>
                  </a:lnTo>
                  <a:lnTo>
                    <a:pt x="30" y="1860"/>
                  </a:lnTo>
                  <a:lnTo>
                    <a:pt x="22" y="1862"/>
                  </a:lnTo>
                  <a:lnTo>
                    <a:pt x="14" y="1868"/>
                  </a:lnTo>
                  <a:lnTo>
                    <a:pt x="14" y="1870"/>
                  </a:lnTo>
                  <a:lnTo>
                    <a:pt x="18" y="1870"/>
                  </a:lnTo>
                  <a:lnTo>
                    <a:pt x="20" y="1870"/>
                  </a:lnTo>
                  <a:lnTo>
                    <a:pt x="20" y="1872"/>
                  </a:lnTo>
                  <a:lnTo>
                    <a:pt x="20" y="1874"/>
                  </a:lnTo>
                  <a:lnTo>
                    <a:pt x="18" y="1878"/>
                  </a:lnTo>
                  <a:lnTo>
                    <a:pt x="16" y="1884"/>
                  </a:lnTo>
                  <a:lnTo>
                    <a:pt x="18" y="1886"/>
                  </a:lnTo>
                  <a:lnTo>
                    <a:pt x="22" y="1888"/>
                  </a:lnTo>
                  <a:lnTo>
                    <a:pt x="28" y="1888"/>
                  </a:lnTo>
                  <a:lnTo>
                    <a:pt x="38" y="1888"/>
                  </a:lnTo>
                  <a:lnTo>
                    <a:pt x="38" y="1890"/>
                  </a:lnTo>
                  <a:lnTo>
                    <a:pt x="34" y="1892"/>
                  </a:lnTo>
                  <a:lnTo>
                    <a:pt x="24" y="1898"/>
                  </a:lnTo>
                  <a:lnTo>
                    <a:pt x="22" y="1900"/>
                  </a:lnTo>
                  <a:lnTo>
                    <a:pt x="20" y="1904"/>
                  </a:lnTo>
                  <a:lnTo>
                    <a:pt x="16" y="1908"/>
                  </a:lnTo>
                  <a:lnTo>
                    <a:pt x="14" y="1912"/>
                  </a:lnTo>
                  <a:lnTo>
                    <a:pt x="16" y="1914"/>
                  </a:lnTo>
                  <a:lnTo>
                    <a:pt x="24" y="1922"/>
                  </a:lnTo>
                  <a:lnTo>
                    <a:pt x="36" y="1928"/>
                  </a:lnTo>
                  <a:lnTo>
                    <a:pt x="40" y="1928"/>
                  </a:lnTo>
                  <a:lnTo>
                    <a:pt x="44" y="1928"/>
                  </a:lnTo>
                  <a:lnTo>
                    <a:pt x="52" y="1926"/>
                  </a:lnTo>
                  <a:lnTo>
                    <a:pt x="58" y="1928"/>
                  </a:lnTo>
                  <a:lnTo>
                    <a:pt x="60" y="1928"/>
                  </a:lnTo>
                  <a:lnTo>
                    <a:pt x="60" y="1930"/>
                  </a:lnTo>
                  <a:lnTo>
                    <a:pt x="50" y="1934"/>
                  </a:lnTo>
                  <a:lnTo>
                    <a:pt x="44" y="1936"/>
                  </a:lnTo>
                  <a:lnTo>
                    <a:pt x="42" y="1938"/>
                  </a:lnTo>
                  <a:lnTo>
                    <a:pt x="42" y="1940"/>
                  </a:lnTo>
                  <a:lnTo>
                    <a:pt x="42" y="1944"/>
                  </a:lnTo>
                  <a:lnTo>
                    <a:pt x="42" y="1948"/>
                  </a:lnTo>
                  <a:lnTo>
                    <a:pt x="40" y="1952"/>
                  </a:lnTo>
                  <a:lnTo>
                    <a:pt x="36" y="1956"/>
                  </a:lnTo>
                  <a:lnTo>
                    <a:pt x="28" y="1962"/>
                  </a:lnTo>
                  <a:lnTo>
                    <a:pt x="22" y="1966"/>
                  </a:lnTo>
                  <a:lnTo>
                    <a:pt x="22" y="1968"/>
                  </a:lnTo>
                  <a:lnTo>
                    <a:pt x="26" y="1968"/>
                  </a:lnTo>
                  <a:lnTo>
                    <a:pt x="30" y="1968"/>
                  </a:lnTo>
                  <a:lnTo>
                    <a:pt x="58" y="1960"/>
                  </a:lnTo>
                  <a:lnTo>
                    <a:pt x="64" y="1960"/>
                  </a:lnTo>
                  <a:lnTo>
                    <a:pt x="66" y="1960"/>
                  </a:lnTo>
                  <a:lnTo>
                    <a:pt x="66" y="1962"/>
                  </a:lnTo>
                  <a:lnTo>
                    <a:pt x="66" y="1964"/>
                  </a:lnTo>
                  <a:lnTo>
                    <a:pt x="62" y="1966"/>
                  </a:lnTo>
                  <a:lnTo>
                    <a:pt x="50" y="1968"/>
                  </a:lnTo>
                  <a:lnTo>
                    <a:pt x="36" y="1970"/>
                  </a:lnTo>
                  <a:lnTo>
                    <a:pt x="28" y="1974"/>
                  </a:lnTo>
                  <a:lnTo>
                    <a:pt x="24" y="1978"/>
                  </a:lnTo>
                  <a:lnTo>
                    <a:pt x="26" y="1982"/>
                  </a:lnTo>
                  <a:lnTo>
                    <a:pt x="28" y="1984"/>
                  </a:lnTo>
                  <a:lnTo>
                    <a:pt x="26" y="1986"/>
                  </a:lnTo>
                  <a:lnTo>
                    <a:pt x="22" y="1984"/>
                  </a:lnTo>
                  <a:lnTo>
                    <a:pt x="14" y="1984"/>
                  </a:lnTo>
                  <a:lnTo>
                    <a:pt x="10" y="1986"/>
                  </a:lnTo>
                  <a:lnTo>
                    <a:pt x="4" y="1988"/>
                  </a:lnTo>
                  <a:lnTo>
                    <a:pt x="0" y="1994"/>
                  </a:lnTo>
                  <a:lnTo>
                    <a:pt x="0" y="1996"/>
                  </a:lnTo>
                  <a:lnTo>
                    <a:pt x="2" y="1996"/>
                  </a:lnTo>
                  <a:lnTo>
                    <a:pt x="6" y="1996"/>
                  </a:lnTo>
                  <a:lnTo>
                    <a:pt x="10" y="1996"/>
                  </a:lnTo>
                  <a:lnTo>
                    <a:pt x="14" y="1996"/>
                  </a:lnTo>
                  <a:lnTo>
                    <a:pt x="14" y="2000"/>
                  </a:lnTo>
                  <a:lnTo>
                    <a:pt x="10" y="2004"/>
                  </a:lnTo>
                  <a:lnTo>
                    <a:pt x="6" y="2010"/>
                  </a:lnTo>
                  <a:lnTo>
                    <a:pt x="4" y="2012"/>
                  </a:lnTo>
                  <a:lnTo>
                    <a:pt x="8" y="2014"/>
                  </a:lnTo>
                  <a:lnTo>
                    <a:pt x="12" y="2016"/>
                  </a:lnTo>
                  <a:lnTo>
                    <a:pt x="18" y="2018"/>
                  </a:lnTo>
                  <a:lnTo>
                    <a:pt x="20" y="2020"/>
                  </a:lnTo>
                  <a:lnTo>
                    <a:pt x="16" y="2024"/>
                  </a:lnTo>
                  <a:lnTo>
                    <a:pt x="14" y="2026"/>
                  </a:lnTo>
                  <a:lnTo>
                    <a:pt x="16" y="2026"/>
                  </a:lnTo>
                  <a:lnTo>
                    <a:pt x="28" y="2022"/>
                  </a:lnTo>
                  <a:lnTo>
                    <a:pt x="36" y="2020"/>
                  </a:lnTo>
                  <a:lnTo>
                    <a:pt x="36" y="2022"/>
                  </a:lnTo>
                  <a:lnTo>
                    <a:pt x="30" y="2026"/>
                  </a:lnTo>
                  <a:lnTo>
                    <a:pt x="28" y="2030"/>
                  </a:lnTo>
                  <a:lnTo>
                    <a:pt x="28" y="2032"/>
                  </a:lnTo>
                  <a:lnTo>
                    <a:pt x="30" y="2034"/>
                  </a:lnTo>
                  <a:lnTo>
                    <a:pt x="38" y="2034"/>
                  </a:lnTo>
                  <a:lnTo>
                    <a:pt x="48" y="2032"/>
                  </a:lnTo>
                  <a:lnTo>
                    <a:pt x="70" y="2028"/>
                  </a:lnTo>
                  <a:lnTo>
                    <a:pt x="78" y="2024"/>
                  </a:lnTo>
                  <a:lnTo>
                    <a:pt x="84" y="2020"/>
                  </a:lnTo>
                  <a:close/>
                  <a:moveTo>
                    <a:pt x="154" y="1672"/>
                  </a:moveTo>
                  <a:lnTo>
                    <a:pt x="154" y="1672"/>
                  </a:lnTo>
                  <a:lnTo>
                    <a:pt x="156" y="1672"/>
                  </a:lnTo>
                  <a:lnTo>
                    <a:pt x="158" y="1670"/>
                  </a:lnTo>
                  <a:lnTo>
                    <a:pt x="162" y="1672"/>
                  </a:lnTo>
                  <a:lnTo>
                    <a:pt x="162" y="1674"/>
                  </a:lnTo>
                  <a:lnTo>
                    <a:pt x="162" y="1676"/>
                  </a:lnTo>
                  <a:lnTo>
                    <a:pt x="162" y="1678"/>
                  </a:lnTo>
                  <a:lnTo>
                    <a:pt x="164" y="1682"/>
                  </a:lnTo>
                  <a:lnTo>
                    <a:pt x="168" y="1684"/>
                  </a:lnTo>
                  <a:lnTo>
                    <a:pt x="170" y="1684"/>
                  </a:lnTo>
                  <a:lnTo>
                    <a:pt x="174" y="1682"/>
                  </a:lnTo>
                  <a:lnTo>
                    <a:pt x="180" y="1682"/>
                  </a:lnTo>
                  <a:lnTo>
                    <a:pt x="182" y="1684"/>
                  </a:lnTo>
                  <a:lnTo>
                    <a:pt x="182" y="1688"/>
                  </a:lnTo>
                  <a:lnTo>
                    <a:pt x="180" y="1692"/>
                  </a:lnTo>
                  <a:lnTo>
                    <a:pt x="180" y="1694"/>
                  </a:lnTo>
                  <a:lnTo>
                    <a:pt x="182" y="1692"/>
                  </a:lnTo>
                  <a:lnTo>
                    <a:pt x="186" y="1688"/>
                  </a:lnTo>
                  <a:lnTo>
                    <a:pt x="192" y="1678"/>
                  </a:lnTo>
                  <a:lnTo>
                    <a:pt x="192" y="1676"/>
                  </a:lnTo>
                  <a:lnTo>
                    <a:pt x="190" y="1676"/>
                  </a:lnTo>
                  <a:lnTo>
                    <a:pt x="184" y="1678"/>
                  </a:lnTo>
                  <a:lnTo>
                    <a:pt x="180" y="1676"/>
                  </a:lnTo>
                  <a:lnTo>
                    <a:pt x="178" y="1674"/>
                  </a:lnTo>
                  <a:lnTo>
                    <a:pt x="176" y="1672"/>
                  </a:lnTo>
                  <a:lnTo>
                    <a:pt x="174" y="1662"/>
                  </a:lnTo>
                  <a:lnTo>
                    <a:pt x="172" y="1654"/>
                  </a:lnTo>
                  <a:lnTo>
                    <a:pt x="170" y="1652"/>
                  </a:lnTo>
                  <a:lnTo>
                    <a:pt x="168" y="1650"/>
                  </a:lnTo>
                  <a:lnTo>
                    <a:pt x="166" y="1650"/>
                  </a:lnTo>
                  <a:lnTo>
                    <a:pt x="166" y="1652"/>
                  </a:lnTo>
                  <a:lnTo>
                    <a:pt x="166" y="1656"/>
                  </a:lnTo>
                  <a:lnTo>
                    <a:pt x="166" y="1662"/>
                  </a:lnTo>
                  <a:lnTo>
                    <a:pt x="166" y="1664"/>
                  </a:lnTo>
                  <a:lnTo>
                    <a:pt x="162" y="1664"/>
                  </a:lnTo>
                  <a:lnTo>
                    <a:pt x="160" y="1660"/>
                  </a:lnTo>
                  <a:lnTo>
                    <a:pt x="158" y="1658"/>
                  </a:lnTo>
                  <a:lnTo>
                    <a:pt x="154" y="1656"/>
                  </a:lnTo>
                  <a:lnTo>
                    <a:pt x="154" y="1658"/>
                  </a:lnTo>
                  <a:lnTo>
                    <a:pt x="154" y="1660"/>
                  </a:lnTo>
                  <a:lnTo>
                    <a:pt x="156" y="1664"/>
                  </a:lnTo>
                  <a:lnTo>
                    <a:pt x="154" y="1666"/>
                  </a:lnTo>
                  <a:lnTo>
                    <a:pt x="150" y="1666"/>
                  </a:lnTo>
                  <a:lnTo>
                    <a:pt x="150" y="1668"/>
                  </a:lnTo>
                  <a:lnTo>
                    <a:pt x="154" y="1672"/>
                  </a:lnTo>
                  <a:close/>
                  <a:moveTo>
                    <a:pt x="146" y="1346"/>
                  </a:moveTo>
                  <a:lnTo>
                    <a:pt x="146" y="1346"/>
                  </a:lnTo>
                  <a:lnTo>
                    <a:pt x="142" y="1346"/>
                  </a:lnTo>
                  <a:lnTo>
                    <a:pt x="144" y="1352"/>
                  </a:lnTo>
                  <a:lnTo>
                    <a:pt x="148" y="1358"/>
                  </a:lnTo>
                  <a:lnTo>
                    <a:pt x="154" y="1362"/>
                  </a:lnTo>
                  <a:lnTo>
                    <a:pt x="158" y="1364"/>
                  </a:lnTo>
                  <a:lnTo>
                    <a:pt x="160" y="1364"/>
                  </a:lnTo>
                  <a:lnTo>
                    <a:pt x="162" y="1362"/>
                  </a:lnTo>
                  <a:lnTo>
                    <a:pt x="160" y="1360"/>
                  </a:lnTo>
                  <a:lnTo>
                    <a:pt x="158" y="1358"/>
                  </a:lnTo>
                  <a:lnTo>
                    <a:pt x="160" y="1358"/>
                  </a:lnTo>
                  <a:lnTo>
                    <a:pt x="160" y="1356"/>
                  </a:lnTo>
                  <a:lnTo>
                    <a:pt x="158" y="1356"/>
                  </a:lnTo>
                  <a:lnTo>
                    <a:pt x="154" y="1354"/>
                  </a:lnTo>
                  <a:lnTo>
                    <a:pt x="154" y="1352"/>
                  </a:lnTo>
                  <a:lnTo>
                    <a:pt x="154" y="1350"/>
                  </a:lnTo>
                  <a:lnTo>
                    <a:pt x="152" y="1350"/>
                  </a:lnTo>
                  <a:lnTo>
                    <a:pt x="148" y="1350"/>
                  </a:lnTo>
                  <a:lnTo>
                    <a:pt x="148" y="1348"/>
                  </a:lnTo>
                  <a:lnTo>
                    <a:pt x="148" y="1346"/>
                  </a:lnTo>
                  <a:lnTo>
                    <a:pt x="146" y="1346"/>
                  </a:lnTo>
                  <a:close/>
                  <a:moveTo>
                    <a:pt x="166" y="1740"/>
                  </a:moveTo>
                  <a:lnTo>
                    <a:pt x="166" y="1740"/>
                  </a:lnTo>
                  <a:lnTo>
                    <a:pt x="166" y="1742"/>
                  </a:lnTo>
                  <a:lnTo>
                    <a:pt x="168" y="1742"/>
                  </a:lnTo>
                  <a:lnTo>
                    <a:pt x="174" y="1740"/>
                  </a:lnTo>
                  <a:lnTo>
                    <a:pt x="188" y="1736"/>
                  </a:lnTo>
                  <a:lnTo>
                    <a:pt x="194" y="1734"/>
                  </a:lnTo>
                  <a:lnTo>
                    <a:pt x="192" y="1732"/>
                  </a:lnTo>
                  <a:lnTo>
                    <a:pt x="190" y="1728"/>
                  </a:lnTo>
                  <a:lnTo>
                    <a:pt x="184" y="1724"/>
                  </a:lnTo>
                  <a:lnTo>
                    <a:pt x="178" y="1722"/>
                  </a:lnTo>
                  <a:lnTo>
                    <a:pt x="176" y="1718"/>
                  </a:lnTo>
                  <a:lnTo>
                    <a:pt x="174" y="1718"/>
                  </a:lnTo>
                  <a:lnTo>
                    <a:pt x="170" y="1720"/>
                  </a:lnTo>
                  <a:lnTo>
                    <a:pt x="168" y="1722"/>
                  </a:lnTo>
                  <a:lnTo>
                    <a:pt x="166" y="1724"/>
                  </a:lnTo>
                  <a:lnTo>
                    <a:pt x="174" y="1728"/>
                  </a:lnTo>
                  <a:lnTo>
                    <a:pt x="176" y="1730"/>
                  </a:lnTo>
                  <a:lnTo>
                    <a:pt x="174" y="1730"/>
                  </a:lnTo>
                  <a:lnTo>
                    <a:pt x="172" y="1732"/>
                  </a:lnTo>
                  <a:lnTo>
                    <a:pt x="172" y="1734"/>
                  </a:lnTo>
                  <a:lnTo>
                    <a:pt x="172" y="1736"/>
                  </a:lnTo>
                  <a:lnTo>
                    <a:pt x="170" y="1736"/>
                  </a:lnTo>
                  <a:lnTo>
                    <a:pt x="168" y="1738"/>
                  </a:lnTo>
                  <a:lnTo>
                    <a:pt x="166" y="1740"/>
                  </a:lnTo>
                  <a:close/>
                  <a:moveTo>
                    <a:pt x="362" y="2084"/>
                  </a:moveTo>
                  <a:lnTo>
                    <a:pt x="362" y="2084"/>
                  </a:lnTo>
                  <a:lnTo>
                    <a:pt x="370" y="2088"/>
                  </a:lnTo>
                  <a:lnTo>
                    <a:pt x="376" y="2088"/>
                  </a:lnTo>
                  <a:lnTo>
                    <a:pt x="380" y="2086"/>
                  </a:lnTo>
                  <a:lnTo>
                    <a:pt x="378" y="2082"/>
                  </a:lnTo>
                  <a:lnTo>
                    <a:pt x="376" y="2080"/>
                  </a:lnTo>
                  <a:lnTo>
                    <a:pt x="372" y="2078"/>
                  </a:lnTo>
                  <a:lnTo>
                    <a:pt x="366" y="2080"/>
                  </a:lnTo>
                  <a:lnTo>
                    <a:pt x="362" y="2084"/>
                  </a:lnTo>
                  <a:close/>
                  <a:moveTo>
                    <a:pt x="174" y="1354"/>
                  </a:moveTo>
                  <a:lnTo>
                    <a:pt x="174" y="1354"/>
                  </a:lnTo>
                  <a:lnTo>
                    <a:pt x="176" y="1352"/>
                  </a:lnTo>
                  <a:lnTo>
                    <a:pt x="176" y="1350"/>
                  </a:lnTo>
                  <a:lnTo>
                    <a:pt x="174" y="1348"/>
                  </a:lnTo>
                  <a:lnTo>
                    <a:pt x="174" y="1350"/>
                  </a:lnTo>
                  <a:lnTo>
                    <a:pt x="172" y="1350"/>
                  </a:lnTo>
                  <a:lnTo>
                    <a:pt x="172" y="1352"/>
                  </a:lnTo>
                  <a:lnTo>
                    <a:pt x="174" y="1354"/>
                  </a:lnTo>
                  <a:close/>
                  <a:moveTo>
                    <a:pt x="168" y="1784"/>
                  </a:moveTo>
                  <a:lnTo>
                    <a:pt x="168" y="1784"/>
                  </a:lnTo>
                  <a:lnTo>
                    <a:pt x="170" y="1784"/>
                  </a:lnTo>
                  <a:lnTo>
                    <a:pt x="176" y="1780"/>
                  </a:lnTo>
                  <a:lnTo>
                    <a:pt x="178" y="1776"/>
                  </a:lnTo>
                  <a:lnTo>
                    <a:pt x="178" y="1772"/>
                  </a:lnTo>
                  <a:lnTo>
                    <a:pt x="176" y="1768"/>
                  </a:lnTo>
                  <a:lnTo>
                    <a:pt x="176" y="1764"/>
                  </a:lnTo>
                  <a:lnTo>
                    <a:pt x="176" y="1762"/>
                  </a:lnTo>
                  <a:lnTo>
                    <a:pt x="174" y="1762"/>
                  </a:lnTo>
                  <a:lnTo>
                    <a:pt x="172" y="1764"/>
                  </a:lnTo>
                  <a:lnTo>
                    <a:pt x="170" y="1766"/>
                  </a:lnTo>
                  <a:lnTo>
                    <a:pt x="168" y="1766"/>
                  </a:lnTo>
                  <a:lnTo>
                    <a:pt x="166" y="1764"/>
                  </a:lnTo>
                  <a:lnTo>
                    <a:pt x="166" y="1766"/>
                  </a:lnTo>
                  <a:lnTo>
                    <a:pt x="162" y="1768"/>
                  </a:lnTo>
                  <a:lnTo>
                    <a:pt x="158" y="1772"/>
                  </a:lnTo>
                  <a:lnTo>
                    <a:pt x="158" y="1774"/>
                  </a:lnTo>
                  <a:lnTo>
                    <a:pt x="160" y="1776"/>
                  </a:lnTo>
                  <a:lnTo>
                    <a:pt x="162" y="1776"/>
                  </a:lnTo>
                  <a:lnTo>
                    <a:pt x="166" y="1774"/>
                  </a:lnTo>
                  <a:lnTo>
                    <a:pt x="168" y="1774"/>
                  </a:lnTo>
                  <a:lnTo>
                    <a:pt x="170" y="1776"/>
                  </a:lnTo>
                  <a:lnTo>
                    <a:pt x="170" y="1778"/>
                  </a:lnTo>
                  <a:lnTo>
                    <a:pt x="168" y="1780"/>
                  </a:lnTo>
                  <a:lnTo>
                    <a:pt x="166" y="1782"/>
                  </a:lnTo>
                  <a:lnTo>
                    <a:pt x="168" y="1784"/>
                  </a:lnTo>
                  <a:close/>
                  <a:moveTo>
                    <a:pt x="190" y="1748"/>
                  </a:moveTo>
                  <a:lnTo>
                    <a:pt x="190" y="1748"/>
                  </a:lnTo>
                  <a:lnTo>
                    <a:pt x="186" y="1752"/>
                  </a:lnTo>
                  <a:lnTo>
                    <a:pt x="182" y="1756"/>
                  </a:lnTo>
                  <a:lnTo>
                    <a:pt x="178" y="1762"/>
                  </a:lnTo>
                  <a:lnTo>
                    <a:pt x="178" y="1768"/>
                  </a:lnTo>
                  <a:lnTo>
                    <a:pt x="180" y="1768"/>
                  </a:lnTo>
                  <a:lnTo>
                    <a:pt x="182" y="1766"/>
                  </a:lnTo>
                  <a:lnTo>
                    <a:pt x="188" y="1758"/>
                  </a:lnTo>
                  <a:lnTo>
                    <a:pt x="192" y="1750"/>
                  </a:lnTo>
                  <a:lnTo>
                    <a:pt x="192" y="1748"/>
                  </a:lnTo>
                  <a:lnTo>
                    <a:pt x="190" y="1748"/>
                  </a:lnTo>
                  <a:close/>
                  <a:moveTo>
                    <a:pt x="700" y="1324"/>
                  </a:moveTo>
                  <a:lnTo>
                    <a:pt x="700" y="1324"/>
                  </a:lnTo>
                  <a:lnTo>
                    <a:pt x="698" y="1322"/>
                  </a:lnTo>
                  <a:lnTo>
                    <a:pt x="694" y="1322"/>
                  </a:lnTo>
                  <a:lnTo>
                    <a:pt x="690" y="1324"/>
                  </a:lnTo>
                  <a:lnTo>
                    <a:pt x="690" y="1326"/>
                  </a:lnTo>
                  <a:lnTo>
                    <a:pt x="692" y="1326"/>
                  </a:lnTo>
                  <a:lnTo>
                    <a:pt x="696" y="1326"/>
                  </a:lnTo>
                  <a:lnTo>
                    <a:pt x="700" y="1326"/>
                  </a:lnTo>
                  <a:lnTo>
                    <a:pt x="700" y="1324"/>
                  </a:lnTo>
                  <a:close/>
                  <a:moveTo>
                    <a:pt x="494" y="1970"/>
                  </a:moveTo>
                  <a:lnTo>
                    <a:pt x="494" y="1970"/>
                  </a:lnTo>
                  <a:lnTo>
                    <a:pt x="492" y="1962"/>
                  </a:lnTo>
                  <a:lnTo>
                    <a:pt x="486" y="1954"/>
                  </a:lnTo>
                  <a:lnTo>
                    <a:pt x="478" y="1948"/>
                  </a:lnTo>
                  <a:lnTo>
                    <a:pt x="470" y="1944"/>
                  </a:lnTo>
                  <a:lnTo>
                    <a:pt x="460" y="1942"/>
                  </a:lnTo>
                  <a:lnTo>
                    <a:pt x="452" y="1942"/>
                  </a:lnTo>
                  <a:lnTo>
                    <a:pt x="446" y="1944"/>
                  </a:lnTo>
                  <a:lnTo>
                    <a:pt x="442" y="1948"/>
                  </a:lnTo>
                  <a:lnTo>
                    <a:pt x="438" y="1954"/>
                  </a:lnTo>
                  <a:lnTo>
                    <a:pt x="434" y="1954"/>
                  </a:lnTo>
                  <a:lnTo>
                    <a:pt x="432" y="1952"/>
                  </a:lnTo>
                  <a:lnTo>
                    <a:pt x="428" y="1950"/>
                  </a:lnTo>
                  <a:lnTo>
                    <a:pt x="424" y="1948"/>
                  </a:lnTo>
                  <a:lnTo>
                    <a:pt x="424" y="1946"/>
                  </a:lnTo>
                  <a:lnTo>
                    <a:pt x="428" y="1942"/>
                  </a:lnTo>
                  <a:lnTo>
                    <a:pt x="434" y="1938"/>
                  </a:lnTo>
                  <a:lnTo>
                    <a:pt x="436" y="1936"/>
                  </a:lnTo>
                  <a:lnTo>
                    <a:pt x="438" y="1932"/>
                  </a:lnTo>
                  <a:lnTo>
                    <a:pt x="434" y="1924"/>
                  </a:lnTo>
                  <a:lnTo>
                    <a:pt x="428" y="1914"/>
                  </a:lnTo>
                  <a:lnTo>
                    <a:pt x="418" y="1906"/>
                  </a:lnTo>
                  <a:lnTo>
                    <a:pt x="410" y="1902"/>
                  </a:lnTo>
                  <a:lnTo>
                    <a:pt x="408" y="1898"/>
                  </a:lnTo>
                  <a:lnTo>
                    <a:pt x="410" y="1898"/>
                  </a:lnTo>
                  <a:lnTo>
                    <a:pt x="418" y="1902"/>
                  </a:lnTo>
                  <a:lnTo>
                    <a:pt x="424" y="1906"/>
                  </a:lnTo>
                  <a:lnTo>
                    <a:pt x="428" y="1906"/>
                  </a:lnTo>
                  <a:lnTo>
                    <a:pt x="430" y="1904"/>
                  </a:lnTo>
                  <a:lnTo>
                    <a:pt x="428" y="1902"/>
                  </a:lnTo>
                  <a:lnTo>
                    <a:pt x="422" y="1894"/>
                  </a:lnTo>
                  <a:lnTo>
                    <a:pt x="418" y="1888"/>
                  </a:lnTo>
                  <a:lnTo>
                    <a:pt x="416" y="1884"/>
                  </a:lnTo>
                  <a:lnTo>
                    <a:pt x="416" y="1876"/>
                  </a:lnTo>
                  <a:lnTo>
                    <a:pt x="416" y="1872"/>
                  </a:lnTo>
                  <a:lnTo>
                    <a:pt x="416" y="1870"/>
                  </a:lnTo>
                  <a:lnTo>
                    <a:pt x="412" y="1868"/>
                  </a:lnTo>
                  <a:lnTo>
                    <a:pt x="408" y="1866"/>
                  </a:lnTo>
                  <a:lnTo>
                    <a:pt x="406" y="1864"/>
                  </a:lnTo>
                  <a:lnTo>
                    <a:pt x="404" y="1858"/>
                  </a:lnTo>
                  <a:lnTo>
                    <a:pt x="400" y="1852"/>
                  </a:lnTo>
                  <a:lnTo>
                    <a:pt x="396" y="1850"/>
                  </a:lnTo>
                  <a:lnTo>
                    <a:pt x="390" y="1848"/>
                  </a:lnTo>
                  <a:lnTo>
                    <a:pt x="380" y="1844"/>
                  </a:lnTo>
                  <a:lnTo>
                    <a:pt x="376" y="1842"/>
                  </a:lnTo>
                  <a:lnTo>
                    <a:pt x="372" y="1836"/>
                  </a:lnTo>
                  <a:lnTo>
                    <a:pt x="366" y="1822"/>
                  </a:lnTo>
                  <a:lnTo>
                    <a:pt x="360" y="1806"/>
                  </a:lnTo>
                  <a:lnTo>
                    <a:pt x="358" y="1794"/>
                  </a:lnTo>
                  <a:lnTo>
                    <a:pt x="356" y="1786"/>
                  </a:lnTo>
                  <a:lnTo>
                    <a:pt x="354" y="1782"/>
                  </a:lnTo>
                  <a:lnTo>
                    <a:pt x="352" y="1780"/>
                  </a:lnTo>
                  <a:lnTo>
                    <a:pt x="346" y="1774"/>
                  </a:lnTo>
                  <a:lnTo>
                    <a:pt x="342" y="1768"/>
                  </a:lnTo>
                  <a:lnTo>
                    <a:pt x="336" y="1762"/>
                  </a:lnTo>
                  <a:lnTo>
                    <a:pt x="322" y="1756"/>
                  </a:lnTo>
                  <a:lnTo>
                    <a:pt x="314" y="1754"/>
                  </a:lnTo>
                  <a:lnTo>
                    <a:pt x="310" y="1754"/>
                  </a:lnTo>
                  <a:lnTo>
                    <a:pt x="308" y="1754"/>
                  </a:lnTo>
                  <a:lnTo>
                    <a:pt x="306" y="1756"/>
                  </a:lnTo>
                  <a:lnTo>
                    <a:pt x="302" y="1758"/>
                  </a:lnTo>
                  <a:lnTo>
                    <a:pt x="298" y="1760"/>
                  </a:lnTo>
                  <a:lnTo>
                    <a:pt x="290" y="1758"/>
                  </a:lnTo>
                  <a:lnTo>
                    <a:pt x="286" y="1758"/>
                  </a:lnTo>
                  <a:lnTo>
                    <a:pt x="288" y="1756"/>
                  </a:lnTo>
                  <a:lnTo>
                    <a:pt x="294" y="1754"/>
                  </a:lnTo>
                  <a:lnTo>
                    <a:pt x="300" y="1748"/>
                  </a:lnTo>
                  <a:lnTo>
                    <a:pt x="302" y="1746"/>
                  </a:lnTo>
                  <a:lnTo>
                    <a:pt x="304" y="1746"/>
                  </a:lnTo>
                  <a:lnTo>
                    <a:pt x="308" y="1746"/>
                  </a:lnTo>
                  <a:lnTo>
                    <a:pt x="316" y="1742"/>
                  </a:lnTo>
                  <a:lnTo>
                    <a:pt x="318" y="1742"/>
                  </a:lnTo>
                  <a:lnTo>
                    <a:pt x="318" y="1740"/>
                  </a:lnTo>
                  <a:lnTo>
                    <a:pt x="316" y="1738"/>
                  </a:lnTo>
                  <a:lnTo>
                    <a:pt x="310" y="1736"/>
                  </a:lnTo>
                  <a:lnTo>
                    <a:pt x="308" y="1734"/>
                  </a:lnTo>
                  <a:lnTo>
                    <a:pt x="308" y="1730"/>
                  </a:lnTo>
                  <a:lnTo>
                    <a:pt x="304" y="1728"/>
                  </a:lnTo>
                  <a:lnTo>
                    <a:pt x="304" y="1726"/>
                  </a:lnTo>
                  <a:lnTo>
                    <a:pt x="306" y="1728"/>
                  </a:lnTo>
                  <a:lnTo>
                    <a:pt x="312" y="1728"/>
                  </a:lnTo>
                  <a:lnTo>
                    <a:pt x="314" y="1728"/>
                  </a:lnTo>
                  <a:lnTo>
                    <a:pt x="318" y="1726"/>
                  </a:lnTo>
                  <a:lnTo>
                    <a:pt x="326" y="1716"/>
                  </a:lnTo>
                  <a:lnTo>
                    <a:pt x="334" y="1696"/>
                  </a:lnTo>
                  <a:lnTo>
                    <a:pt x="342" y="1678"/>
                  </a:lnTo>
                  <a:lnTo>
                    <a:pt x="348" y="1668"/>
                  </a:lnTo>
                  <a:lnTo>
                    <a:pt x="350" y="1664"/>
                  </a:lnTo>
                  <a:lnTo>
                    <a:pt x="348" y="1656"/>
                  </a:lnTo>
                  <a:lnTo>
                    <a:pt x="346" y="1652"/>
                  </a:lnTo>
                  <a:lnTo>
                    <a:pt x="342" y="1650"/>
                  </a:lnTo>
                  <a:lnTo>
                    <a:pt x="332" y="1650"/>
                  </a:lnTo>
                  <a:lnTo>
                    <a:pt x="320" y="1650"/>
                  </a:lnTo>
                  <a:lnTo>
                    <a:pt x="302" y="1650"/>
                  </a:lnTo>
                  <a:lnTo>
                    <a:pt x="286" y="1650"/>
                  </a:lnTo>
                  <a:lnTo>
                    <a:pt x="274" y="1652"/>
                  </a:lnTo>
                  <a:lnTo>
                    <a:pt x="268" y="1656"/>
                  </a:lnTo>
                  <a:lnTo>
                    <a:pt x="262" y="1658"/>
                  </a:lnTo>
                  <a:lnTo>
                    <a:pt x="258" y="1658"/>
                  </a:lnTo>
                  <a:lnTo>
                    <a:pt x="258" y="1654"/>
                  </a:lnTo>
                  <a:lnTo>
                    <a:pt x="268" y="1644"/>
                  </a:lnTo>
                  <a:lnTo>
                    <a:pt x="270" y="1642"/>
                  </a:lnTo>
                  <a:lnTo>
                    <a:pt x="268" y="1642"/>
                  </a:lnTo>
                  <a:lnTo>
                    <a:pt x="264" y="1642"/>
                  </a:lnTo>
                  <a:lnTo>
                    <a:pt x="258" y="1642"/>
                  </a:lnTo>
                  <a:lnTo>
                    <a:pt x="260" y="1640"/>
                  </a:lnTo>
                  <a:lnTo>
                    <a:pt x="270" y="1632"/>
                  </a:lnTo>
                  <a:lnTo>
                    <a:pt x="284" y="1620"/>
                  </a:lnTo>
                  <a:lnTo>
                    <a:pt x="296" y="1608"/>
                  </a:lnTo>
                  <a:lnTo>
                    <a:pt x="300" y="1604"/>
                  </a:lnTo>
                  <a:lnTo>
                    <a:pt x="300" y="1600"/>
                  </a:lnTo>
                  <a:lnTo>
                    <a:pt x="298" y="1598"/>
                  </a:lnTo>
                  <a:lnTo>
                    <a:pt x="298" y="1596"/>
                  </a:lnTo>
                  <a:lnTo>
                    <a:pt x="300" y="1592"/>
                  </a:lnTo>
                  <a:lnTo>
                    <a:pt x="300" y="1590"/>
                  </a:lnTo>
                  <a:lnTo>
                    <a:pt x="292" y="1588"/>
                  </a:lnTo>
                  <a:lnTo>
                    <a:pt x="286" y="1588"/>
                  </a:lnTo>
                  <a:lnTo>
                    <a:pt x="284" y="1590"/>
                  </a:lnTo>
                  <a:lnTo>
                    <a:pt x="284" y="1592"/>
                  </a:lnTo>
                  <a:lnTo>
                    <a:pt x="280" y="1592"/>
                  </a:lnTo>
                  <a:lnTo>
                    <a:pt x="272" y="1592"/>
                  </a:lnTo>
                  <a:lnTo>
                    <a:pt x="262" y="1594"/>
                  </a:lnTo>
                  <a:lnTo>
                    <a:pt x="254" y="1596"/>
                  </a:lnTo>
                  <a:lnTo>
                    <a:pt x="246" y="1596"/>
                  </a:lnTo>
                  <a:lnTo>
                    <a:pt x="242" y="1594"/>
                  </a:lnTo>
                  <a:lnTo>
                    <a:pt x="238" y="1596"/>
                  </a:lnTo>
                  <a:lnTo>
                    <a:pt x="236" y="1596"/>
                  </a:lnTo>
                  <a:lnTo>
                    <a:pt x="232" y="1594"/>
                  </a:lnTo>
                  <a:lnTo>
                    <a:pt x="226" y="1592"/>
                  </a:lnTo>
                  <a:lnTo>
                    <a:pt x="222" y="1590"/>
                  </a:lnTo>
                  <a:lnTo>
                    <a:pt x="218" y="1594"/>
                  </a:lnTo>
                  <a:lnTo>
                    <a:pt x="218" y="1600"/>
                  </a:lnTo>
                  <a:lnTo>
                    <a:pt x="218" y="1602"/>
                  </a:lnTo>
                  <a:lnTo>
                    <a:pt x="218" y="1604"/>
                  </a:lnTo>
                  <a:lnTo>
                    <a:pt x="214" y="1606"/>
                  </a:lnTo>
                  <a:lnTo>
                    <a:pt x="212" y="1606"/>
                  </a:lnTo>
                  <a:lnTo>
                    <a:pt x="216" y="1612"/>
                  </a:lnTo>
                  <a:lnTo>
                    <a:pt x="218" y="1616"/>
                  </a:lnTo>
                  <a:lnTo>
                    <a:pt x="212" y="1616"/>
                  </a:lnTo>
                  <a:lnTo>
                    <a:pt x="206" y="1614"/>
                  </a:lnTo>
                  <a:lnTo>
                    <a:pt x="206" y="1618"/>
                  </a:lnTo>
                  <a:lnTo>
                    <a:pt x="210" y="1622"/>
                  </a:lnTo>
                  <a:lnTo>
                    <a:pt x="210" y="1624"/>
                  </a:lnTo>
                  <a:lnTo>
                    <a:pt x="210" y="1626"/>
                  </a:lnTo>
                  <a:lnTo>
                    <a:pt x="208" y="1626"/>
                  </a:lnTo>
                  <a:lnTo>
                    <a:pt x="204" y="1626"/>
                  </a:lnTo>
                  <a:lnTo>
                    <a:pt x="202" y="1626"/>
                  </a:lnTo>
                  <a:lnTo>
                    <a:pt x="204" y="1628"/>
                  </a:lnTo>
                  <a:lnTo>
                    <a:pt x="206" y="1632"/>
                  </a:lnTo>
                  <a:lnTo>
                    <a:pt x="206" y="1636"/>
                  </a:lnTo>
                  <a:lnTo>
                    <a:pt x="206" y="1638"/>
                  </a:lnTo>
                  <a:lnTo>
                    <a:pt x="202" y="1638"/>
                  </a:lnTo>
                  <a:lnTo>
                    <a:pt x="190" y="1638"/>
                  </a:lnTo>
                  <a:lnTo>
                    <a:pt x="188" y="1640"/>
                  </a:lnTo>
                  <a:lnTo>
                    <a:pt x="188" y="1646"/>
                  </a:lnTo>
                  <a:lnTo>
                    <a:pt x="190" y="1650"/>
                  </a:lnTo>
                  <a:lnTo>
                    <a:pt x="190" y="1654"/>
                  </a:lnTo>
                  <a:lnTo>
                    <a:pt x="188" y="1660"/>
                  </a:lnTo>
                  <a:lnTo>
                    <a:pt x="188" y="1668"/>
                  </a:lnTo>
                  <a:lnTo>
                    <a:pt x="188" y="1672"/>
                  </a:lnTo>
                  <a:lnTo>
                    <a:pt x="190" y="1674"/>
                  </a:lnTo>
                  <a:lnTo>
                    <a:pt x="194" y="1674"/>
                  </a:lnTo>
                  <a:lnTo>
                    <a:pt x="196" y="1676"/>
                  </a:lnTo>
                  <a:lnTo>
                    <a:pt x="194" y="1682"/>
                  </a:lnTo>
                  <a:lnTo>
                    <a:pt x="192" y="1686"/>
                  </a:lnTo>
                  <a:lnTo>
                    <a:pt x="190" y="1690"/>
                  </a:lnTo>
                  <a:lnTo>
                    <a:pt x="188" y="1690"/>
                  </a:lnTo>
                  <a:lnTo>
                    <a:pt x="190" y="1692"/>
                  </a:lnTo>
                  <a:lnTo>
                    <a:pt x="190" y="1694"/>
                  </a:lnTo>
                  <a:lnTo>
                    <a:pt x="190" y="1696"/>
                  </a:lnTo>
                  <a:lnTo>
                    <a:pt x="186" y="1698"/>
                  </a:lnTo>
                  <a:lnTo>
                    <a:pt x="184" y="1700"/>
                  </a:lnTo>
                  <a:lnTo>
                    <a:pt x="188" y="1702"/>
                  </a:lnTo>
                  <a:lnTo>
                    <a:pt x="188" y="1704"/>
                  </a:lnTo>
                  <a:lnTo>
                    <a:pt x="186" y="1706"/>
                  </a:lnTo>
                  <a:lnTo>
                    <a:pt x="182" y="1708"/>
                  </a:lnTo>
                  <a:lnTo>
                    <a:pt x="178" y="1708"/>
                  </a:lnTo>
                  <a:lnTo>
                    <a:pt x="174" y="1708"/>
                  </a:lnTo>
                  <a:lnTo>
                    <a:pt x="172" y="1710"/>
                  </a:lnTo>
                  <a:lnTo>
                    <a:pt x="172" y="1712"/>
                  </a:lnTo>
                  <a:lnTo>
                    <a:pt x="174" y="1714"/>
                  </a:lnTo>
                  <a:lnTo>
                    <a:pt x="182" y="1714"/>
                  </a:lnTo>
                  <a:lnTo>
                    <a:pt x="190" y="1712"/>
                  </a:lnTo>
                  <a:lnTo>
                    <a:pt x="192" y="1714"/>
                  </a:lnTo>
                  <a:lnTo>
                    <a:pt x="184" y="1716"/>
                  </a:lnTo>
                  <a:lnTo>
                    <a:pt x="180" y="1718"/>
                  </a:lnTo>
                  <a:lnTo>
                    <a:pt x="180" y="1720"/>
                  </a:lnTo>
                  <a:lnTo>
                    <a:pt x="184" y="1722"/>
                  </a:lnTo>
                  <a:lnTo>
                    <a:pt x="188" y="1722"/>
                  </a:lnTo>
                  <a:lnTo>
                    <a:pt x="190" y="1722"/>
                  </a:lnTo>
                  <a:lnTo>
                    <a:pt x="192" y="1724"/>
                  </a:lnTo>
                  <a:lnTo>
                    <a:pt x="196" y="1724"/>
                  </a:lnTo>
                  <a:lnTo>
                    <a:pt x="200" y="1720"/>
                  </a:lnTo>
                  <a:lnTo>
                    <a:pt x="208" y="1714"/>
                  </a:lnTo>
                  <a:lnTo>
                    <a:pt x="206" y="1720"/>
                  </a:lnTo>
                  <a:lnTo>
                    <a:pt x="202" y="1726"/>
                  </a:lnTo>
                  <a:lnTo>
                    <a:pt x="202" y="1730"/>
                  </a:lnTo>
                  <a:lnTo>
                    <a:pt x="202" y="1734"/>
                  </a:lnTo>
                  <a:lnTo>
                    <a:pt x="198" y="1738"/>
                  </a:lnTo>
                  <a:lnTo>
                    <a:pt x="196" y="1740"/>
                  </a:lnTo>
                  <a:lnTo>
                    <a:pt x="196" y="1744"/>
                  </a:lnTo>
                  <a:lnTo>
                    <a:pt x="198" y="1748"/>
                  </a:lnTo>
                  <a:lnTo>
                    <a:pt x="194" y="1754"/>
                  </a:lnTo>
                  <a:lnTo>
                    <a:pt x="192" y="1758"/>
                  </a:lnTo>
                  <a:lnTo>
                    <a:pt x="192" y="1762"/>
                  </a:lnTo>
                  <a:lnTo>
                    <a:pt x="194" y="1764"/>
                  </a:lnTo>
                  <a:lnTo>
                    <a:pt x="194" y="1768"/>
                  </a:lnTo>
                  <a:lnTo>
                    <a:pt x="194" y="1772"/>
                  </a:lnTo>
                  <a:lnTo>
                    <a:pt x="194" y="1774"/>
                  </a:lnTo>
                  <a:lnTo>
                    <a:pt x="200" y="1770"/>
                  </a:lnTo>
                  <a:lnTo>
                    <a:pt x="198" y="1774"/>
                  </a:lnTo>
                  <a:lnTo>
                    <a:pt x="194" y="1784"/>
                  </a:lnTo>
                  <a:lnTo>
                    <a:pt x="188" y="1794"/>
                  </a:lnTo>
                  <a:lnTo>
                    <a:pt x="188" y="1800"/>
                  </a:lnTo>
                  <a:lnTo>
                    <a:pt x="192" y="1802"/>
                  </a:lnTo>
                  <a:lnTo>
                    <a:pt x="194" y="1802"/>
                  </a:lnTo>
                  <a:lnTo>
                    <a:pt x="196" y="1800"/>
                  </a:lnTo>
                  <a:lnTo>
                    <a:pt x="198" y="1792"/>
                  </a:lnTo>
                  <a:lnTo>
                    <a:pt x="202" y="1780"/>
                  </a:lnTo>
                  <a:lnTo>
                    <a:pt x="204" y="1776"/>
                  </a:lnTo>
                  <a:lnTo>
                    <a:pt x="206" y="1772"/>
                  </a:lnTo>
                  <a:lnTo>
                    <a:pt x="208" y="1770"/>
                  </a:lnTo>
                  <a:lnTo>
                    <a:pt x="208" y="1768"/>
                  </a:lnTo>
                  <a:lnTo>
                    <a:pt x="204" y="1764"/>
                  </a:lnTo>
                  <a:lnTo>
                    <a:pt x="202" y="1760"/>
                  </a:lnTo>
                  <a:lnTo>
                    <a:pt x="204" y="1758"/>
                  </a:lnTo>
                  <a:lnTo>
                    <a:pt x="206" y="1756"/>
                  </a:lnTo>
                  <a:lnTo>
                    <a:pt x="210" y="1754"/>
                  </a:lnTo>
                  <a:lnTo>
                    <a:pt x="208" y="1756"/>
                  </a:lnTo>
                  <a:lnTo>
                    <a:pt x="208" y="1762"/>
                  </a:lnTo>
                  <a:lnTo>
                    <a:pt x="208" y="1764"/>
                  </a:lnTo>
                  <a:lnTo>
                    <a:pt x="210" y="1766"/>
                  </a:lnTo>
                  <a:lnTo>
                    <a:pt x="214" y="1766"/>
                  </a:lnTo>
                  <a:lnTo>
                    <a:pt x="216" y="1764"/>
                  </a:lnTo>
                  <a:lnTo>
                    <a:pt x="216" y="1762"/>
                  </a:lnTo>
                  <a:lnTo>
                    <a:pt x="220" y="1764"/>
                  </a:lnTo>
                  <a:lnTo>
                    <a:pt x="222" y="1764"/>
                  </a:lnTo>
                  <a:lnTo>
                    <a:pt x="224" y="1758"/>
                  </a:lnTo>
                  <a:lnTo>
                    <a:pt x="224" y="1756"/>
                  </a:lnTo>
                  <a:lnTo>
                    <a:pt x="228" y="1756"/>
                  </a:lnTo>
                  <a:lnTo>
                    <a:pt x="232" y="1758"/>
                  </a:lnTo>
                  <a:lnTo>
                    <a:pt x="238" y="1762"/>
                  </a:lnTo>
                  <a:lnTo>
                    <a:pt x="230" y="1764"/>
                  </a:lnTo>
                  <a:lnTo>
                    <a:pt x="224" y="1766"/>
                  </a:lnTo>
                  <a:lnTo>
                    <a:pt x="224" y="1768"/>
                  </a:lnTo>
                  <a:lnTo>
                    <a:pt x="224" y="1772"/>
                  </a:lnTo>
                  <a:lnTo>
                    <a:pt x="230" y="1780"/>
                  </a:lnTo>
                  <a:lnTo>
                    <a:pt x="234" y="1786"/>
                  </a:lnTo>
                  <a:lnTo>
                    <a:pt x="234" y="1790"/>
                  </a:lnTo>
                  <a:lnTo>
                    <a:pt x="234" y="1794"/>
                  </a:lnTo>
                  <a:lnTo>
                    <a:pt x="230" y="1798"/>
                  </a:lnTo>
                  <a:lnTo>
                    <a:pt x="224" y="1806"/>
                  </a:lnTo>
                  <a:lnTo>
                    <a:pt x="222" y="1810"/>
                  </a:lnTo>
                  <a:lnTo>
                    <a:pt x="220" y="1816"/>
                  </a:lnTo>
                  <a:lnTo>
                    <a:pt x="222" y="1822"/>
                  </a:lnTo>
                  <a:lnTo>
                    <a:pt x="220" y="1822"/>
                  </a:lnTo>
                  <a:lnTo>
                    <a:pt x="216" y="1818"/>
                  </a:lnTo>
                  <a:lnTo>
                    <a:pt x="214" y="1820"/>
                  </a:lnTo>
                  <a:lnTo>
                    <a:pt x="214" y="1822"/>
                  </a:lnTo>
                  <a:lnTo>
                    <a:pt x="214" y="1826"/>
                  </a:lnTo>
                  <a:lnTo>
                    <a:pt x="220" y="1834"/>
                  </a:lnTo>
                  <a:lnTo>
                    <a:pt x="224" y="1840"/>
                  </a:lnTo>
                  <a:lnTo>
                    <a:pt x="224" y="1838"/>
                  </a:lnTo>
                  <a:lnTo>
                    <a:pt x="224" y="1836"/>
                  </a:lnTo>
                  <a:lnTo>
                    <a:pt x="222" y="1830"/>
                  </a:lnTo>
                  <a:lnTo>
                    <a:pt x="224" y="1828"/>
                  </a:lnTo>
                  <a:lnTo>
                    <a:pt x="228" y="1828"/>
                  </a:lnTo>
                  <a:lnTo>
                    <a:pt x="234" y="1832"/>
                  </a:lnTo>
                  <a:lnTo>
                    <a:pt x="240" y="1838"/>
                  </a:lnTo>
                  <a:lnTo>
                    <a:pt x="244" y="1840"/>
                  </a:lnTo>
                  <a:lnTo>
                    <a:pt x="246" y="1838"/>
                  </a:lnTo>
                  <a:lnTo>
                    <a:pt x="246" y="1834"/>
                  </a:lnTo>
                  <a:lnTo>
                    <a:pt x="246" y="1828"/>
                  </a:lnTo>
                  <a:lnTo>
                    <a:pt x="246" y="1826"/>
                  </a:lnTo>
                  <a:lnTo>
                    <a:pt x="246" y="1828"/>
                  </a:lnTo>
                  <a:lnTo>
                    <a:pt x="252" y="1830"/>
                  </a:lnTo>
                  <a:lnTo>
                    <a:pt x="260" y="1834"/>
                  </a:lnTo>
                  <a:lnTo>
                    <a:pt x="264" y="1834"/>
                  </a:lnTo>
                  <a:lnTo>
                    <a:pt x="266" y="1830"/>
                  </a:lnTo>
                  <a:lnTo>
                    <a:pt x="270" y="1826"/>
                  </a:lnTo>
                  <a:lnTo>
                    <a:pt x="274" y="1826"/>
                  </a:lnTo>
                  <a:lnTo>
                    <a:pt x="276" y="1828"/>
                  </a:lnTo>
                  <a:lnTo>
                    <a:pt x="278" y="1824"/>
                  </a:lnTo>
                  <a:lnTo>
                    <a:pt x="282" y="1822"/>
                  </a:lnTo>
                  <a:lnTo>
                    <a:pt x="286" y="1820"/>
                  </a:lnTo>
                  <a:lnTo>
                    <a:pt x="292" y="1820"/>
                  </a:lnTo>
                  <a:lnTo>
                    <a:pt x="292" y="1822"/>
                  </a:lnTo>
                  <a:lnTo>
                    <a:pt x="288" y="1826"/>
                  </a:lnTo>
                  <a:lnTo>
                    <a:pt x="280" y="1838"/>
                  </a:lnTo>
                  <a:lnTo>
                    <a:pt x="276" y="1844"/>
                  </a:lnTo>
                  <a:lnTo>
                    <a:pt x="276" y="1850"/>
                  </a:lnTo>
                  <a:lnTo>
                    <a:pt x="276" y="1854"/>
                  </a:lnTo>
                  <a:lnTo>
                    <a:pt x="278" y="1858"/>
                  </a:lnTo>
                  <a:lnTo>
                    <a:pt x="286" y="1866"/>
                  </a:lnTo>
                  <a:lnTo>
                    <a:pt x="292" y="1872"/>
                  </a:lnTo>
                  <a:lnTo>
                    <a:pt x="294" y="1876"/>
                  </a:lnTo>
                  <a:lnTo>
                    <a:pt x="296" y="1874"/>
                  </a:lnTo>
                  <a:lnTo>
                    <a:pt x="300" y="1872"/>
                  </a:lnTo>
                  <a:lnTo>
                    <a:pt x="302" y="1870"/>
                  </a:lnTo>
                  <a:lnTo>
                    <a:pt x="304" y="1870"/>
                  </a:lnTo>
                  <a:lnTo>
                    <a:pt x="308" y="1870"/>
                  </a:lnTo>
                  <a:lnTo>
                    <a:pt x="308" y="1872"/>
                  </a:lnTo>
                  <a:lnTo>
                    <a:pt x="308" y="1874"/>
                  </a:lnTo>
                  <a:lnTo>
                    <a:pt x="306" y="1878"/>
                  </a:lnTo>
                  <a:lnTo>
                    <a:pt x="306" y="1880"/>
                  </a:lnTo>
                  <a:lnTo>
                    <a:pt x="306" y="1882"/>
                  </a:lnTo>
                  <a:lnTo>
                    <a:pt x="308" y="1882"/>
                  </a:lnTo>
                  <a:lnTo>
                    <a:pt x="306" y="1884"/>
                  </a:lnTo>
                  <a:lnTo>
                    <a:pt x="300" y="1888"/>
                  </a:lnTo>
                  <a:lnTo>
                    <a:pt x="298" y="1890"/>
                  </a:lnTo>
                  <a:lnTo>
                    <a:pt x="298" y="1892"/>
                  </a:lnTo>
                  <a:lnTo>
                    <a:pt x="298" y="1894"/>
                  </a:lnTo>
                  <a:lnTo>
                    <a:pt x="302" y="1896"/>
                  </a:lnTo>
                  <a:lnTo>
                    <a:pt x="304" y="1898"/>
                  </a:lnTo>
                  <a:lnTo>
                    <a:pt x="302" y="1900"/>
                  </a:lnTo>
                  <a:lnTo>
                    <a:pt x="300" y="1902"/>
                  </a:lnTo>
                  <a:lnTo>
                    <a:pt x="300" y="1906"/>
                  </a:lnTo>
                  <a:lnTo>
                    <a:pt x="300" y="1910"/>
                  </a:lnTo>
                  <a:lnTo>
                    <a:pt x="302" y="1916"/>
                  </a:lnTo>
                  <a:lnTo>
                    <a:pt x="308" y="1924"/>
                  </a:lnTo>
                  <a:lnTo>
                    <a:pt x="304" y="1922"/>
                  </a:lnTo>
                  <a:lnTo>
                    <a:pt x="300" y="1918"/>
                  </a:lnTo>
                  <a:lnTo>
                    <a:pt x="296" y="1916"/>
                  </a:lnTo>
                  <a:lnTo>
                    <a:pt x="294" y="1918"/>
                  </a:lnTo>
                  <a:lnTo>
                    <a:pt x="296" y="1922"/>
                  </a:lnTo>
                  <a:lnTo>
                    <a:pt x="298" y="1926"/>
                  </a:lnTo>
                  <a:lnTo>
                    <a:pt x="294" y="1924"/>
                  </a:lnTo>
                  <a:lnTo>
                    <a:pt x="290" y="1922"/>
                  </a:lnTo>
                  <a:lnTo>
                    <a:pt x="286" y="1922"/>
                  </a:lnTo>
                  <a:lnTo>
                    <a:pt x="282" y="1922"/>
                  </a:lnTo>
                  <a:lnTo>
                    <a:pt x="276" y="1924"/>
                  </a:lnTo>
                  <a:lnTo>
                    <a:pt x="272" y="1924"/>
                  </a:lnTo>
                  <a:lnTo>
                    <a:pt x="270" y="1922"/>
                  </a:lnTo>
                  <a:lnTo>
                    <a:pt x="266" y="1924"/>
                  </a:lnTo>
                  <a:lnTo>
                    <a:pt x="264" y="1926"/>
                  </a:lnTo>
                  <a:lnTo>
                    <a:pt x="260" y="1926"/>
                  </a:lnTo>
                  <a:lnTo>
                    <a:pt x="256" y="1928"/>
                  </a:lnTo>
                  <a:lnTo>
                    <a:pt x="252" y="1932"/>
                  </a:lnTo>
                  <a:lnTo>
                    <a:pt x="246" y="1940"/>
                  </a:lnTo>
                  <a:lnTo>
                    <a:pt x="240" y="1944"/>
                  </a:lnTo>
                  <a:lnTo>
                    <a:pt x="236" y="1946"/>
                  </a:lnTo>
                  <a:lnTo>
                    <a:pt x="232" y="1950"/>
                  </a:lnTo>
                  <a:lnTo>
                    <a:pt x="230" y="1956"/>
                  </a:lnTo>
                  <a:lnTo>
                    <a:pt x="234" y="1954"/>
                  </a:lnTo>
                  <a:lnTo>
                    <a:pt x="238" y="1954"/>
                  </a:lnTo>
                  <a:lnTo>
                    <a:pt x="240" y="1954"/>
                  </a:lnTo>
                  <a:lnTo>
                    <a:pt x="244" y="1952"/>
                  </a:lnTo>
                  <a:lnTo>
                    <a:pt x="252" y="1948"/>
                  </a:lnTo>
                  <a:lnTo>
                    <a:pt x="256" y="1946"/>
                  </a:lnTo>
                  <a:lnTo>
                    <a:pt x="258" y="1946"/>
                  </a:lnTo>
                  <a:lnTo>
                    <a:pt x="256" y="1948"/>
                  </a:lnTo>
                  <a:lnTo>
                    <a:pt x="256" y="1954"/>
                  </a:lnTo>
                  <a:lnTo>
                    <a:pt x="258" y="1954"/>
                  </a:lnTo>
                  <a:lnTo>
                    <a:pt x="260" y="1956"/>
                  </a:lnTo>
                  <a:lnTo>
                    <a:pt x="258" y="1960"/>
                  </a:lnTo>
                  <a:lnTo>
                    <a:pt x="256" y="1964"/>
                  </a:lnTo>
                  <a:lnTo>
                    <a:pt x="256" y="1968"/>
                  </a:lnTo>
                  <a:lnTo>
                    <a:pt x="258" y="1974"/>
                  </a:lnTo>
                  <a:lnTo>
                    <a:pt x="258" y="1978"/>
                  </a:lnTo>
                  <a:lnTo>
                    <a:pt x="256" y="1982"/>
                  </a:lnTo>
                  <a:lnTo>
                    <a:pt x="252" y="1986"/>
                  </a:lnTo>
                  <a:lnTo>
                    <a:pt x="246" y="1990"/>
                  </a:lnTo>
                  <a:lnTo>
                    <a:pt x="232" y="1998"/>
                  </a:lnTo>
                  <a:lnTo>
                    <a:pt x="222" y="2000"/>
                  </a:lnTo>
                  <a:lnTo>
                    <a:pt x="216" y="2000"/>
                  </a:lnTo>
                  <a:lnTo>
                    <a:pt x="210" y="2006"/>
                  </a:lnTo>
                  <a:lnTo>
                    <a:pt x="208" y="2008"/>
                  </a:lnTo>
                  <a:lnTo>
                    <a:pt x="208" y="2010"/>
                  </a:lnTo>
                  <a:lnTo>
                    <a:pt x="212" y="2012"/>
                  </a:lnTo>
                  <a:lnTo>
                    <a:pt x="216" y="2012"/>
                  </a:lnTo>
                  <a:lnTo>
                    <a:pt x="216" y="2014"/>
                  </a:lnTo>
                  <a:lnTo>
                    <a:pt x="214" y="2016"/>
                  </a:lnTo>
                  <a:lnTo>
                    <a:pt x="214" y="2020"/>
                  </a:lnTo>
                  <a:lnTo>
                    <a:pt x="216" y="2024"/>
                  </a:lnTo>
                  <a:lnTo>
                    <a:pt x="224" y="2024"/>
                  </a:lnTo>
                  <a:lnTo>
                    <a:pt x="232" y="2022"/>
                  </a:lnTo>
                  <a:lnTo>
                    <a:pt x="240" y="2018"/>
                  </a:lnTo>
                  <a:lnTo>
                    <a:pt x="246" y="2018"/>
                  </a:lnTo>
                  <a:lnTo>
                    <a:pt x="250" y="2022"/>
                  </a:lnTo>
                  <a:lnTo>
                    <a:pt x="250" y="2026"/>
                  </a:lnTo>
                  <a:lnTo>
                    <a:pt x="248" y="2028"/>
                  </a:lnTo>
                  <a:lnTo>
                    <a:pt x="250" y="2030"/>
                  </a:lnTo>
                  <a:lnTo>
                    <a:pt x="256" y="2028"/>
                  </a:lnTo>
                  <a:lnTo>
                    <a:pt x="260" y="2028"/>
                  </a:lnTo>
                  <a:lnTo>
                    <a:pt x="264" y="2028"/>
                  </a:lnTo>
                  <a:lnTo>
                    <a:pt x="270" y="2030"/>
                  </a:lnTo>
                  <a:lnTo>
                    <a:pt x="274" y="2034"/>
                  </a:lnTo>
                  <a:lnTo>
                    <a:pt x="280" y="2038"/>
                  </a:lnTo>
                  <a:lnTo>
                    <a:pt x="284" y="2040"/>
                  </a:lnTo>
                  <a:lnTo>
                    <a:pt x="288" y="2040"/>
                  </a:lnTo>
                  <a:lnTo>
                    <a:pt x="292" y="2038"/>
                  </a:lnTo>
                  <a:lnTo>
                    <a:pt x="298" y="2032"/>
                  </a:lnTo>
                  <a:lnTo>
                    <a:pt x="302" y="2030"/>
                  </a:lnTo>
                  <a:lnTo>
                    <a:pt x="304" y="2028"/>
                  </a:lnTo>
                  <a:lnTo>
                    <a:pt x="310" y="2026"/>
                  </a:lnTo>
                  <a:lnTo>
                    <a:pt x="314" y="2024"/>
                  </a:lnTo>
                  <a:lnTo>
                    <a:pt x="320" y="2020"/>
                  </a:lnTo>
                  <a:lnTo>
                    <a:pt x="326" y="2016"/>
                  </a:lnTo>
                  <a:lnTo>
                    <a:pt x="322" y="2022"/>
                  </a:lnTo>
                  <a:lnTo>
                    <a:pt x="318" y="2026"/>
                  </a:lnTo>
                  <a:lnTo>
                    <a:pt x="312" y="2032"/>
                  </a:lnTo>
                  <a:lnTo>
                    <a:pt x="306" y="2036"/>
                  </a:lnTo>
                  <a:lnTo>
                    <a:pt x="304" y="2044"/>
                  </a:lnTo>
                  <a:lnTo>
                    <a:pt x="302" y="2048"/>
                  </a:lnTo>
                  <a:lnTo>
                    <a:pt x="294" y="2050"/>
                  </a:lnTo>
                  <a:lnTo>
                    <a:pt x="284" y="2050"/>
                  </a:lnTo>
                  <a:lnTo>
                    <a:pt x="280" y="2050"/>
                  </a:lnTo>
                  <a:lnTo>
                    <a:pt x="274" y="2048"/>
                  </a:lnTo>
                  <a:lnTo>
                    <a:pt x="262" y="2048"/>
                  </a:lnTo>
                  <a:lnTo>
                    <a:pt x="256" y="2048"/>
                  </a:lnTo>
                  <a:lnTo>
                    <a:pt x="252" y="2050"/>
                  </a:lnTo>
                  <a:lnTo>
                    <a:pt x="252" y="2052"/>
                  </a:lnTo>
                  <a:lnTo>
                    <a:pt x="252" y="2054"/>
                  </a:lnTo>
                  <a:lnTo>
                    <a:pt x="252" y="2058"/>
                  </a:lnTo>
                  <a:lnTo>
                    <a:pt x="250" y="2058"/>
                  </a:lnTo>
                  <a:lnTo>
                    <a:pt x="246" y="2060"/>
                  </a:lnTo>
                  <a:lnTo>
                    <a:pt x="242" y="2060"/>
                  </a:lnTo>
                  <a:lnTo>
                    <a:pt x="238" y="2062"/>
                  </a:lnTo>
                  <a:lnTo>
                    <a:pt x="238" y="2066"/>
                  </a:lnTo>
                  <a:lnTo>
                    <a:pt x="238" y="2070"/>
                  </a:lnTo>
                  <a:lnTo>
                    <a:pt x="238" y="2074"/>
                  </a:lnTo>
                  <a:lnTo>
                    <a:pt x="236" y="2076"/>
                  </a:lnTo>
                  <a:lnTo>
                    <a:pt x="232" y="2078"/>
                  </a:lnTo>
                  <a:lnTo>
                    <a:pt x="230" y="2082"/>
                  </a:lnTo>
                  <a:lnTo>
                    <a:pt x="230" y="2084"/>
                  </a:lnTo>
                  <a:lnTo>
                    <a:pt x="226" y="2086"/>
                  </a:lnTo>
                  <a:lnTo>
                    <a:pt x="220" y="2092"/>
                  </a:lnTo>
                  <a:lnTo>
                    <a:pt x="214" y="2100"/>
                  </a:lnTo>
                  <a:lnTo>
                    <a:pt x="210" y="2106"/>
                  </a:lnTo>
                  <a:lnTo>
                    <a:pt x="206" y="2106"/>
                  </a:lnTo>
                  <a:lnTo>
                    <a:pt x="202" y="2108"/>
                  </a:lnTo>
                  <a:lnTo>
                    <a:pt x="198" y="2108"/>
                  </a:lnTo>
                  <a:lnTo>
                    <a:pt x="194" y="2108"/>
                  </a:lnTo>
                  <a:lnTo>
                    <a:pt x="192" y="2112"/>
                  </a:lnTo>
                  <a:lnTo>
                    <a:pt x="192" y="2114"/>
                  </a:lnTo>
                  <a:lnTo>
                    <a:pt x="192" y="2118"/>
                  </a:lnTo>
                  <a:lnTo>
                    <a:pt x="194" y="2118"/>
                  </a:lnTo>
                  <a:lnTo>
                    <a:pt x="196" y="2118"/>
                  </a:lnTo>
                  <a:lnTo>
                    <a:pt x="200" y="2116"/>
                  </a:lnTo>
                  <a:lnTo>
                    <a:pt x="202" y="2116"/>
                  </a:lnTo>
                  <a:lnTo>
                    <a:pt x="206" y="2118"/>
                  </a:lnTo>
                  <a:lnTo>
                    <a:pt x="210" y="2122"/>
                  </a:lnTo>
                  <a:lnTo>
                    <a:pt x="212" y="2122"/>
                  </a:lnTo>
                  <a:lnTo>
                    <a:pt x="214" y="2122"/>
                  </a:lnTo>
                  <a:lnTo>
                    <a:pt x="216" y="2120"/>
                  </a:lnTo>
                  <a:lnTo>
                    <a:pt x="216" y="2118"/>
                  </a:lnTo>
                  <a:lnTo>
                    <a:pt x="218" y="2116"/>
                  </a:lnTo>
                  <a:lnTo>
                    <a:pt x="222" y="2112"/>
                  </a:lnTo>
                  <a:lnTo>
                    <a:pt x="226" y="2110"/>
                  </a:lnTo>
                  <a:lnTo>
                    <a:pt x="230" y="2106"/>
                  </a:lnTo>
                  <a:lnTo>
                    <a:pt x="234" y="2102"/>
                  </a:lnTo>
                  <a:lnTo>
                    <a:pt x="244" y="2100"/>
                  </a:lnTo>
                  <a:lnTo>
                    <a:pt x="252" y="2100"/>
                  </a:lnTo>
                  <a:lnTo>
                    <a:pt x="258" y="2102"/>
                  </a:lnTo>
                  <a:lnTo>
                    <a:pt x="270" y="2108"/>
                  </a:lnTo>
                  <a:lnTo>
                    <a:pt x="274" y="2110"/>
                  </a:lnTo>
                  <a:lnTo>
                    <a:pt x="276" y="2108"/>
                  </a:lnTo>
                  <a:lnTo>
                    <a:pt x="280" y="2098"/>
                  </a:lnTo>
                  <a:lnTo>
                    <a:pt x="282" y="2088"/>
                  </a:lnTo>
                  <a:lnTo>
                    <a:pt x="284" y="2086"/>
                  </a:lnTo>
                  <a:lnTo>
                    <a:pt x="286" y="2084"/>
                  </a:lnTo>
                  <a:lnTo>
                    <a:pt x="288" y="2086"/>
                  </a:lnTo>
                  <a:lnTo>
                    <a:pt x="290" y="2084"/>
                  </a:lnTo>
                  <a:lnTo>
                    <a:pt x="298" y="2080"/>
                  </a:lnTo>
                  <a:lnTo>
                    <a:pt x="302" y="2078"/>
                  </a:lnTo>
                  <a:lnTo>
                    <a:pt x="306" y="2078"/>
                  </a:lnTo>
                  <a:lnTo>
                    <a:pt x="312" y="2080"/>
                  </a:lnTo>
                  <a:lnTo>
                    <a:pt x="316" y="2084"/>
                  </a:lnTo>
                  <a:lnTo>
                    <a:pt x="322" y="2088"/>
                  </a:lnTo>
                  <a:lnTo>
                    <a:pt x="324" y="2088"/>
                  </a:lnTo>
                  <a:lnTo>
                    <a:pt x="328" y="2086"/>
                  </a:lnTo>
                  <a:lnTo>
                    <a:pt x="330" y="2086"/>
                  </a:lnTo>
                  <a:lnTo>
                    <a:pt x="334" y="2086"/>
                  </a:lnTo>
                  <a:lnTo>
                    <a:pt x="342" y="2086"/>
                  </a:lnTo>
                  <a:lnTo>
                    <a:pt x="344" y="2084"/>
                  </a:lnTo>
                  <a:lnTo>
                    <a:pt x="346" y="2082"/>
                  </a:lnTo>
                  <a:lnTo>
                    <a:pt x="356" y="2078"/>
                  </a:lnTo>
                  <a:lnTo>
                    <a:pt x="366" y="2076"/>
                  </a:lnTo>
                  <a:lnTo>
                    <a:pt x="368" y="2074"/>
                  </a:lnTo>
                  <a:lnTo>
                    <a:pt x="368" y="2072"/>
                  </a:lnTo>
                  <a:lnTo>
                    <a:pt x="374" y="2074"/>
                  </a:lnTo>
                  <a:lnTo>
                    <a:pt x="380" y="2076"/>
                  </a:lnTo>
                  <a:lnTo>
                    <a:pt x="382" y="2076"/>
                  </a:lnTo>
                  <a:lnTo>
                    <a:pt x="384" y="2074"/>
                  </a:lnTo>
                  <a:lnTo>
                    <a:pt x="386" y="2076"/>
                  </a:lnTo>
                  <a:lnTo>
                    <a:pt x="388" y="2078"/>
                  </a:lnTo>
                  <a:lnTo>
                    <a:pt x="392" y="2078"/>
                  </a:lnTo>
                  <a:lnTo>
                    <a:pt x="400" y="2074"/>
                  </a:lnTo>
                  <a:lnTo>
                    <a:pt x="410" y="2072"/>
                  </a:lnTo>
                  <a:lnTo>
                    <a:pt x="416" y="2074"/>
                  </a:lnTo>
                  <a:lnTo>
                    <a:pt x="422" y="2074"/>
                  </a:lnTo>
                  <a:lnTo>
                    <a:pt x="428" y="2076"/>
                  </a:lnTo>
                  <a:lnTo>
                    <a:pt x="432" y="2076"/>
                  </a:lnTo>
                  <a:lnTo>
                    <a:pt x="440" y="2074"/>
                  </a:lnTo>
                  <a:lnTo>
                    <a:pt x="448" y="2070"/>
                  </a:lnTo>
                  <a:lnTo>
                    <a:pt x="456" y="2068"/>
                  </a:lnTo>
                  <a:lnTo>
                    <a:pt x="460" y="2068"/>
                  </a:lnTo>
                  <a:lnTo>
                    <a:pt x="462" y="2064"/>
                  </a:lnTo>
                  <a:lnTo>
                    <a:pt x="464" y="2060"/>
                  </a:lnTo>
                  <a:lnTo>
                    <a:pt x="470" y="2056"/>
                  </a:lnTo>
                  <a:lnTo>
                    <a:pt x="478" y="2052"/>
                  </a:lnTo>
                  <a:lnTo>
                    <a:pt x="480" y="2048"/>
                  </a:lnTo>
                  <a:lnTo>
                    <a:pt x="480" y="2044"/>
                  </a:lnTo>
                  <a:lnTo>
                    <a:pt x="480" y="2040"/>
                  </a:lnTo>
                  <a:lnTo>
                    <a:pt x="480" y="2038"/>
                  </a:lnTo>
                  <a:lnTo>
                    <a:pt x="478" y="2038"/>
                  </a:lnTo>
                  <a:lnTo>
                    <a:pt x="472" y="2038"/>
                  </a:lnTo>
                  <a:lnTo>
                    <a:pt x="462" y="2040"/>
                  </a:lnTo>
                  <a:lnTo>
                    <a:pt x="456" y="2040"/>
                  </a:lnTo>
                  <a:lnTo>
                    <a:pt x="450" y="2038"/>
                  </a:lnTo>
                  <a:lnTo>
                    <a:pt x="448" y="2036"/>
                  </a:lnTo>
                  <a:lnTo>
                    <a:pt x="450" y="2036"/>
                  </a:lnTo>
                  <a:lnTo>
                    <a:pt x="446" y="2034"/>
                  </a:lnTo>
                  <a:lnTo>
                    <a:pt x="444" y="2032"/>
                  </a:lnTo>
                  <a:lnTo>
                    <a:pt x="448" y="2030"/>
                  </a:lnTo>
                  <a:lnTo>
                    <a:pt x="456" y="2030"/>
                  </a:lnTo>
                  <a:lnTo>
                    <a:pt x="458" y="2028"/>
                  </a:lnTo>
                  <a:lnTo>
                    <a:pt x="460" y="2026"/>
                  </a:lnTo>
                  <a:lnTo>
                    <a:pt x="460" y="2020"/>
                  </a:lnTo>
                  <a:lnTo>
                    <a:pt x="458" y="2020"/>
                  </a:lnTo>
                  <a:lnTo>
                    <a:pt x="456" y="2020"/>
                  </a:lnTo>
                  <a:lnTo>
                    <a:pt x="458" y="2016"/>
                  </a:lnTo>
                  <a:lnTo>
                    <a:pt x="462" y="2014"/>
                  </a:lnTo>
                  <a:lnTo>
                    <a:pt x="464" y="2014"/>
                  </a:lnTo>
                  <a:lnTo>
                    <a:pt x="472" y="2014"/>
                  </a:lnTo>
                  <a:lnTo>
                    <a:pt x="476" y="2014"/>
                  </a:lnTo>
                  <a:lnTo>
                    <a:pt x="476" y="2012"/>
                  </a:lnTo>
                  <a:lnTo>
                    <a:pt x="474" y="2010"/>
                  </a:lnTo>
                  <a:lnTo>
                    <a:pt x="474" y="2008"/>
                  </a:lnTo>
                  <a:lnTo>
                    <a:pt x="474" y="2006"/>
                  </a:lnTo>
                  <a:lnTo>
                    <a:pt x="482" y="2000"/>
                  </a:lnTo>
                  <a:lnTo>
                    <a:pt x="486" y="1996"/>
                  </a:lnTo>
                  <a:lnTo>
                    <a:pt x="490" y="1990"/>
                  </a:lnTo>
                  <a:lnTo>
                    <a:pt x="494" y="1982"/>
                  </a:lnTo>
                  <a:lnTo>
                    <a:pt x="494" y="1970"/>
                  </a:lnTo>
                  <a:close/>
                  <a:moveTo>
                    <a:pt x="662" y="1344"/>
                  </a:moveTo>
                  <a:lnTo>
                    <a:pt x="662" y="1344"/>
                  </a:lnTo>
                  <a:lnTo>
                    <a:pt x="660" y="1344"/>
                  </a:lnTo>
                  <a:lnTo>
                    <a:pt x="656" y="1346"/>
                  </a:lnTo>
                  <a:lnTo>
                    <a:pt x="656" y="1350"/>
                  </a:lnTo>
                  <a:lnTo>
                    <a:pt x="656" y="1354"/>
                  </a:lnTo>
                  <a:lnTo>
                    <a:pt x="660" y="1354"/>
                  </a:lnTo>
                  <a:lnTo>
                    <a:pt x="662" y="1352"/>
                  </a:lnTo>
                  <a:lnTo>
                    <a:pt x="664" y="1348"/>
                  </a:lnTo>
                  <a:lnTo>
                    <a:pt x="664" y="1346"/>
                  </a:lnTo>
                  <a:lnTo>
                    <a:pt x="662" y="1344"/>
                  </a:lnTo>
                  <a:close/>
                  <a:moveTo>
                    <a:pt x="652" y="1354"/>
                  </a:moveTo>
                  <a:lnTo>
                    <a:pt x="652" y="1354"/>
                  </a:lnTo>
                  <a:lnTo>
                    <a:pt x="650" y="1352"/>
                  </a:lnTo>
                  <a:lnTo>
                    <a:pt x="648" y="1352"/>
                  </a:lnTo>
                  <a:lnTo>
                    <a:pt x="646" y="1352"/>
                  </a:lnTo>
                  <a:lnTo>
                    <a:pt x="644" y="1356"/>
                  </a:lnTo>
                  <a:lnTo>
                    <a:pt x="646" y="1358"/>
                  </a:lnTo>
                  <a:lnTo>
                    <a:pt x="648" y="1358"/>
                  </a:lnTo>
                  <a:lnTo>
                    <a:pt x="652" y="1356"/>
                  </a:lnTo>
                  <a:lnTo>
                    <a:pt x="652" y="1354"/>
                  </a:lnTo>
                  <a:close/>
                  <a:moveTo>
                    <a:pt x="150" y="1398"/>
                  </a:moveTo>
                  <a:lnTo>
                    <a:pt x="150" y="1398"/>
                  </a:lnTo>
                  <a:lnTo>
                    <a:pt x="148" y="1396"/>
                  </a:lnTo>
                  <a:lnTo>
                    <a:pt x="146" y="1394"/>
                  </a:lnTo>
                  <a:lnTo>
                    <a:pt x="146" y="1396"/>
                  </a:lnTo>
                  <a:lnTo>
                    <a:pt x="144" y="1398"/>
                  </a:lnTo>
                  <a:lnTo>
                    <a:pt x="146" y="1402"/>
                  </a:lnTo>
                  <a:lnTo>
                    <a:pt x="152" y="1410"/>
                  </a:lnTo>
                  <a:lnTo>
                    <a:pt x="154" y="1412"/>
                  </a:lnTo>
                  <a:lnTo>
                    <a:pt x="156" y="1412"/>
                  </a:lnTo>
                  <a:lnTo>
                    <a:pt x="158" y="1412"/>
                  </a:lnTo>
                  <a:lnTo>
                    <a:pt x="156" y="1410"/>
                  </a:lnTo>
                  <a:lnTo>
                    <a:pt x="154" y="1404"/>
                  </a:lnTo>
                  <a:lnTo>
                    <a:pt x="154" y="1400"/>
                  </a:lnTo>
                  <a:lnTo>
                    <a:pt x="150" y="1398"/>
                  </a:lnTo>
                  <a:close/>
                  <a:moveTo>
                    <a:pt x="732" y="1304"/>
                  </a:moveTo>
                  <a:lnTo>
                    <a:pt x="732" y="1304"/>
                  </a:lnTo>
                  <a:lnTo>
                    <a:pt x="734" y="1302"/>
                  </a:lnTo>
                  <a:lnTo>
                    <a:pt x="732" y="1300"/>
                  </a:lnTo>
                  <a:lnTo>
                    <a:pt x="730" y="1298"/>
                  </a:lnTo>
                  <a:lnTo>
                    <a:pt x="728" y="1300"/>
                  </a:lnTo>
                  <a:lnTo>
                    <a:pt x="726" y="1302"/>
                  </a:lnTo>
                  <a:lnTo>
                    <a:pt x="724" y="1302"/>
                  </a:lnTo>
                  <a:lnTo>
                    <a:pt x="722" y="1300"/>
                  </a:lnTo>
                  <a:lnTo>
                    <a:pt x="720" y="1302"/>
                  </a:lnTo>
                  <a:lnTo>
                    <a:pt x="720" y="1304"/>
                  </a:lnTo>
                  <a:lnTo>
                    <a:pt x="724" y="1306"/>
                  </a:lnTo>
                  <a:lnTo>
                    <a:pt x="732" y="1304"/>
                  </a:lnTo>
                  <a:close/>
                  <a:moveTo>
                    <a:pt x="618" y="1384"/>
                  </a:moveTo>
                  <a:lnTo>
                    <a:pt x="618" y="1384"/>
                  </a:lnTo>
                  <a:lnTo>
                    <a:pt x="622" y="1384"/>
                  </a:lnTo>
                  <a:lnTo>
                    <a:pt x="626" y="1382"/>
                  </a:lnTo>
                  <a:lnTo>
                    <a:pt x="628" y="1380"/>
                  </a:lnTo>
                  <a:lnTo>
                    <a:pt x="628" y="1378"/>
                  </a:lnTo>
                  <a:lnTo>
                    <a:pt x="622" y="1378"/>
                  </a:lnTo>
                  <a:lnTo>
                    <a:pt x="618" y="1378"/>
                  </a:lnTo>
                  <a:lnTo>
                    <a:pt x="616" y="1380"/>
                  </a:lnTo>
                  <a:lnTo>
                    <a:pt x="618" y="1384"/>
                  </a:lnTo>
                  <a:close/>
                  <a:moveTo>
                    <a:pt x="620" y="1456"/>
                  </a:moveTo>
                  <a:lnTo>
                    <a:pt x="620" y="1456"/>
                  </a:lnTo>
                  <a:lnTo>
                    <a:pt x="616" y="1454"/>
                  </a:lnTo>
                  <a:lnTo>
                    <a:pt x="618" y="1456"/>
                  </a:lnTo>
                  <a:lnTo>
                    <a:pt x="622" y="1462"/>
                  </a:lnTo>
                  <a:lnTo>
                    <a:pt x="624" y="1462"/>
                  </a:lnTo>
                  <a:lnTo>
                    <a:pt x="626" y="1464"/>
                  </a:lnTo>
                  <a:lnTo>
                    <a:pt x="624" y="1462"/>
                  </a:lnTo>
                  <a:lnTo>
                    <a:pt x="622" y="1458"/>
                  </a:lnTo>
                  <a:lnTo>
                    <a:pt x="620" y="1456"/>
                  </a:lnTo>
                  <a:close/>
                  <a:moveTo>
                    <a:pt x="630" y="1474"/>
                  </a:moveTo>
                  <a:lnTo>
                    <a:pt x="630" y="1474"/>
                  </a:lnTo>
                  <a:lnTo>
                    <a:pt x="626" y="1468"/>
                  </a:lnTo>
                  <a:lnTo>
                    <a:pt x="622" y="1466"/>
                  </a:lnTo>
                  <a:lnTo>
                    <a:pt x="622" y="1468"/>
                  </a:lnTo>
                  <a:lnTo>
                    <a:pt x="626" y="1474"/>
                  </a:lnTo>
                  <a:lnTo>
                    <a:pt x="628" y="1476"/>
                  </a:lnTo>
                  <a:lnTo>
                    <a:pt x="630" y="1474"/>
                  </a:lnTo>
                  <a:close/>
                  <a:moveTo>
                    <a:pt x="624" y="1490"/>
                  </a:moveTo>
                  <a:lnTo>
                    <a:pt x="624" y="1490"/>
                  </a:lnTo>
                  <a:lnTo>
                    <a:pt x="626" y="1490"/>
                  </a:lnTo>
                  <a:lnTo>
                    <a:pt x="626" y="1486"/>
                  </a:lnTo>
                  <a:lnTo>
                    <a:pt x="624" y="1476"/>
                  </a:lnTo>
                  <a:lnTo>
                    <a:pt x="622" y="1474"/>
                  </a:lnTo>
                  <a:lnTo>
                    <a:pt x="622" y="1476"/>
                  </a:lnTo>
                  <a:lnTo>
                    <a:pt x="622" y="1480"/>
                  </a:lnTo>
                  <a:lnTo>
                    <a:pt x="622" y="1486"/>
                  </a:lnTo>
                  <a:lnTo>
                    <a:pt x="622" y="1490"/>
                  </a:lnTo>
                  <a:lnTo>
                    <a:pt x="624" y="1490"/>
                  </a:lnTo>
                  <a:close/>
                  <a:moveTo>
                    <a:pt x="302" y="1578"/>
                  </a:moveTo>
                  <a:lnTo>
                    <a:pt x="302" y="1578"/>
                  </a:lnTo>
                  <a:lnTo>
                    <a:pt x="300" y="1580"/>
                  </a:lnTo>
                  <a:lnTo>
                    <a:pt x="300" y="1582"/>
                  </a:lnTo>
                  <a:lnTo>
                    <a:pt x="302" y="1582"/>
                  </a:lnTo>
                  <a:lnTo>
                    <a:pt x="304" y="1584"/>
                  </a:lnTo>
                  <a:lnTo>
                    <a:pt x="306" y="1582"/>
                  </a:lnTo>
                  <a:lnTo>
                    <a:pt x="306" y="1580"/>
                  </a:lnTo>
                  <a:lnTo>
                    <a:pt x="304" y="1578"/>
                  </a:lnTo>
                  <a:lnTo>
                    <a:pt x="302" y="1578"/>
                  </a:lnTo>
                  <a:close/>
                  <a:moveTo>
                    <a:pt x="160" y="1386"/>
                  </a:moveTo>
                  <a:lnTo>
                    <a:pt x="160" y="1386"/>
                  </a:lnTo>
                  <a:lnTo>
                    <a:pt x="158" y="1382"/>
                  </a:lnTo>
                  <a:lnTo>
                    <a:pt x="154" y="1378"/>
                  </a:lnTo>
                  <a:lnTo>
                    <a:pt x="150" y="1378"/>
                  </a:lnTo>
                  <a:lnTo>
                    <a:pt x="148" y="1378"/>
                  </a:lnTo>
                  <a:lnTo>
                    <a:pt x="148" y="1380"/>
                  </a:lnTo>
                  <a:lnTo>
                    <a:pt x="148" y="1382"/>
                  </a:lnTo>
                  <a:lnTo>
                    <a:pt x="152" y="1384"/>
                  </a:lnTo>
                  <a:lnTo>
                    <a:pt x="156" y="1386"/>
                  </a:lnTo>
                  <a:lnTo>
                    <a:pt x="160" y="1386"/>
                  </a:lnTo>
                  <a:close/>
                  <a:moveTo>
                    <a:pt x="320" y="1546"/>
                  </a:moveTo>
                  <a:lnTo>
                    <a:pt x="320" y="1546"/>
                  </a:lnTo>
                  <a:lnTo>
                    <a:pt x="318" y="1546"/>
                  </a:lnTo>
                  <a:lnTo>
                    <a:pt x="316" y="1546"/>
                  </a:lnTo>
                  <a:lnTo>
                    <a:pt x="314" y="1548"/>
                  </a:lnTo>
                  <a:lnTo>
                    <a:pt x="312" y="1552"/>
                  </a:lnTo>
                  <a:lnTo>
                    <a:pt x="314" y="1552"/>
                  </a:lnTo>
                  <a:lnTo>
                    <a:pt x="318" y="1552"/>
                  </a:lnTo>
                  <a:lnTo>
                    <a:pt x="318" y="1550"/>
                  </a:lnTo>
                  <a:lnTo>
                    <a:pt x="320" y="1548"/>
                  </a:lnTo>
                  <a:lnTo>
                    <a:pt x="322" y="1546"/>
                  </a:lnTo>
                  <a:lnTo>
                    <a:pt x="320" y="1546"/>
                  </a:lnTo>
                  <a:close/>
                  <a:moveTo>
                    <a:pt x="354" y="1486"/>
                  </a:moveTo>
                  <a:lnTo>
                    <a:pt x="354" y="1486"/>
                  </a:lnTo>
                  <a:lnTo>
                    <a:pt x="356" y="1488"/>
                  </a:lnTo>
                  <a:lnTo>
                    <a:pt x="356" y="1490"/>
                  </a:lnTo>
                  <a:lnTo>
                    <a:pt x="358" y="1488"/>
                  </a:lnTo>
                  <a:lnTo>
                    <a:pt x="362" y="1490"/>
                  </a:lnTo>
                  <a:lnTo>
                    <a:pt x="364" y="1492"/>
                  </a:lnTo>
                  <a:lnTo>
                    <a:pt x="364" y="1490"/>
                  </a:lnTo>
                  <a:lnTo>
                    <a:pt x="366" y="1488"/>
                  </a:lnTo>
                  <a:lnTo>
                    <a:pt x="370" y="1490"/>
                  </a:lnTo>
                  <a:lnTo>
                    <a:pt x="372" y="1492"/>
                  </a:lnTo>
                  <a:lnTo>
                    <a:pt x="372" y="1494"/>
                  </a:lnTo>
                  <a:lnTo>
                    <a:pt x="370" y="1500"/>
                  </a:lnTo>
                  <a:lnTo>
                    <a:pt x="368" y="1506"/>
                  </a:lnTo>
                  <a:lnTo>
                    <a:pt x="368" y="1508"/>
                  </a:lnTo>
                  <a:lnTo>
                    <a:pt x="370" y="1512"/>
                  </a:lnTo>
                  <a:lnTo>
                    <a:pt x="372" y="1512"/>
                  </a:lnTo>
                  <a:lnTo>
                    <a:pt x="372" y="1510"/>
                  </a:lnTo>
                  <a:lnTo>
                    <a:pt x="374" y="1502"/>
                  </a:lnTo>
                  <a:lnTo>
                    <a:pt x="376" y="1496"/>
                  </a:lnTo>
                  <a:lnTo>
                    <a:pt x="374" y="1490"/>
                  </a:lnTo>
                  <a:lnTo>
                    <a:pt x="374" y="1488"/>
                  </a:lnTo>
                  <a:lnTo>
                    <a:pt x="376" y="1484"/>
                  </a:lnTo>
                  <a:lnTo>
                    <a:pt x="380" y="1476"/>
                  </a:lnTo>
                  <a:lnTo>
                    <a:pt x="380" y="1472"/>
                  </a:lnTo>
                  <a:lnTo>
                    <a:pt x="378" y="1474"/>
                  </a:lnTo>
                  <a:lnTo>
                    <a:pt x="376" y="1476"/>
                  </a:lnTo>
                  <a:lnTo>
                    <a:pt x="376" y="1474"/>
                  </a:lnTo>
                  <a:lnTo>
                    <a:pt x="376" y="1472"/>
                  </a:lnTo>
                  <a:lnTo>
                    <a:pt x="374" y="1470"/>
                  </a:lnTo>
                  <a:lnTo>
                    <a:pt x="372" y="1470"/>
                  </a:lnTo>
                  <a:lnTo>
                    <a:pt x="372" y="1472"/>
                  </a:lnTo>
                  <a:lnTo>
                    <a:pt x="370" y="1474"/>
                  </a:lnTo>
                  <a:lnTo>
                    <a:pt x="370" y="1472"/>
                  </a:lnTo>
                  <a:lnTo>
                    <a:pt x="370" y="1462"/>
                  </a:lnTo>
                  <a:lnTo>
                    <a:pt x="370" y="1460"/>
                  </a:lnTo>
                  <a:lnTo>
                    <a:pt x="368" y="1460"/>
                  </a:lnTo>
                  <a:lnTo>
                    <a:pt x="364" y="1464"/>
                  </a:lnTo>
                  <a:lnTo>
                    <a:pt x="358" y="1468"/>
                  </a:lnTo>
                  <a:lnTo>
                    <a:pt x="358" y="1470"/>
                  </a:lnTo>
                  <a:lnTo>
                    <a:pt x="364" y="1474"/>
                  </a:lnTo>
                  <a:lnTo>
                    <a:pt x="368" y="1476"/>
                  </a:lnTo>
                  <a:lnTo>
                    <a:pt x="368" y="1480"/>
                  </a:lnTo>
                  <a:lnTo>
                    <a:pt x="366" y="1482"/>
                  </a:lnTo>
                  <a:lnTo>
                    <a:pt x="360" y="1482"/>
                  </a:lnTo>
                  <a:lnTo>
                    <a:pt x="356" y="1482"/>
                  </a:lnTo>
                  <a:lnTo>
                    <a:pt x="356" y="1484"/>
                  </a:lnTo>
                  <a:lnTo>
                    <a:pt x="354" y="1486"/>
                  </a:lnTo>
                  <a:close/>
                  <a:moveTo>
                    <a:pt x="312" y="1560"/>
                  </a:moveTo>
                  <a:lnTo>
                    <a:pt x="312" y="1560"/>
                  </a:lnTo>
                  <a:lnTo>
                    <a:pt x="312" y="1562"/>
                  </a:lnTo>
                  <a:lnTo>
                    <a:pt x="314" y="1562"/>
                  </a:lnTo>
                  <a:lnTo>
                    <a:pt x="318" y="1560"/>
                  </a:lnTo>
                  <a:lnTo>
                    <a:pt x="316" y="1558"/>
                  </a:lnTo>
                  <a:lnTo>
                    <a:pt x="314" y="1556"/>
                  </a:lnTo>
                  <a:lnTo>
                    <a:pt x="312" y="1560"/>
                  </a:lnTo>
                  <a:close/>
                  <a:moveTo>
                    <a:pt x="744" y="1294"/>
                  </a:moveTo>
                  <a:lnTo>
                    <a:pt x="744" y="1294"/>
                  </a:lnTo>
                  <a:lnTo>
                    <a:pt x="746" y="1296"/>
                  </a:lnTo>
                  <a:lnTo>
                    <a:pt x="748" y="1296"/>
                  </a:lnTo>
                  <a:lnTo>
                    <a:pt x="750" y="1294"/>
                  </a:lnTo>
                  <a:lnTo>
                    <a:pt x="752" y="1292"/>
                  </a:lnTo>
                  <a:lnTo>
                    <a:pt x="748" y="1288"/>
                  </a:lnTo>
                  <a:lnTo>
                    <a:pt x="746" y="1288"/>
                  </a:lnTo>
                  <a:lnTo>
                    <a:pt x="744" y="1290"/>
                  </a:lnTo>
                  <a:lnTo>
                    <a:pt x="744" y="1294"/>
                  </a:lnTo>
                  <a:close/>
                  <a:moveTo>
                    <a:pt x="380" y="1462"/>
                  </a:moveTo>
                  <a:lnTo>
                    <a:pt x="380" y="1462"/>
                  </a:lnTo>
                  <a:lnTo>
                    <a:pt x="382" y="1460"/>
                  </a:lnTo>
                  <a:lnTo>
                    <a:pt x="382" y="1456"/>
                  </a:lnTo>
                  <a:lnTo>
                    <a:pt x="382" y="1454"/>
                  </a:lnTo>
                  <a:lnTo>
                    <a:pt x="380" y="1454"/>
                  </a:lnTo>
                  <a:lnTo>
                    <a:pt x="378" y="1454"/>
                  </a:lnTo>
                  <a:lnTo>
                    <a:pt x="378" y="1456"/>
                  </a:lnTo>
                  <a:lnTo>
                    <a:pt x="376" y="1460"/>
                  </a:lnTo>
                  <a:lnTo>
                    <a:pt x="374" y="1462"/>
                  </a:lnTo>
                  <a:lnTo>
                    <a:pt x="376" y="1468"/>
                  </a:lnTo>
                  <a:lnTo>
                    <a:pt x="378" y="1468"/>
                  </a:lnTo>
                  <a:lnTo>
                    <a:pt x="378" y="1466"/>
                  </a:lnTo>
                  <a:lnTo>
                    <a:pt x="380" y="1464"/>
                  </a:lnTo>
                  <a:lnTo>
                    <a:pt x="380" y="1462"/>
                  </a:lnTo>
                  <a:close/>
                  <a:moveTo>
                    <a:pt x="134" y="1090"/>
                  </a:moveTo>
                  <a:lnTo>
                    <a:pt x="134" y="1090"/>
                  </a:lnTo>
                  <a:lnTo>
                    <a:pt x="148" y="1086"/>
                  </a:lnTo>
                  <a:lnTo>
                    <a:pt x="158" y="1086"/>
                  </a:lnTo>
                  <a:lnTo>
                    <a:pt x="190" y="1088"/>
                  </a:lnTo>
                  <a:lnTo>
                    <a:pt x="200" y="1088"/>
                  </a:lnTo>
                  <a:lnTo>
                    <a:pt x="202" y="1090"/>
                  </a:lnTo>
                  <a:lnTo>
                    <a:pt x="202" y="1092"/>
                  </a:lnTo>
                  <a:lnTo>
                    <a:pt x="198" y="1094"/>
                  </a:lnTo>
                  <a:lnTo>
                    <a:pt x="186" y="1100"/>
                  </a:lnTo>
                  <a:lnTo>
                    <a:pt x="182" y="1104"/>
                  </a:lnTo>
                  <a:lnTo>
                    <a:pt x="180" y="1108"/>
                  </a:lnTo>
                  <a:lnTo>
                    <a:pt x="182" y="1110"/>
                  </a:lnTo>
                  <a:lnTo>
                    <a:pt x="186" y="1112"/>
                  </a:lnTo>
                  <a:lnTo>
                    <a:pt x="196" y="1112"/>
                  </a:lnTo>
                  <a:lnTo>
                    <a:pt x="204" y="1114"/>
                  </a:lnTo>
                  <a:lnTo>
                    <a:pt x="198" y="1118"/>
                  </a:lnTo>
                  <a:lnTo>
                    <a:pt x="190" y="1120"/>
                  </a:lnTo>
                  <a:lnTo>
                    <a:pt x="182" y="1120"/>
                  </a:lnTo>
                  <a:lnTo>
                    <a:pt x="174" y="1118"/>
                  </a:lnTo>
                  <a:lnTo>
                    <a:pt x="166" y="1116"/>
                  </a:lnTo>
                  <a:lnTo>
                    <a:pt x="162" y="1116"/>
                  </a:lnTo>
                  <a:lnTo>
                    <a:pt x="156" y="1120"/>
                  </a:lnTo>
                  <a:lnTo>
                    <a:pt x="150" y="1122"/>
                  </a:lnTo>
                  <a:lnTo>
                    <a:pt x="144" y="1124"/>
                  </a:lnTo>
                  <a:lnTo>
                    <a:pt x="132" y="1124"/>
                  </a:lnTo>
                  <a:lnTo>
                    <a:pt x="122" y="1126"/>
                  </a:lnTo>
                  <a:lnTo>
                    <a:pt x="120" y="1130"/>
                  </a:lnTo>
                  <a:lnTo>
                    <a:pt x="120" y="1132"/>
                  </a:lnTo>
                  <a:lnTo>
                    <a:pt x="122" y="1136"/>
                  </a:lnTo>
                  <a:lnTo>
                    <a:pt x="124" y="1138"/>
                  </a:lnTo>
                  <a:lnTo>
                    <a:pt x="134" y="1136"/>
                  </a:lnTo>
                  <a:lnTo>
                    <a:pt x="152" y="1134"/>
                  </a:lnTo>
                  <a:lnTo>
                    <a:pt x="162" y="1134"/>
                  </a:lnTo>
                  <a:lnTo>
                    <a:pt x="174" y="1136"/>
                  </a:lnTo>
                  <a:lnTo>
                    <a:pt x="180" y="1138"/>
                  </a:lnTo>
                  <a:lnTo>
                    <a:pt x="184" y="1140"/>
                  </a:lnTo>
                  <a:lnTo>
                    <a:pt x="186" y="1142"/>
                  </a:lnTo>
                  <a:lnTo>
                    <a:pt x="186" y="1146"/>
                  </a:lnTo>
                  <a:lnTo>
                    <a:pt x="186" y="1152"/>
                  </a:lnTo>
                  <a:lnTo>
                    <a:pt x="188" y="1154"/>
                  </a:lnTo>
                  <a:lnTo>
                    <a:pt x="190" y="1156"/>
                  </a:lnTo>
                  <a:lnTo>
                    <a:pt x="198" y="1160"/>
                  </a:lnTo>
                  <a:lnTo>
                    <a:pt x="202" y="1166"/>
                  </a:lnTo>
                  <a:lnTo>
                    <a:pt x="202" y="1174"/>
                  </a:lnTo>
                  <a:lnTo>
                    <a:pt x="198" y="1184"/>
                  </a:lnTo>
                  <a:lnTo>
                    <a:pt x="196" y="1186"/>
                  </a:lnTo>
                  <a:lnTo>
                    <a:pt x="190" y="1186"/>
                  </a:lnTo>
                  <a:lnTo>
                    <a:pt x="180" y="1184"/>
                  </a:lnTo>
                  <a:lnTo>
                    <a:pt x="172" y="1184"/>
                  </a:lnTo>
                  <a:lnTo>
                    <a:pt x="170" y="1186"/>
                  </a:lnTo>
                  <a:lnTo>
                    <a:pt x="170" y="1190"/>
                  </a:lnTo>
                  <a:lnTo>
                    <a:pt x="172" y="1196"/>
                  </a:lnTo>
                  <a:lnTo>
                    <a:pt x="174" y="1198"/>
                  </a:lnTo>
                  <a:lnTo>
                    <a:pt x="176" y="1200"/>
                  </a:lnTo>
                  <a:lnTo>
                    <a:pt x="182" y="1202"/>
                  </a:lnTo>
                  <a:lnTo>
                    <a:pt x="196" y="1202"/>
                  </a:lnTo>
                  <a:lnTo>
                    <a:pt x="220" y="1200"/>
                  </a:lnTo>
                  <a:lnTo>
                    <a:pt x="232" y="1200"/>
                  </a:lnTo>
                  <a:lnTo>
                    <a:pt x="242" y="1202"/>
                  </a:lnTo>
                  <a:lnTo>
                    <a:pt x="252" y="1206"/>
                  </a:lnTo>
                  <a:lnTo>
                    <a:pt x="260" y="1208"/>
                  </a:lnTo>
                  <a:lnTo>
                    <a:pt x="274" y="1216"/>
                  </a:lnTo>
                  <a:lnTo>
                    <a:pt x="282" y="1218"/>
                  </a:lnTo>
                  <a:lnTo>
                    <a:pt x="292" y="1220"/>
                  </a:lnTo>
                  <a:lnTo>
                    <a:pt x="300" y="1220"/>
                  </a:lnTo>
                  <a:lnTo>
                    <a:pt x="308" y="1224"/>
                  </a:lnTo>
                  <a:lnTo>
                    <a:pt x="318" y="1228"/>
                  </a:lnTo>
                  <a:lnTo>
                    <a:pt x="322" y="1230"/>
                  </a:lnTo>
                  <a:lnTo>
                    <a:pt x="328" y="1232"/>
                  </a:lnTo>
                  <a:lnTo>
                    <a:pt x="336" y="1232"/>
                  </a:lnTo>
                  <a:lnTo>
                    <a:pt x="346" y="1230"/>
                  </a:lnTo>
                  <a:lnTo>
                    <a:pt x="356" y="1226"/>
                  </a:lnTo>
                  <a:lnTo>
                    <a:pt x="362" y="1222"/>
                  </a:lnTo>
                  <a:lnTo>
                    <a:pt x="368" y="1214"/>
                  </a:lnTo>
                  <a:lnTo>
                    <a:pt x="370" y="1210"/>
                  </a:lnTo>
                  <a:lnTo>
                    <a:pt x="374" y="1206"/>
                  </a:lnTo>
                  <a:lnTo>
                    <a:pt x="380" y="1206"/>
                  </a:lnTo>
                  <a:lnTo>
                    <a:pt x="388" y="1206"/>
                  </a:lnTo>
                  <a:lnTo>
                    <a:pt x="396" y="1204"/>
                  </a:lnTo>
                  <a:lnTo>
                    <a:pt x="404" y="1204"/>
                  </a:lnTo>
                  <a:lnTo>
                    <a:pt x="418" y="1198"/>
                  </a:lnTo>
                  <a:lnTo>
                    <a:pt x="452" y="1176"/>
                  </a:lnTo>
                  <a:lnTo>
                    <a:pt x="462" y="1172"/>
                  </a:lnTo>
                  <a:lnTo>
                    <a:pt x="470" y="1170"/>
                  </a:lnTo>
                  <a:lnTo>
                    <a:pt x="484" y="1168"/>
                  </a:lnTo>
                  <a:lnTo>
                    <a:pt x="488" y="1166"/>
                  </a:lnTo>
                  <a:lnTo>
                    <a:pt x="494" y="1164"/>
                  </a:lnTo>
                  <a:lnTo>
                    <a:pt x="500" y="1160"/>
                  </a:lnTo>
                  <a:lnTo>
                    <a:pt x="504" y="1154"/>
                  </a:lnTo>
                  <a:lnTo>
                    <a:pt x="514" y="1142"/>
                  </a:lnTo>
                  <a:lnTo>
                    <a:pt x="522" y="1136"/>
                  </a:lnTo>
                  <a:lnTo>
                    <a:pt x="528" y="1134"/>
                  </a:lnTo>
                  <a:lnTo>
                    <a:pt x="534" y="1126"/>
                  </a:lnTo>
                  <a:lnTo>
                    <a:pt x="540" y="1112"/>
                  </a:lnTo>
                  <a:lnTo>
                    <a:pt x="542" y="1104"/>
                  </a:lnTo>
                  <a:lnTo>
                    <a:pt x="542" y="1098"/>
                  </a:lnTo>
                  <a:lnTo>
                    <a:pt x="542" y="1090"/>
                  </a:lnTo>
                  <a:lnTo>
                    <a:pt x="538" y="1086"/>
                  </a:lnTo>
                  <a:lnTo>
                    <a:pt x="532" y="1082"/>
                  </a:lnTo>
                  <a:lnTo>
                    <a:pt x="526" y="1080"/>
                  </a:lnTo>
                  <a:lnTo>
                    <a:pt x="518" y="1078"/>
                  </a:lnTo>
                  <a:lnTo>
                    <a:pt x="514" y="1076"/>
                  </a:lnTo>
                  <a:lnTo>
                    <a:pt x="510" y="1072"/>
                  </a:lnTo>
                  <a:lnTo>
                    <a:pt x="506" y="1068"/>
                  </a:lnTo>
                  <a:lnTo>
                    <a:pt x="502" y="1066"/>
                  </a:lnTo>
                  <a:lnTo>
                    <a:pt x="496" y="1068"/>
                  </a:lnTo>
                  <a:lnTo>
                    <a:pt x="494" y="1066"/>
                  </a:lnTo>
                  <a:lnTo>
                    <a:pt x="492" y="1064"/>
                  </a:lnTo>
                  <a:lnTo>
                    <a:pt x="496" y="1058"/>
                  </a:lnTo>
                  <a:lnTo>
                    <a:pt x="500" y="1052"/>
                  </a:lnTo>
                  <a:lnTo>
                    <a:pt x="500" y="1048"/>
                  </a:lnTo>
                  <a:lnTo>
                    <a:pt x="496" y="1046"/>
                  </a:lnTo>
                  <a:lnTo>
                    <a:pt x="492" y="1046"/>
                  </a:lnTo>
                  <a:lnTo>
                    <a:pt x="486" y="1044"/>
                  </a:lnTo>
                  <a:lnTo>
                    <a:pt x="484" y="1044"/>
                  </a:lnTo>
                  <a:lnTo>
                    <a:pt x="484" y="1040"/>
                  </a:lnTo>
                  <a:lnTo>
                    <a:pt x="488" y="1036"/>
                  </a:lnTo>
                  <a:lnTo>
                    <a:pt x="500" y="1028"/>
                  </a:lnTo>
                  <a:lnTo>
                    <a:pt x="500" y="1024"/>
                  </a:lnTo>
                  <a:lnTo>
                    <a:pt x="500" y="1022"/>
                  </a:lnTo>
                  <a:lnTo>
                    <a:pt x="494" y="1022"/>
                  </a:lnTo>
                  <a:lnTo>
                    <a:pt x="484" y="1026"/>
                  </a:lnTo>
                  <a:lnTo>
                    <a:pt x="474" y="1032"/>
                  </a:lnTo>
                  <a:lnTo>
                    <a:pt x="466" y="1036"/>
                  </a:lnTo>
                  <a:lnTo>
                    <a:pt x="462" y="1036"/>
                  </a:lnTo>
                  <a:lnTo>
                    <a:pt x="460" y="1034"/>
                  </a:lnTo>
                  <a:lnTo>
                    <a:pt x="456" y="1028"/>
                  </a:lnTo>
                  <a:lnTo>
                    <a:pt x="450" y="1020"/>
                  </a:lnTo>
                  <a:lnTo>
                    <a:pt x="446" y="1016"/>
                  </a:lnTo>
                  <a:lnTo>
                    <a:pt x="442" y="1012"/>
                  </a:lnTo>
                  <a:lnTo>
                    <a:pt x="436" y="1012"/>
                  </a:lnTo>
                  <a:lnTo>
                    <a:pt x="430" y="1012"/>
                  </a:lnTo>
                  <a:lnTo>
                    <a:pt x="424" y="1014"/>
                  </a:lnTo>
                  <a:lnTo>
                    <a:pt x="420" y="1018"/>
                  </a:lnTo>
                  <a:lnTo>
                    <a:pt x="418" y="1022"/>
                  </a:lnTo>
                  <a:lnTo>
                    <a:pt x="420" y="1026"/>
                  </a:lnTo>
                  <a:lnTo>
                    <a:pt x="424" y="1034"/>
                  </a:lnTo>
                  <a:lnTo>
                    <a:pt x="424" y="1038"/>
                  </a:lnTo>
                  <a:lnTo>
                    <a:pt x="424" y="1040"/>
                  </a:lnTo>
                  <a:lnTo>
                    <a:pt x="420" y="1042"/>
                  </a:lnTo>
                  <a:lnTo>
                    <a:pt x="418" y="1042"/>
                  </a:lnTo>
                  <a:lnTo>
                    <a:pt x="406" y="1038"/>
                  </a:lnTo>
                  <a:lnTo>
                    <a:pt x="402" y="1036"/>
                  </a:lnTo>
                  <a:lnTo>
                    <a:pt x="396" y="1038"/>
                  </a:lnTo>
                  <a:lnTo>
                    <a:pt x="390" y="1046"/>
                  </a:lnTo>
                  <a:lnTo>
                    <a:pt x="386" y="1050"/>
                  </a:lnTo>
                  <a:lnTo>
                    <a:pt x="382" y="1052"/>
                  </a:lnTo>
                  <a:lnTo>
                    <a:pt x="378" y="1052"/>
                  </a:lnTo>
                  <a:lnTo>
                    <a:pt x="374" y="1048"/>
                  </a:lnTo>
                  <a:lnTo>
                    <a:pt x="362" y="1038"/>
                  </a:lnTo>
                  <a:lnTo>
                    <a:pt x="358" y="1038"/>
                  </a:lnTo>
                  <a:lnTo>
                    <a:pt x="356" y="1038"/>
                  </a:lnTo>
                  <a:lnTo>
                    <a:pt x="354" y="1038"/>
                  </a:lnTo>
                  <a:lnTo>
                    <a:pt x="352" y="1042"/>
                  </a:lnTo>
                  <a:lnTo>
                    <a:pt x="352" y="1052"/>
                  </a:lnTo>
                  <a:lnTo>
                    <a:pt x="352" y="1056"/>
                  </a:lnTo>
                  <a:lnTo>
                    <a:pt x="350" y="1058"/>
                  </a:lnTo>
                  <a:lnTo>
                    <a:pt x="350" y="1060"/>
                  </a:lnTo>
                  <a:lnTo>
                    <a:pt x="346" y="1058"/>
                  </a:lnTo>
                  <a:lnTo>
                    <a:pt x="342" y="1052"/>
                  </a:lnTo>
                  <a:lnTo>
                    <a:pt x="338" y="1042"/>
                  </a:lnTo>
                  <a:lnTo>
                    <a:pt x="336" y="1038"/>
                  </a:lnTo>
                  <a:lnTo>
                    <a:pt x="330" y="1036"/>
                  </a:lnTo>
                  <a:lnTo>
                    <a:pt x="326" y="1036"/>
                  </a:lnTo>
                  <a:lnTo>
                    <a:pt x="320" y="1038"/>
                  </a:lnTo>
                  <a:lnTo>
                    <a:pt x="314" y="1042"/>
                  </a:lnTo>
                  <a:lnTo>
                    <a:pt x="308" y="1048"/>
                  </a:lnTo>
                  <a:lnTo>
                    <a:pt x="306" y="1054"/>
                  </a:lnTo>
                  <a:lnTo>
                    <a:pt x="306" y="1060"/>
                  </a:lnTo>
                  <a:lnTo>
                    <a:pt x="304" y="1070"/>
                  </a:lnTo>
                  <a:lnTo>
                    <a:pt x="304" y="1072"/>
                  </a:lnTo>
                  <a:lnTo>
                    <a:pt x="302" y="1072"/>
                  </a:lnTo>
                  <a:lnTo>
                    <a:pt x="294" y="1066"/>
                  </a:lnTo>
                  <a:lnTo>
                    <a:pt x="286" y="1052"/>
                  </a:lnTo>
                  <a:lnTo>
                    <a:pt x="280" y="1044"/>
                  </a:lnTo>
                  <a:lnTo>
                    <a:pt x="276" y="1042"/>
                  </a:lnTo>
                  <a:lnTo>
                    <a:pt x="272" y="1040"/>
                  </a:lnTo>
                  <a:lnTo>
                    <a:pt x="268" y="1042"/>
                  </a:lnTo>
                  <a:lnTo>
                    <a:pt x="266" y="1046"/>
                  </a:lnTo>
                  <a:lnTo>
                    <a:pt x="266" y="1052"/>
                  </a:lnTo>
                  <a:lnTo>
                    <a:pt x="266" y="1056"/>
                  </a:lnTo>
                  <a:lnTo>
                    <a:pt x="268" y="1062"/>
                  </a:lnTo>
                  <a:lnTo>
                    <a:pt x="270" y="1074"/>
                  </a:lnTo>
                  <a:lnTo>
                    <a:pt x="270" y="1078"/>
                  </a:lnTo>
                  <a:lnTo>
                    <a:pt x="270" y="1080"/>
                  </a:lnTo>
                  <a:lnTo>
                    <a:pt x="266" y="1082"/>
                  </a:lnTo>
                  <a:lnTo>
                    <a:pt x="264" y="1082"/>
                  </a:lnTo>
                  <a:lnTo>
                    <a:pt x="260" y="1080"/>
                  </a:lnTo>
                  <a:lnTo>
                    <a:pt x="256" y="1074"/>
                  </a:lnTo>
                  <a:lnTo>
                    <a:pt x="252" y="1070"/>
                  </a:lnTo>
                  <a:lnTo>
                    <a:pt x="248" y="1072"/>
                  </a:lnTo>
                  <a:lnTo>
                    <a:pt x="246" y="1076"/>
                  </a:lnTo>
                  <a:lnTo>
                    <a:pt x="242" y="1082"/>
                  </a:lnTo>
                  <a:lnTo>
                    <a:pt x="240" y="1088"/>
                  </a:lnTo>
                  <a:lnTo>
                    <a:pt x="236" y="1090"/>
                  </a:lnTo>
                  <a:lnTo>
                    <a:pt x="234" y="1092"/>
                  </a:lnTo>
                  <a:lnTo>
                    <a:pt x="232" y="1090"/>
                  </a:lnTo>
                  <a:lnTo>
                    <a:pt x="228" y="1084"/>
                  </a:lnTo>
                  <a:lnTo>
                    <a:pt x="226" y="1076"/>
                  </a:lnTo>
                  <a:lnTo>
                    <a:pt x="226" y="1070"/>
                  </a:lnTo>
                  <a:lnTo>
                    <a:pt x="228" y="1060"/>
                  </a:lnTo>
                  <a:lnTo>
                    <a:pt x="228" y="1058"/>
                  </a:lnTo>
                  <a:lnTo>
                    <a:pt x="228" y="1054"/>
                  </a:lnTo>
                  <a:lnTo>
                    <a:pt x="224" y="1050"/>
                  </a:lnTo>
                  <a:lnTo>
                    <a:pt x="216" y="1046"/>
                  </a:lnTo>
                  <a:lnTo>
                    <a:pt x="204" y="1036"/>
                  </a:lnTo>
                  <a:lnTo>
                    <a:pt x="200" y="1030"/>
                  </a:lnTo>
                  <a:lnTo>
                    <a:pt x="194" y="1026"/>
                  </a:lnTo>
                  <a:lnTo>
                    <a:pt x="184" y="1020"/>
                  </a:lnTo>
                  <a:lnTo>
                    <a:pt x="174" y="1018"/>
                  </a:lnTo>
                  <a:lnTo>
                    <a:pt x="168" y="1018"/>
                  </a:lnTo>
                  <a:lnTo>
                    <a:pt x="162" y="1018"/>
                  </a:lnTo>
                  <a:lnTo>
                    <a:pt x="158" y="1020"/>
                  </a:lnTo>
                  <a:lnTo>
                    <a:pt x="154" y="1024"/>
                  </a:lnTo>
                  <a:lnTo>
                    <a:pt x="152" y="1026"/>
                  </a:lnTo>
                  <a:lnTo>
                    <a:pt x="152" y="1030"/>
                  </a:lnTo>
                  <a:lnTo>
                    <a:pt x="154" y="1032"/>
                  </a:lnTo>
                  <a:lnTo>
                    <a:pt x="162" y="1038"/>
                  </a:lnTo>
                  <a:lnTo>
                    <a:pt x="170" y="1042"/>
                  </a:lnTo>
                  <a:lnTo>
                    <a:pt x="180" y="1048"/>
                  </a:lnTo>
                  <a:lnTo>
                    <a:pt x="186" y="1054"/>
                  </a:lnTo>
                  <a:lnTo>
                    <a:pt x="188" y="1058"/>
                  </a:lnTo>
                  <a:lnTo>
                    <a:pt x="186" y="1058"/>
                  </a:lnTo>
                  <a:lnTo>
                    <a:pt x="178" y="1056"/>
                  </a:lnTo>
                  <a:lnTo>
                    <a:pt x="166" y="1048"/>
                  </a:lnTo>
                  <a:lnTo>
                    <a:pt x="154" y="1040"/>
                  </a:lnTo>
                  <a:lnTo>
                    <a:pt x="148" y="1038"/>
                  </a:lnTo>
                  <a:lnTo>
                    <a:pt x="144" y="1036"/>
                  </a:lnTo>
                  <a:lnTo>
                    <a:pt x="140" y="1038"/>
                  </a:lnTo>
                  <a:lnTo>
                    <a:pt x="136" y="1040"/>
                  </a:lnTo>
                  <a:lnTo>
                    <a:pt x="130" y="1048"/>
                  </a:lnTo>
                  <a:lnTo>
                    <a:pt x="128" y="1058"/>
                  </a:lnTo>
                  <a:lnTo>
                    <a:pt x="128" y="1064"/>
                  </a:lnTo>
                  <a:lnTo>
                    <a:pt x="126" y="1066"/>
                  </a:lnTo>
                  <a:lnTo>
                    <a:pt x="122" y="1068"/>
                  </a:lnTo>
                  <a:lnTo>
                    <a:pt x="118" y="1068"/>
                  </a:lnTo>
                  <a:lnTo>
                    <a:pt x="116" y="1070"/>
                  </a:lnTo>
                  <a:lnTo>
                    <a:pt x="116" y="1074"/>
                  </a:lnTo>
                  <a:lnTo>
                    <a:pt x="114" y="1080"/>
                  </a:lnTo>
                  <a:lnTo>
                    <a:pt x="112" y="1080"/>
                  </a:lnTo>
                  <a:lnTo>
                    <a:pt x="106" y="1078"/>
                  </a:lnTo>
                  <a:lnTo>
                    <a:pt x="102" y="1078"/>
                  </a:lnTo>
                  <a:lnTo>
                    <a:pt x="98" y="1080"/>
                  </a:lnTo>
                  <a:lnTo>
                    <a:pt x="96" y="1082"/>
                  </a:lnTo>
                  <a:lnTo>
                    <a:pt x="96" y="1084"/>
                  </a:lnTo>
                  <a:lnTo>
                    <a:pt x="100" y="1086"/>
                  </a:lnTo>
                  <a:lnTo>
                    <a:pt x="104" y="1090"/>
                  </a:lnTo>
                  <a:lnTo>
                    <a:pt x="118" y="1092"/>
                  </a:lnTo>
                  <a:lnTo>
                    <a:pt x="126" y="1092"/>
                  </a:lnTo>
                  <a:lnTo>
                    <a:pt x="134" y="1090"/>
                  </a:lnTo>
                  <a:close/>
                  <a:moveTo>
                    <a:pt x="306" y="1550"/>
                  </a:moveTo>
                  <a:lnTo>
                    <a:pt x="306" y="1550"/>
                  </a:lnTo>
                  <a:lnTo>
                    <a:pt x="304" y="1546"/>
                  </a:lnTo>
                  <a:lnTo>
                    <a:pt x="302" y="1544"/>
                  </a:lnTo>
                  <a:lnTo>
                    <a:pt x="300" y="1544"/>
                  </a:lnTo>
                  <a:lnTo>
                    <a:pt x="300" y="1546"/>
                  </a:lnTo>
                  <a:lnTo>
                    <a:pt x="302" y="1548"/>
                  </a:lnTo>
                  <a:lnTo>
                    <a:pt x="306" y="1550"/>
                  </a:lnTo>
                  <a:close/>
                  <a:moveTo>
                    <a:pt x="294" y="1582"/>
                  </a:moveTo>
                  <a:lnTo>
                    <a:pt x="294" y="1582"/>
                  </a:lnTo>
                  <a:lnTo>
                    <a:pt x="296" y="1580"/>
                  </a:lnTo>
                  <a:lnTo>
                    <a:pt x="294" y="1576"/>
                  </a:lnTo>
                  <a:lnTo>
                    <a:pt x="290" y="1572"/>
                  </a:lnTo>
                  <a:lnTo>
                    <a:pt x="288" y="1572"/>
                  </a:lnTo>
                  <a:lnTo>
                    <a:pt x="286" y="1574"/>
                  </a:lnTo>
                  <a:lnTo>
                    <a:pt x="286" y="1576"/>
                  </a:lnTo>
                  <a:lnTo>
                    <a:pt x="290" y="1580"/>
                  </a:lnTo>
                  <a:lnTo>
                    <a:pt x="294" y="1582"/>
                  </a:lnTo>
                  <a:close/>
                  <a:moveTo>
                    <a:pt x="134" y="1350"/>
                  </a:moveTo>
                  <a:lnTo>
                    <a:pt x="134" y="1350"/>
                  </a:lnTo>
                  <a:lnTo>
                    <a:pt x="134" y="1354"/>
                  </a:lnTo>
                  <a:lnTo>
                    <a:pt x="134" y="1356"/>
                  </a:lnTo>
                  <a:lnTo>
                    <a:pt x="138" y="1360"/>
                  </a:lnTo>
                  <a:lnTo>
                    <a:pt x="140" y="1362"/>
                  </a:lnTo>
                  <a:lnTo>
                    <a:pt x="144" y="1364"/>
                  </a:lnTo>
                  <a:lnTo>
                    <a:pt x="150" y="1372"/>
                  </a:lnTo>
                  <a:lnTo>
                    <a:pt x="154" y="1374"/>
                  </a:lnTo>
                  <a:lnTo>
                    <a:pt x="154" y="1370"/>
                  </a:lnTo>
                  <a:lnTo>
                    <a:pt x="152" y="1364"/>
                  </a:lnTo>
                  <a:lnTo>
                    <a:pt x="148" y="1360"/>
                  </a:lnTo>
                  <a:lnTo>
                    <a:pt x="146" y="1358"/>
                  </a:lnTo>
                  <a:lnTo>
                    <a:pt x="144" y="1358"/>
                  </a:lnTo>
                  <a:lnTo>
                    <a:pt x="142" y="1354"/>
                  </a:lnTo>
                  <a:lnTo>
                    <a:pt x="140" y="1350"/>
                  </a:lnTo>
                  <a:lnTo>
                    <a:pt x="136" y="1348"/>
                  </a:lnTo>
                  <a:lnTo>
                    <a:pt x="134" y="1348"/>
                  </a:lnTo>
                  <a:lnTo>
                    <a:pt x="134" y="1350"/>
                  </a:lnTo>
                  <a:close/>
                  <a:moveTo>
                    <a:pt x="138" y="1658"/>
                  </a:moveTo>
                  <a:lnTo>
                    <a:pt x="138" y="1658"/>
                  </a:lnTo>
                  <a:lnTo>
                    <a:pt x="140" y="1652"/>
                  </a:lnTo>
                  <a:lnTo>
                    <a:pt x="138" y="1650"/>
                  </a:lnTo>
                  <a:lnTo>
                    <a:pt x="136" y="1650"/>
                  </a:lnTo>
                  <a:lnTo>
                    <a:pt x="132" y="1652"/>
                  </a:lnTo>
                  <a:lnTo>
                    <a:pt x="128" y="1652"/>
                  </a:lnTo>
                  <a:lnTo>
                    <a:pt x="124" y="1652"/>
                  </a:lnTo>
                  <a:lnTo>
                    <a:pt x="122" y="1654"/>
                  </a:lnTo>
                  <a:lnTo>
                    <a:pt x="120" y="1656"/>
                  </a:lnTo>
                  <a:lnTo>
                    <a:pt x="122" y="1656"/>
                  </a:lnTo>
                  <a:lnTo>
                    <a:pt x="126" y="1660"/>
                  </a:lnTo>
                  <a:lnTo>
                    <a:pt x="134" y="1660"/>
                  </a:lnTo>
                  <a:lnTo>
                    <a:pt x="136" y="1660"/>
                  </a:lnTo>
                  <a:lnTo>
                    <a:pt x="138" y="1658"/>
                  </a:lnTo>
                  <a:close/>
                  <a:moveTo>
                    <a:pt x="124" y="1360"/>
                  </a:moveTo>
                  <a:lnTo>
                    <a:pt x="124" y="1360"/>
                  </a:lnTo>
                  <a:lnTo>
                    <a:pt x="122" y="1360"/>
                  </a:lnTo>
                  <a:lnTo>
                    <a:pt x="124" y="1362"/>
                  </a:lnTo>
                  <a:lnTo>
                    <a:pt x="132" y="1368"/>
                  </a:lnTo>
                  <a:lnTo>
                    <a:pt x="134" y="1370"/>
                  </a:lnTo>
                  <a:lnTo>
                    <a:pt x="138" y="1368"/>
                  </a:lnTo>
                  <a:lnTo>
                    <a:pt x="138" y="1366"/>
                  </a:lnTo>
                  <a:lnTo>
                    <a:pt x="136" y="1362"/>
                  </a:lnTo>
                  <a:lnTo>
                    <a:pt x="132" y="1358"/>
                  </a:lnTo>
                  <a:lnTo>
                    <a:pt x="130" y="1358"/>
                  </a:lnTo>
                  <a:lnTo>
                    <a:pt x="124" y="1360"/>
                  </a:lnTo>
                  <a:close/>
                  <a:moveTo>
                    <a:pt x="162" y="1352"/>
                  </a:moveTo>
                  <a:lnTo>
                    <a:pt x="162" y="1352"/>
                  </a:lnTo>
                  <a:lnTo>
                    <a:pt x="162" y="1348"/>
                  </a:lnTo>
                  <a:lnTo>
                    <a:pt x="160" y="1344"/>
                  </a:lnTo>
                  <a:lnTo>
                    <a:pt x="160" y="1350"/>
                  </a:lnTo>
                  <a:lnTo>
                    <a:pt x="160" y="1352"/>
                  </a:lnTo>
                  <a:lnTo>
                    <a:pt x="162" y="1352"/>
                  </a:lnTo>
                  <a:close/>
                  <a:moveTo>
                    <a:pt x="128" y="1670"/>
                  </a:moveTo>
                  <a:lnTo>
                    <a:pt x="128" y="1670"/>
                  </a:lnTo>
                  <a:lnTo>
                    <a:pt x="126" y="1670"/>
                  </a:lnTo>
                  <a:lnTo>
                    <a:pt x="124" y="1672"/>
                  </a:lnTo>
                  <a:lnTo>
                    <a:pt x="122" y="1678"/>
                  </a:lnTo>
                  <a:lnTo>
                    <a:pt x="124" y="1686"/>
                  </a:lnTo>
                  <a:lnTo>
                    <a:pt x="126" y="1688"/>
                  </a:lnTo>
                  <a:lnTo>
                    <a:pt x="128" y="1688"/>
                  </a:lnTo>
                  <a:lnTo>
                    <a:pt x="130" y="1688"/>
                  </a:lnTo>
                  <a:lnTo>
                    <a:pt x="130" y="1684"/>
                  </a:lnTo>
                  <a:lnTo>
                    <a:pt x="128" y="1682"/>
                  </a:lnTo>
                  <a:lnTo>
                    <a:pt x="128" y="1680"/>
                  </a:lnTo>
                  <a:lnTo>
                    <a:pt x="130" y="1678"/>
                  </a:lnTo>
                  <a:lnTo>
                    <a:pt x="132" y="1674"/>
                  </a:lnTo>
                  <a:lnTo>
                    <a:pt x="130" y="1672"/>
                  </a:lnTo>
                  <a:lnTo>
                    <a:pt x="128" y="1670"/>
                  </a:lnTo>
                  <a:close/>
                  <a:moveTo>
                    <a:pt x="238" y="1920"/>
                  </a:moveTo>
                  <a:lnTo>
                    <a:pt x="238" y="1920"/>
                  </a:lnTo>
                  <a:lnTo>
                    <a:pt x="236" y="1924"/>
                  </a:lnTo>
                  <a:lnTo>
                    <a:pt x="238" y="1926"/>
                  </a:lnTo>
                  <a:lnTo>
                    <a:pt x="240" y="1930"/>
                  </a:lnTo>
                  <a:lnTo>
                    <a:pt x="246" y="1930"/>
                  </a:lnTo>
                  <a:lnTo>
                    <a:pt x="248" y="1930"/>
                  </a:lnTo>
                  <a:lnTo>
                    <a:pt x="252" y="1926"/>
                  </a:lnTo>
                  <a:lnTo>
                    <a:pt x="252" y="1924"/>
                  </a:lnTo>
                  <a:lnTo>
                    <a:pt x="254" y="1920"/>
                  </a:lnTo>
                  <a:lnTo>
                    <a:pt x="252" y="1918"/>
                  </a:lnTo>
                  <a:lnTo>
                    <a:pt x="250" y="1916"/>
                  </a:lnTo>
                  <a:lnTo>
                    <a:pt x="248" y="1914"/>
                  </a:lnTo>
                  <a:lnTo>
                    <a:pt x="244" y="1916"/>
                  </a:lnTo>
                  <a:lnTo>
                    <a:pt x="240" y="1916"/>
                  </a:lnTo>
                  <a:lnTo>
                    <a:pt x="238" y="1920"/>
                  </a:lnTo>
                  <a:close/>
                  <a:moveTo>
                    <a:pt x="232" y="1878"/>
                  </a:moveTo>
                  <a:lnTo>
                    <a:pt x="232" y="1878"/>
                  </a:lnTo>
                  <a:lnTo>
                    <a:pt x="236" y="1878"/>
                  </a:lnTo>
                  <a:lnTo>
                    <a:pt x="240" y="1876"/>
                  </a:lnTo>
                  <a:lnTo>
                    <a:pt x="246" y="1870"/>
                  </a:lnTo>
                  <a:lnTo>
                    <a:pt x="248" y="1862"/>
                  </a:lnTo>
                  <a:lnTo>
                    <a:pt x="246" y="1858"/>
                  </a:lnTo>
                  <a:lnTo>
                    <a:pt x="244" y="1856"/>
                  </a:lnTo>
                  <a:lnTo>
                    <a:pt x="240" y="1858"/>
                  </a:lnTo>
                  <a:lnTo>
                    <a:pt x="234" y="1866"/>
                  </a:lnTo>
                  <a:lnTo>
                    <a:pt x="230" y="1874"/>
                  </a:lnTo>
                  <a:lnTo>
                    <a:pt x="230" y="1876"/>
                  </a:lnTo>
                  <a:lnTo>
                    <a:pt x="232" y="1878"/>
                  </a:lnTo>
                  <a:close/>
                  <a:moveTo>
                    <a:pt x="290" y="1568"/>
                  </a:moveTo>
                  <a:lnTo>
                    <a:pt x="290" y="1568"/>
                  </a:lnTo>
                  <a:lnTo>
                    <a:pt x="294" y="1572"/>
                  </a:lnTo>
                  <a:lnTo>
                    <a:pt x="298" y="1572"/>
                  </a:lnTo>
                  <a:lnTo>
                    <a:pt x="302" y="1572"/>
                  </a:lnTo>
                  <a:lnTo>
                    <a:pt x="304" y="1572"/>
                  </a:lnTo>
                  <a:lnTo>
                    <a:pt x="306" y="1574"/>
                  </a:lnTo>
                  <a:lnTo>
                    <a:pt x="310" y="1574"/>
                  </a:lnTo>
                  <a:lnTo>
                    <a:pt x="312" y="1572"/>
                  </a:lnTo>
                  <a:lnTo>
                    <a:pt x="312" y="1570"/>
                  </a:lnTo>
                  <a:lnTo>
                    <a:pt x="310" y="1568"/>
                  </a:lnTo>
                  <a:lnTo>
                    <a:pt x="310" y="1570"/>
                  </a:lnTo>
                  <a:lnTo>
                    <a:pt x="308" y="1570"/>
                  </a:lnTo>
                  <a:lnTo>
                    <a:pt x="308" y="1568"/>
                  </a:lnTo>
                  <a:lnTo>
                    <a:pt x="304" y="1566"/>
                  </a:lnTo>
                  <a:lnTo>
                    <a:pt x="302" y="1566"/>
                  </a:lnTo>
                  <a:lnTo>
                    <a:pt x="300" y="1566"/>
                  </a:lnTo>
                  <a:lnTo>
                    <a:pt x="300" y="1564"/>
                  </a:lnTo>
                  <a:lnTo>
                    <a:pt x="302" y="1560"/>
                  </a:lnTo>
                  <a:lnTo>
                    <a:pt x="300" y="1560"/>
                  </a:lnTo>
                  <a:lnTo>
                    <a:pt x="296" y="1556"/>
                  </a:lnTo>
                  <a:lnTo>
                    <a:pt x="292" y="1556"/>
                  </a:lnTo>
                  <a:lnTo>
                    <a:pt x="290" y="1560"/>
                  </a:lnTo>
                  <a:lnTo>
                    <a:pt x="288" y="1564"/>
                  </a:lnTo>
                  <a:lnTo>
                    <a:pt x="290" y="1568"/>
                  </a:lnTo>
                  <a:close/>
                  <a:moveTo>
                    <a:pt x="208" y="1778"/>
                  </a:moveTo>
                  <a:lnTo>
                    <a:pt x="208" y="1778"/>
                  </a:lnTo>
                  <a:lnTo>
                    <a:pt x="206" y="1784"/>
                  </a:lnTo>
                  <a:lnTo>
                    <a:pt x="206" y="1788"/>
                  </a:lnTo>
                  <a:lnTo>
                    <a:pt x="210" y="1792"/>
                  </a:lnTo>
                  <a:lnTo>
                    <a:pt x="214" y="1792"/>
                  </a:lnTo>
                  <a:lnTo>
                    <a:pt x="216" y="1792"/>
                  </a:lnTo>
                  <a:lnTo>
                    <a:pt x="218" y="1788"/>
                  </a:lnTo>
                  <a:lnTo>
                    <a:pt x="216" y="1782"/>
                  </a:lnTo>
                  <a:lnTo>
                    <a:pt x="212" y="1776"/>
                  </a:lnTo>
                  <a:lnTo>
                    <a:pt x="210" y="1776"/>
                  </a:lnTo>
                  <a:lnTo>
                    <a:pt x="208" y="1778"/>
                  </a:lnTo>
                  <a:close/>
                  <a:moveTo>
                    <a:pt x="618" y="1434"/>
                  </a:moveTo>
                  <a:lnTo>
                    <a:pt x="618" y="1434"/>
                  </a:lnTo>
                  <a:lnTo>
                    <a:pt x="620" y="1434"/>
                  </a:lnTo>
                  <a:lnTo>
                    <a:pt x="622" y="1430"/>
                  </a:lnTo>
                  <a:lnTo>
                    <a:pt x="622" y="1428"/>
                  </a:lnTo>
                  <a:lnTo>
                    <a:pt x="620" y="1426"/>
                  </a:lnTo>
                  <a:lnTo>
                    <a:pt x="616" y="1430"/>
                  </a:lnTo>
                  <a:lnTo>
                    <a:pt x="616" y="1432"/>
                  </a:lnTo>
                  <a:lnTo>
                    <a:pt x="618" y="1434"/>
                  </a:lnTo>
                  <a:close/>
                  <a:moveTo>
                    <a:pt x="882" y="1770"/>
                  </a:moveTo>
                  <a:lnTo>
                    <a:pt x="882" y="1770"/>
                  </a:lnTo>
                  <a:lnTo>
                    <a:pt x="876" y="1774"/>
                  </a:lnTo>
                  <a:lnTo>
                    <a:pt x="870" y="1774"/>
                  </a:lnTo>
                  <a:lnTo>
                    <a:pt x="866" y="1772"/>
                  </a:lnTo>
                  <a:lnTo>
                    <a:pt x="860" y="1774"/>
                  </a:lnTo>
                  <a:lnTo>
                    <a:pt x="860" y="1776"/>
                  </a:lnTo>
                  <a:lnTo>
                    <a:pt x="864" y="1778"/>
                  </a:lnTo>
                  <a:lnTo>
                    <a:pt x="870" y="1782"/>
                  </a:lnTo>
                  <a:lnTo>
                    <a:pt x="870" y="1784"/>
                  </a:lnTo>
                  <a:lnTo>
                    <a:pt x="870" y="1786"/>
                  </a:lnTo>
                  <a:lnTo>
                    <a:pt x="870" y="1788"/>
                  </a:lnTo>
                  <a:lnTo>
                    <a:pt x="872" y="1790"/>
                  </a:lnTo>
                  <a:lnTo>
                    <a:pt x="874" y="1792"/>
                  </a:lnTo>
                  <a:lnTo>
                    <a:pt x="872" y="1796"/>
                  </a:lnTo>
                  <a:lnTo>
                    <a:pt x="870" y="1798"/>
                  </a:lnTo>
                  <a:lnTo>
                    <a:pt x="872" y="1800"/>
                  </a:lnTo>
                  <a:lnTo>
                    <a:pt x="874" y="1800"/>
                  </a:lnTo>
                  <a:lnTo>
                    <a:pt x="876" y="1804"/>
                  </a:lnTo>
                  <a:lnTo>
                    <a:pt x="876" y="1806"/>
                  </a:lnTo>
                  <a:lnTo>
                    <a:pt x="878" y="1806"/>
                  </a:lnTo>
                  <a:lnTo>
                    <a:pt x="882" y="1806"/>
                  </a:lnTo>
                  <a:lnTo>
                    <a:pt x="886" y="1806"/>
                  </a:lnTo>
                  <a:lnTo>
                    <a:pt x="888" y="1808"/>
                  </a:lnTo>
                  <a:lnTo>
                    <a:pt x="892" y="1806"/>
                  </a:lnTo>
                  <a:lnTo>
                    <a:pt x="894" y="1808"/>
                  </a:lnTo>
                  <a:lnTo>
                    <a:pt x="896" y="1810"/>
                  </a:lnTo>
                  <a:lnTo>
                    <a:pt x="896" y="1814"/>
                  </a:lnTo>
                  <a:lnTo>
                    <a:pt x="894" y="1814"/>
                  </a:lnTo>
                  <a:lnTo>
                    <a:pt x="892" y="1814"/>
                  </a:lnTo>
                  <a:lnTo>
                    <a:pt x="890" y="1816"/>
                  </a:lnTo>
                  <a:lnTo>
                    <a:pt x="892" y="1816"/>
                  </a:lnTo>
                  <a:lnTo>
                    <a:pt x="894" y="1818"/>
                  </a:lnTo>
                  <a:lnTo>
                    <a:pt x="898" y="1820"/>
                  </a:lnTo>
                  <a:lnTo>
                    <a:pt x="898" y="1822"/>
                  </a:lnTo>
                  <a:lnTo>
                    <a:pt x="896" y="1824"/>
                  </a:lnTo>
                  <a:lnTo>
                    <a:pt x="896" y="1826"/>
                  </a:lnTo>
                  <a:lnTo>
                    <a:pt x="900" y="1832"/>
                  </a:lnTo>
                  <a:lnTo>
                    <a:pt x="902" y="1836"/>
                  </a:lnTo>
                  <a:lnTo>
                    <a:pt x="904" y="1840"/>
                  </a:lnTo>
                  <a:lnTo>
                    <a:pt x="904" y="1844"/>
                  </a:lnTo>
                  <a:lnTo>
                    <a:pt x="906" y="1846"/>
                  </a:lnTo>
                  <a:lnTo>
                    <a:pt x="906" y="1848"/>
                  </a:lnTo>
                  <a:lnTo>
                    <a:pt x="908" y="1848"/>
                  </a:lnTo>
                  <a:lnTo>
                    <a:pt x="908" y="1844"/>
                  </a:lnTo>
                  <a:lnTo>
                    <a:pt x="908" y="1838"/>
                  </a:lnTo>
                  <a:lnTo>
                    <a:pt x="910" y="1834"/>
                  </a:lnTo>
                  <a:lnTo>
                    <a:pt x="912" y="1832"/>
                  </a:lnTo>
                  <a:lnTo>
                    <a:pt x="912" y="1828"/>
                  </a:lnTo>
                  <a:lnTo>
                    <a:pt x="908" y="1824"/>
                  </a:lnTo>
                  <a:lnTo>
                    <a:pt x="902" y="1822"/>
                  </a:lnTo>
                  <a:lnTo>
                    <a:pt x="904" y="1822"/>
                  </a:lnTo>
                  <a:lnTo>
                    <a:pt x="906" y="1820"/>
                  </a:lnTo>
                  <a:lnTo>
                    <a:pt x="910" y="1820"/>
                  </a:lnTo>
                  <a:lnTo>
                    <a:pt x="912" y="1818"/>
                  </a:lnTo>
                  <a:lnTo>
                    <a:pt x="912" y="1816"/>
                  </a:lnTo>
                  <a:lnTo>
                    <a:pt x="912" y="1812"/>
                  </a:lnTo>
                  <a:lnTo>
                    <a:pt x="912" y="1810"/>
                  </a:lnTo>
                  <a:lnTo>
                    <a:pt x="912" y="1808"/>
                  </a:lnTo>
                  <a:lnTo>
                    <a:pt x="918" y="1804"/>
                  </a:lnTo>
                  <a:lnTo>
                    <a:pt x="924" y="1802"/>
                  </a:lnTo>
                  <a:lnTo>
                    <a:pt x="926" y="1800"/>
                  </a:lnTo>
                  <a:lnTo>
                    <a:pt x="924" y="1798"/>
                  </a:lnTo>
                  <a:lnTo>
                    <a:pt x="918" y="1794"/>
                  </a:lnTo>
                  <a:lnTo>
                    <a:pt x="914" y="1790"/>
                  </a:lnTo>
                  <a:lnTo>
                    <a:pt x="914" y="1788"/>
                  </a:lnTo>
                  <a:lnTo>
                    <a:pt x="916" y="1784"/>
                  </a:lnTo>
                  <a:lnTo>
                    <a:pt x="922" y="1782"/>
                  </a:lnTo>
                  <a:lnTo>
                    <a:pt x="926" y="1782"/>
                  </a:lnTo>
                  <a:lnTo>
                    <a:pt x="928" y="1778"/>
                  </a:lnTo>
                  <a:lnTo>
                    <a:pt x="928" y="1772"/>
                  </a:lnTo>
                  <a:lnTo>
                    <a:pt x="928" y="1764"/>
                  </a:lnTo>
                  <a:lnTo>
                    <a:pt x="930" y="1758"/>
                  </a:lnTo>
                  <a:lnTo>
                    <a:pt x="932" y="1754"/>
                  </a:lnTo>
                  <a:lnTo>
                    <a:pt x="930" y="1752"/>
                  </a:lnTo>
                  <a:lnTo>
                    <a:pt x="920" y="1750"/>
                  </a:lnTo>
                  <a:lnTo>
                    <a:pt x="914" y="1750"/>
                  </a:lnTo>
                  <a:lnTo>
                    <a:pt x="908" y="1752"/>
                  </a:lnTo>
                  <a:lnTo>
                    <a:pt x="904" y="1756"/>
                  </a:lnTo>
                  <a:lnTo>
                    <a:pt x="902" y="1760"/>
                  </a:lnTo>
                  <a:lnTo>
                    <a:pt x="904" y="1762"/>
                  </a:lnTo>
                  <a:lnTo>
                    <a:pt x="904" y="1764"/>
                  </a:lnTo>
                  <a:lnTo>
                    <a:pt x="900" y="1772"/>
                  </a:lnTo>
                  <a:lnTo>
                    <a:pt x="898" y="1776"/>
                  </a:lnTo>
                  <a:lnTo>
                    <a:pt x="896" y="1774"/>
                  </a:lnTo>
                  <a:lnTo>
                    <a:pt x="896" y="1770"/>
                  </a:lnTo>
                  <a:lnTo>
                    <a:pt x="898" y="1762"/>
                  </a:lnTo>
                  <a:lnTo>
                    <a:pt x="896" y="1760"/>
                  </a:lnTo>
                  <a:lnTo>
                    <a:pt x="894" y="1760"/>
                  </a:lnTo>
                  <a:lnTo>
                    <a:pt x="890" y="1760"/>
                  </a:lnTo>
                  <a:lnTo>
                    <a:pt x="884" y="1758"/>
                  </a:lnTo>
                  <a:lnTo>
                    <a:pt x="880" y="1758"/>
                  </a:lnTo>
                  <a:lnTo>
                    <a:pt x="876" y="1758"/>
                  </a:lnTo>
                  <a:lnTo>
                    <a:pt x="878" y="1760"/>
                  </a:lnTo>
                  <a:lnTo>
                    <a:pt x="882" y="1762"/>
                  </a:lnTo>
                  <a:lnTo>
                    <a:pt x="886" y="1764"/>
                  </a:lnTo>
                  <a:lnTo>
                    <a:pt x="884" y="1768"/>
                  </a:lnTo>
                  <a:lnTo>
                    <a:pt x="882" y="1770"/>
                  </a:lnTo>
                  <a:close/>
                  <a:moveTo>
                    <a:pt x="850" y="1762"/>
                  </a:moveTo>
                  <a:lnTo>
                    <a:pt x="850" y="1762"/>
                  </a:lnTo>
                  <a:lnTo>
                    <a:pt x="848" y="1760"/>
                  </a:lnTo>
                  <a:lnTo>
                    <a:pt x="846" y="1764"/>
                  </a:lnTo>
                  <a:lnTo>
                    <a:pt x="848" y="1768"/>
                  </a:lnTo>
                  <a:lnTo>
                    <a:pt x="848" y="1772"/>
                  </a:lnTo>
                  <a:lnTo>
                    <a:pt x="850" y="1772"/>
                  </a:lnTo>
                  <a:lnTo>
                    <a:pt x="850" y="1770"/>
                  </a:lnTo>
                  <a:lnTo>
                    <a:pt x="852" y="1766"/>
                  </a:lnTo>
                  <a:lnTo>
                    <a:pt x="850" y="1762"/>
                  </a:lnTo>
                  <a:close/>
                  <a:moveTo>
                    <a:pt x="834" y="1814"/>
                  </a:moveTo>
                  <a:lnTo>
                    <a:pt x="834" y="1814"/>
                  </a:lnTo>
                  <a:lnTo>
                    <a:pt x="846" y="1816"/>
                  </a:lnTo>
                  <a:lnTo>
                    <a:pt x="852" y="1814"/>
                  </a:lnTo>
                  <a:lnTo>
                    <a:pt x="856" y="1812"/>
                  </a:lnTo>
                  <a:lnTo>
                    <a:pt x="858" y="1808"/>
                  </a:lnTo>
                  <a:lnTo>
                    <a:pt x="858" y="1806"/>
                  </a:lnTo>
                  <a:lnTo>
                    <a:pt x="858" y="1800"/>
                  </a:lnTo>
                  <a:lnTo>
                    <a:pt x="856" y="1794"/>
                  </a:lnTo>
                  <a:lnTo>
                    <a:pt x="856" y="1790"/>
                  </a:lnTo>
                  <a:lnTo>
                    <a:pt x="856" y="1788"/>
                  </a:lnTo>
                  <a:lnTo>
                    <a:pt x="852" y="1784"/>
                  </a:lnTo>
                  <a:lnTo>
                    <a:pt x="850" y="1782"/>
                  </a:lnTo>
                  <a:lnTo>
                    <a:pt x="850" y="1784"/>
                  </a:lnTo>
                  <a:lnTo>
                    <a:pt x="848" y="1786"/>
                  </a:lnTo>
                  <a:lnTo>
                    <a:pt x="840" y="1782"/>
                  </a:lnTo>
                  <a:lnTo>
                    <a:pt x="836" y="1782"/>
                  </a:lnTo>
                  <a:lnTo>
                    <a:pt x="830" y="1784"/>
                  </a:lnTo>
                  <a:lnTo>
                    <a:pt x="824" y="1786"/>
                  </a:lnTo>
                  <a:lnTo>
                    <a:pt x="818" y="1786"/>
                  </a:lnTo>
                  <a:lnTo>
                    <a:pt x="816" y="1786"/>
                  </a:lnTo>
                  <a:lnTo>
                    <a:pt x="814" y="1788"/>
                  </a:lnTo>
                  <a:lnTo>
                    <a:pt x="814" y="1790"/>
                  </a:lnTo>
                  <a:lnTo>
                    <a:pt x="816" y="1792"/>
                  </a:lnTo>
                  <a:lnTo>
                    <a:pt x="820" y="1798"/>
                  </a:lnTo>
                  <a:lnTo>
                    <a:pt x="824" y="1806"/>
                  </a:lnTo>
                  <a:lnTo>
                    <a:pt x="824" y="1810"/>
                  </a:lnTo>
                  <a:lnTo>
                    <a:pt x="826" y="1808"/>
                  </a:lnTo>
                  <a:lnTo>
                    <a:pt x="828" y="1808"/>
                  </a:lnTo>
                  <a:lnTo>
                    <a:pt x="830" y="1808"/>
                  </a:lnTo>
                  <a:lnTo>
                    <a:pt x="830" y="1810"/>
                  </a:lnTo>
                  <a:lnTo>
                    <a:pt x="830" y="1812"/>
                  </a:lnTo>
                  <a:lnTo>
                    <a:pt x="830" y="1814"/>
                  </a:lnTo>
                  <a:lnTo>
                    <a:pt x="834" y="1814"/>
                  </a:lnTo>
                  <a:close/>
                  <a:moveTo>
                    <a:pt x="898" y="1832"/>
                  </a:moveTo>
                  <a:lnTo>
                    <a:pt x="898" y="1832"/>
                  </a:lnTo>
                  <a:lnTo>
                    <a:pt x="894" y="1826"/>
                  </a:lnTo>
                  <a:lnTo>
                    <a:pt x="892" y="1826"/>
                  </a:lnTo>
                  <a:lnTo>
                    <a:pt x="890" y="1828"/>
                  </a:lnTo>
                  <a:lnTo>
                    <a:pt x="890" y="1830"/>
                  </a:lnTo>
                  <a:lnTo>
                    <a:pt x="888" y="1830"/>
                  </a:lnTo>
                  <a:lnTo>
                    <a:pt x="878" y="1824"/>
                  </a:lnTo>
                  <a:lnTo>
                    <a:pt x="872" y="1822"/>
                  </a:lnTo>
                  <a:lnTo>
                    <a:pt x="868" y="1822"/>
                  </a:lnTo>
                  <a:lnTo>
                    <a:pt x="866" y="1826"/>
                  </a:lnTo>
                  <a:lnTo>
                    <a:pt x="866" y="1830"/>
                  </a:lnTo>
                  <a:lnTo>
                    <a:pt x="870" y="1834"/>
                  </a:lnTo>
                  <a:lnTo>
                    <a:pt x="876" y="1838"/>
                  </a:lnTo>
                  <a:lnTo>
                    <a:pt x="886" y="1840"/>
                  </a:lnTo>
                  <a:lnTo>
                    <a:pt x="894" y="1842"/>
                  </a:lnTo>
                  <a:lnTo>
                    <a:pt x="898" y="1842"/>
                  </a:lnTo>
                  <a:lnTo>
                    <a:pt x="900" y="1840"/>
                  </a:lnTo>
                  <a:lnTo>
                    <a:pt x="898" y="1832"/>
                  </a:lnTo>
                  <a:close/>
                  <a:moveTo>
                    <a:pt x="914" y="1822"/>
                  </a:moveTo>
                  <a:lnTo>
                    <a:pt x="914" y="1822"/>
                  </a:lnTo>
                  <a:lnTo>
                    <a:pt x="912" y="1824"/>
                  </a:lnTo>
                  <a:lnTo>
                    <a:pt x="914" y="1826"/>
                  </a:lnTo>
                  <a:lnTo>
                    <a:pt x="918" y="1824"/>
                  </a:lnTo>
                  <a:lnTo>
                    <a:pt x="924" y="1820"/>
                  </a:lnTo>
                  <a:lnTo>
                    <a:pt x="926" y="1820"/>
                  </a:lnTo>
                  <a:lnTo>
                    <a:pt x="926" y="1818"/>
                  </a:lnTo>
                  <a:lnTo>
                    <a:pt x="922" y="1816"/>
                  </a:lnTo>
                  <a:lnTo>
                    <a:pt x="918" y="1816"/>
                  </a:lnTo>
                  <a:lnTo>
                    <a:pt x="914" y="1822"/>
                  </a:lnTo>
                  <a:close/>
                  <a:moveTo>
                    <a:pt x="868" y="1848"/>
                  </a:moveTo>
                  <a:lnTo>
                    <a:pt x="868" y="1848"/>
                  </a:lnTo>
                  <a:lnTo>
                    <a:pt x="866" y="1850"/>
                  </a:lnTo>
                  <a:lnTo>
                    <a:pt x="868" y="1852"/>
                  </a:lnTo>
                  <a:lnTo>
                    <a:pt x="872" y="1854"/>
                  </a:lnTo>
                  <a:lnTo>
                    <a:pt x="876" y="1854"/>
                  </a:lnTo>
                  <a:lnTo>
                    <a:pt x="880" y="1854"/>
                  </a:lnTo>
                  <a:lnTo>
                    <a:pt x="878" y="1852"/>
                  </a:lnTo>
                  <a:lnTo>
                    <a:pt x="876" y="1848"/>
                  </a:lnTo>
                  <a:lnTo>
                    <a:pt x="872" y="1848"/>
                  </a:lnTo>
                  <a:lnTo>
                    <a:pt x="868" y="1848"/>
                  </a:lnTo>
                  <a:close/>
                  <a:moveTo>
                    <a:pt x="1030" y="1820"/>
                  </a:moveTo>
                  <a:lnTo>
                    <a:pt x="1030" y="1820"/>
                  </a:lnTo>
                  <a:lnTo>
                    <a:pt x="1032" y="1818"/>
                  </a:lnTo>
                  <a:lnTo>
                    <a:pt x="1034" y="1814"/>
                  </a:lnTo>
                  <a:lnTo>
                    <a:pt x="1032" y="1810"/>
                  </a:lnTo>
                  <a:lnTo>
                    <a:pt x="1030" y="1808"/>
                  </a:lnTo>
                  <a:lnTo>
                    <a:pt x="1022" y="1802"/>
                  </a:lnTo>
                  <a:lnTo>
                    <a:pt x="1018" y="1800"/>
                  </a:lnTo>
                  <a:lnTo>
                    <a:pt x="1016" y="1802"/>
                  </a:lnTo>
                  <a:lnTo>
                    <a:pt x="1014" y="1806"/>
                  </a:lnTo>
                  <a:lnTo>
                    <a:pt x="1016" y="1812"/>
                  </a:lnTo>
                  <a:lnTo>
                    <a:pt x="1022" y="1818"/>
                  </a:lnTo>
                  <a:lnTo>
                    <a:pt x="1026" y="1820"/>
                  </a:lnTo>
                  <a:lnTo>
                    <a:pt x="1030" y="1820"/>
                  </a:lnTo>
                  <a:close/>
                  <a:moveTo>
                    <a:pt x="952" y="1846"/>
                  </a:moveTo>
                  <a:lnTo>
                    <a:pt x="952" y="1846"/>
                  </a:lnTo>
                  <a:lnTo>
                    <a:pt x="952" y="1848"/>
                  </a:lnTo>
                  <a:lnTo>
                    <a:pt x="954" y="1850"/>
                  </a:lnTo>
                  <a:lnTo>
                    <a:pt x="954" y="1854"/>
                  </a:lnTo>
                  <a:lnTo>
                    <a:pt x="954" y="1856"/>
                  </a:lnTo>
                  <a:lnTo>
                    <a:pt x="952" y="1858"/>
                  </a:lnTo>
                  <a:lnTo>
                    <a:pt x="952" y="1860"/>
                  </a:lnTo>
                  <a:lnTo>
                    <a:pt x="960" y="1866"/>
                  </a:lnTo>
                  <a:lnTo>
                    <a:pt x="962" y="1866"/>
                  </a:lnTo>
                  <a:lnTo>
                    <a:pt x="964" y="1866"/>
                  </a:lnTo>
                  <a:lnTo>
                    <a:pt x="964" y="1864"/>
                  </a:lnTo>
                  <a:lnTo>
                    <a:pt x="964" y="1862"/>
                  </a:lnTo>
                  <a:lnTo>
                    <a:pt x="966" y="1860"/>
                  </a:lnTo>
                  <a:lnTo>
                    <a:pt x="968" y="1858"/>
                  </a:lnTo>
                  <a:lnTo>
                    <a:pt x="972" y="1862"/>
                  </a:lnTo>
                  <a:lnTo>
                    <a:pt x="976" y="1864"/>
                  </a:lnTo>
                  <a:lnTo>
                    <a:pt x="976" y="1862"/>
                  </a:lnTo>
                  <a:lnTo>
                    <a:pt x="976" y="1860"/>
                  </a:lnTo>
                  <a:lnTo>
                    <a:pt x="972" y="1858"/>
                  </a:lnTo>
                  <a:lnTo>
                    <a:pt x="972" y="1856"/>
                  </a:lnTo>
                  <a:lnTo>
                    <a:pt x="972" y="1854"/>
                  </a:lnTo>
                  <a:lnTo>
                    <a:pt x="974" y="1850"/>
                  </a:lnTo>
                  <a:lnTo>
                    <a:pt x="974" y="1846"/>
                  </a:lnTo>
                  <a:lnTo>
                    <a:pt x="972" y="1846"/>
                  </a:lnTo>
                  <a:lnTo>
                    <a:pt x="970" y="1844"/>
                  </a:lnTo>
                  <a:lnTo>
                    <a:pt x="966" y="1842"/>
                  </a:lnTo>
                  <a:lnTo>
                    <a:pt x="964" y="1840"/>
                  </a:lnTo>
                  <a:lnTo>
                    <a:pt x="960" y="1838"/>
                  </a:lnTo>
                  <a:lnTo>
                    <a:pt x="956" y="1840"/>
                  </a:lnTo>
                  <a:lnTo>
                    <a:pt x="954" y="1842"/>
                  </a:lnTo>
                  <a:lnTo>
                    <a:pt x="958" y="1844"/>
                  </a:lnTo>
                  <a:lnTo>
                    <a:pt x="964" y="1846"/>
                  </a:lnTo>
                  <a:lnTo>
                    <a:pt x="966" y="1848"/>
                  </a:lnTo>
                  <a:lnTo>
                    <a:pt x="964" y="1850"/>
                  </a:lnTo>
                  <a:lnTo>
                    <a:pt x="960" y="1850"/>
                  </a:lnTo>
                  <a:lnTo>
                    <a:pt x="952" y="1846"/>
                  </a:lnTo>
                  <a:close/>
                  <a:moveTo>
                    <a:pt x="862" y="1678"/>
                  </a:moveTo>
                  <a:lnTo>
                    <a:pt x="862" y="1678"/>
                  </a:lnTo>
                  <a:lnTo>
                    <a:pt x="864" y="1678"/>
                  </a:lnTo>
                  <a:lnTo>
                    <a:pt x="868" y="1678"/>
                  </a:lnTo>
                  <a:lnTo>
                    <a:pt x="872" y="1674"/>
                  </a:lnTo>
                  <a:lnTo>
                    <a:pt x="872" y="1672"/>
                  </a:lnTo>
                  <a:lnTo>
                    <a:pt x="868" y="1672"/>
                  </a:lnTo>
                  <a:lnTo>
                    <a:pt x="864" y="1674"/>
                  </a:lnTo>
                  <a:lnTo>
                    <a:pt x="862" y="1678"/>
                  </a:lnTo>
                  <a:close/>
                  <a:moveTo>
                    <a:pt x="860" y="1816"/>
                  </a:moveTo>
                  <a:lnTo>
                    <a:pt x="860" y="1816"/>
                  </a:lnTo>
                  <a:lnTo>
                    <a:pt x="860" y="1814"/>
                  </a:lnTo>
                  <a:lnTo>
                    <a:pt x="860" y="1812"/>
                  </a:lnTo>
                  <a:lnTo>
                    <a:pt x="858" y="1814"/>
                  </a:lnTo>
                  <a:lnTo>
                    <a:pt x="856" y="1818"/>
                  </a:lnTo>
                  <a:lnTo>
                    <a:pt x="850" y="1826"/>
                  </a:lnTo>
                  <a:lnTo>
                    <a:pt x="848" y="1830"/>
                  </a:lnTo>
                  <a:lnTo>
                    <a:pt x="848" y="1834"/>
                  </a:lnTo>
                  <a:lnTo>
                    <a:pt x="850" y="1836"/>
                  </a:lnTo>
                  <a:lnTo>
                    <a:pt x="852" y="1836"/>
                  </a:lnTo>
                  <a:lnTo>
                    <a:pt x="854" y="1830"/>
                  </a:lnTo>
                  <a:lnTo>
                    <a:pt x="860" y="1816"/>
                  </a:lnTo>
                  <a:close/>
                  <a:moveTo>
                    <a:pt x="1100" y="2508"/>
                  </a:moveTo>
                  <a:lnTo>
                    <a:pt x="1100" y="2508"/>
                  </a:lnTo>
                  <a:lnTo>
                    <a:pt x="1102" y="2508"/>
                  </a:lnTo>
                  <a:lnTo>
                    <a:pt x="1100" y="2506"/>
                  </a:lnTo>
                  <a:lnTo>
                    <a:pt x="1094" y="2504"/>
                  </a:lnTo>
                  <a:lnTo>
                    <a:pt x="1086" y="2504"/>
                  </a:lnTo>
                  <a:lnTo>
                    <a:pt x="1084" y="2504"/>
                  </a:lnTo>
                  <a:lnTo>
                    <a:pt x="1084" y="2506"/>
                  </a:lnTo>
                  <a:lnTo>
                    <a:pt x="1086" y="2508"/>
                  </a:lnTo>
                  <a:lnTo>
                    <a:pt x="1092" y="2510"/>
                  </a:lnTo>
                  <a:lnTo>
                    <a:pt x="1096" y="2510"/>
                  </a:lnTo>
                  <a:lnTo>
                    <a:pt x="1100" y="2508"/>
                  </a:lnTo>
                  <a:close/>
                  <a:moveTo>
                    <a:pt x="1092" y="2518"/>
                  </a:moveTo>
                  <a:lnTo>
                    <a:pt x="1092" y="2518"/>
                  </a:lnTo>
                  <a:lnTo>
                    <a:pt x="1108" y="2520"/>
                  </a:lnTo>
                  <a:lnTo>
                    <a:pt x="1110" y="2518"/>
                  </a:lnTo>
                  <a:lnTo>
                    <a:pt x="1108" y="2516"/>
                  </a:lnTo>
                  <a:lnTo>
                    <a:pt x="1100" y="2514"/>
                  </a:lnTo>
                  <a:lnTo>
                    <a:pt x="1086" y="2514"/>
                  </a:lnTo>
                  <a:lnTo>
                    <a:pt x="1084" y="2514"/>
                  </a:lnTo>
                  <a:lnTo>
                    <a:pt x="1082" y="2516"/>
                  </a:lnTo>
                  <a:lnTo>
                    <a:pt x="1092" y="2518"/>
                  </a:lnTo>
                  <a:close/>
                  <a:moveTo>
                    <a:pt x="1108" y="1672"/>
                  </a:moveTo>
                  <a:lnTo>
                    <a:pt x="1108" y="1672"/>
                  </a:lnTo>
                  <a:lnTo>
                    <a:pt x="1106" y="1672"/>
                  </a:lnTo>
                  <a:lnTo>
                    <a:pt x="1104" y="1674"/>
                  </a:lnTo>
                  <a:lnTo>
                    <a:pt x="1102" y="1682"/>
                  </a:lnTo>
                  <a:lnTo>
                    <a:pt x="1100" y="1692"/>
                  </a:lnTo>
                  <a:lnTo>
                    <a:pt x="1094" y="1700"/>
                  </a:lnTo>
                  <a:lnTo>
                    <a:pt x="1090" y="1710"/>
                  </a:lnTo>
                  <a:lnTo>
                    <a:pt x="1086" y="1722"/>
                  </a:lnTo>
                  <a:lnTo>
                    <a:pt x="1084" y="1734"/>
                  </a:lnTo>
                  <a:lnTo>
                    <a:pt x="1084" y="1740"/>
                  </a:lnTo>
                  <a:lnTo>
                    <a:pt x="1086" y="1744"/>
                  </a:lnTo>
                  <a:lnTo>
                    <a:pt x="1090" y="1734"/>
                  </a:lnTo>
                  <a:lnTo>
                    <a:pt x="1100" y="1708"/>
                  </a:lnTo>
                  <a:lnTo>
                    <a:pt x="1108" y="1684"/>
                  </a:lnTo>
                  <a:lnTo>
                    <a:pt x="1110" y="1676"/>
                  </a:lnTo>
                  <a:lnTo>
                    <a:pt x="1110" y="1674"/>
                  </a:lnTo>
                  <a:lnTo>
                    <a:pt x="1108" y="1672"/>
                  </a:lnTo>
                  <a:close/>
                  <a:moveTo>
                    <a:pt x="1804" y="2938"/>
                  </a:moveTo>
                  <a:lnTo>
                    <a:pt x="1804" y="2938"/>
                  </a:lnTo>
                  <a:lnTo>
                    <a:pt x="1810" y="2932"/>
                  </a:lnTo>
                  <a:lnTo>
                    <a:pt x="1812" y="2928"/>
                  </a:lnTo>
                  <a:lnTo>
                    <a:pt x="1808" y="2930"/>
                  </a:lnTo>
                  <a:lnTo>
                    <a:pt x="1800" y="2934"/>
                  </a:lnTo>
                  <a:lnTo>
                    <a:pt x="1790" y="2940"/>
                  </a:lnTo>
                  <a:lnTo>
                    <a:pt x="1776" y="2946"/>
                  </a:lnTo>
                  <a:lnTo>
                    <a:pt x="1768" y="2946"/>
                  </a:lnTo>
                  <a:lnTo>
                    <a:pt x="1760" y="2944"/>
                  </a:lnTo>
                  <a:lnTo>
                    <a:pt x="1754" y="2944"/>
                  </a:lnTo>
                  <a:lnTo>
                    <a:pt x="1750" y="2944"/>
                  </a:lnTo>
                  <a:lnTo>
                    <a:pt x="1748" y="2946"/>
                  </a:lnTo>
                  <a:lnTo>
                    <a:pt x="1748" y="2948"/>
                  </a:lnTo>
                  <a:lnTo>
                    <a:pt x="1748" y="2954"/>
                  </a:lnTo>
                  <a:lnTo>
                    <a:pt x="1746" y="2954"/>
                  </a:lnTo>
                  <a:lnTo>
                    <a:pt x="1742" y="2954"/>
                  </a:lnTo>
                  <a:lnTo>
                    <a:pt x="1736" y="2954"/>
                  </a:lnTo>
                  <a:lnTo>
                    <a:pt x="1732" y="2958"/>
                  </a:lnTo>
                  <a:lnTo>
                    <a:pt x="1730" y="2960"/>
                  </a:lnTo>
                  <a:lnTo>
                    <a:pt x="1726" y="2960"/>
                  </a:lnTo>
                  <a:lnTo>
                    <a:pt x="1722" y="2960"/>
                  </a:lnTo>
                  <a:lnTo>
                    <a:pt x="1722" y="2962"/>
                  </a:lnTo>
                  <a:lnTo>
                    <a:pt x="1726" y="2974"/>
                  </a:lnTo>
                  <a:lnTo>
                    <a:pt x="1728" y="2978"/>
                  </a:lnTo>
                  <a:lnTo>
                    <a:pt x="1732" y="2980"/>
                  </a:lnTo>
                  <a:lnTo>
                    <a:pt x="1736" y="2982"/>
                  </a:lnTo>
                  <a:lnTo>
                    <a:pt x="1742" y="2982"/>
                  </a:lnTo>
                  <a:lnTo>
                    <a:pt x="1748" y="2982"/>
                  </a:lnTo>
                  <a:lnTo>
                    <a:pt x="1750" y="2984"/>
                  </a:lnTo>
                  <a:lnTo>
                    <a:pt x="1752" y="2986"/>
                  </a:lnTo>
                  <a:lnTo>
                    <a:pt x="1754" y="2984"/>
                  </a:lnTo>
                  <a:lnTo>
                    <a:pt x="1754" y="2982"/>
                  </a:lnTo>
                  <a:lnTo>
                    <a:pt x="1756" y="2980"/>
                  </a:lnTo>
                  <a:lnTo>
                    <a:pt x="1764" y="2978"/>
                  </a:lnTo>
                  <a:lnTo>
                    <a:pt x="1770" y="2976"/>
                  </a:lnTo>
                  <a:lnTo>
                    <a:pt x="1774" y="2974"/>
                  </a:lnTo>
                  <a:lnTo>
                    <a:pt x="1776" y="2970"/>
                  </a:lnTo>
                  <a:lnTo>
                    <a:pt x="1780" y="2966"/>
                  </a:lnTo>
                  <a:lnTo>
                    <a:pt x="1782" y="2964"/>
                  </a:lnTo>
                  <a:lnTo>
                    <a:pt x="1790" y="2964"/>
                  </a:lnTo>
                  <a:lnTo>
                    <a:pt x="1794" y="2964"/>
                  </a:lnTo>
                  <a:lnTo>
                    <a:pt x="1796" y="2962"/>
                  </a:lnTo>
                  <a:lnTo>
                    <a:pt x="1794" y="2960"/>
                  </a:lnTo>
                  <a:lnTo>
                    <a:pt x="1790" y="2954"/>
                  </a:lnTo>
                  <a:lnTo>
                    <a:pt x="1790" y="2950"/>
                  </a:lnTo>
                  <a:lnTo>
                    <a:pt x="1796" y="2944"/>
                  </a:lnTo>
                  <a:lnTo>
                    <a:pt x="1804" y="2938"/>
                  </a:lnTo>
                  <a:close/>
                  <a:moveTo>
                    <a:pt x="1538" y="2902"/>
                  </a:moveTo>
                  <a:lnTo>
                    <a:pt x="1538" y="2902"/>
                  </a:lnTo>
                  <a:lnTo>
                    <a:pt x="1540" y="2906"/>
                  </a:lnTo>
                  <a:lnTo>
                    <a:pt x="1538" y="2910"/>
                  </a:lnTo>
                  <a:lnTo>
                    <a:pt x="1538" y="2914"/>
                  </a:lnTo>
                  <a:lnTo>
                    <a:pt x="1542" y="2918"/>
                  </a:lnTo>
                  <a:lnTo>
                    <a:pt x="1544" y="2918"/>
                  </a:lnTo>
                  <a:lnTo>
                    <a:pt x="1548" y="2914"/>
                  </a:lnTo>
                  <a:lnTo>
                    <a:pt x="1554" y="2904"/>
                  </a:lnTo>
                  <a:lnTo>
                    <a:pt x="1558" y="2894"/>
                  </a:lnTo>
                  <a:lnTo>
                    <a:pt x="1560" y="2888"/>
                  </a:lnTo>
                  <a:lnTo>
                    <a:pt x="1560" y="2886"/>
                  </a:lnTo>
                  <a:lnTo>
                    <a:pt x="1558" y="2886"/>
                  </a:lnTo>
                  <a:lnTo>
                    <a:pt x="1554" y="2886"/>
                  </a:lnTo>
                  <a:lnTo>
                    <a:pt x="1546" y="2892"/>
                  </a:lnTo>
                  <a:lnTo>
                    <a:pt x="1540" y="2898"/>
                  </a:lnTo>
                  <a:lnTo>
                    <a:pt x="1538" y="2900"/>
                  </a:lnTo>
                  <a:lnTo>
                    <a:pt x="1538" y="2902"/>
                  </a:lnTo>
                  <a:close/>
                  <a:moveTo>
                    <a:pt x="644" y="1508"/>
                  </a:moveTo>
                  <a:lnTo>
                    <a:pt x="644" y="1508"/>
                  </a:lnTo>
                  <a:lnTo>
                    <a:pt x="646" y="1510"/>
                  </a:lnTo>
                  <a:lnTo>
                    <a:pt x="648" y="1508"/>
                  </a:lnTo>
                  <a:lnTo>
                    <a:pt x="650" y="1500"/>
                  </a:lnTo>
                  <a:lnTo>
                    <a:pt x="650" y="1498"/>
                  </a:lnTo>
                  <a:lnTo>
                    <a:pt x="646" y="1498"/>
                  </a:lnTo>
                  <a:lnTo>
                    <a:pt x="640" y="1500"/>
                  </a:lnTo>
                  <a:lnTo>
                    <a:pt x="636" y="1504"/>
                  </a:lnTo>
                  <a:lnTo>
                    <a:pt x="634" y="1510"/>
                  </a:lnTo>
                  <a:lnTo>
                    <a:pt x="636" y="1514"/>
                  </a:lnTo>
                  <a:lnTo>
                    <a:pt x="638" y="1516"/>
                  </a:lnTo>
                  <a:lnTo>
                    <a:pt x="642" y="1518"/>
                  </a:lnTo>
                  <a:lnTo>
                    <a:pt x="644" y="1516"/>
                  </a:lnTo>
                  <a:lnTo>
                    <a:pt x="644" y="1514"/>
                  </a:lnTo>
                  <a:lnTo>
                    <a:pt x="642" y="1508"/>
                  </a:lnTo>
                  <a:lnTo>
                    <a:pt x="640" y="1506"/>
                  </a:lnTo>
                  <a:lnTo>
                    <a:pt x="644" y="1508"/>
                  </a:lnTo>
                  <a:close/>
                  <a:moveTo>
                    <a:pt x="632" y="1558"/>
                  </a:moveTo>
                  <a:lnTo>
                    <a:pt x="632" y="1558"/>
                  </a:lnTo>
                  <a:lnTo>
                    <a:pt x="634" y="1556"/>
                  </a:lnTo>
                  <a:lnTo>
                    <a:pt x="634" y="1554"/>
                  </a:lnTo>
                  <a:lnTo>
                    <a:pt x="634" y="1548"/>
                  </a:lnTo>
                  <a:lnTo>
                    <a:pt x="630" y="1544"/>
                  </a:lnTo>
                  <a:lnTo>
                    <a:pt x="630" y="1546"/>
                  </a:lnTo>
                  <a:lnTo>
                    <a:pt x="630" y="1554"/>
                  </a:lnTo>
                  <a:lnTo>
                    <a:pt x="630" y="1558"/>
                  </a:lnTo>
                  <a:lnTo>
                    <a:pt x="632" y="1558"/>
                  </a:lnTo>
                  <a:close/>
                  <a:moveTo>
                    <a:pt x="628" y="1528"/>
                  </a:moveTo>
                  <a:lnTo>
                    <a:pt x="628" y="1528"/>
                  </a:lnTo>
                  <a:lnTo>
                    <a:pt x="630" y="1528"/>
                  </a:lnTo>
                  <a:lnTo>
                    <a:pt x="630" y="1526"/>
                  </a:lnTo>
                  <a:lnTo>
                    <a:pt x="632" y="1522"/>
                  </a:lnTo>
                  <a:lnTo>
                    <a:pt x="632" y="1520"/>
                  </a:lnTo>
                  <a:lnTo>
                    <a:pt x="634" y="1520"/>
                  </a:lnTo>
                  <a:lnTo>
                    <a:pt x="634" y="1522"/>
                  </a:lnTo>
                  <a:lnTo>
                    <a:pt x="636" y="1522"/>
                  </a:lnTo>
                  <a:lnTo>
                    <a:pt x="638" y="1522"/>
                  </a:lnTo>
                  <a:lnTo>
                    <a:pt x="638" y="1520"/>
                  </a:lnTo>
                  <a:lnTo>
                    <a:pt x="636" y="1518"/>
                  </a:lnTo>
                  <a:lnTo>
                    <a:pt x="632" y="1514"/>
                  </a:lnTo>
                  <a:lnTo>
                    <a:pt x="628" y="1512"/>
                  </a:lnTo>
                  <a:lnTo>
                    <a:pt x="628" y="1516"/>
                  </a:lnTo>
                  <a:lnTo>
                    <a:pt x="628" y="1528"/>
                  </a:lnTo>
                  <a:close/>
                  <a:moveTo>
                    <a:pt x="1186" y="1636"/>
                  </a:moveTo>
                  <a:lnTo>
                    <a:pt x="1186" y="1636"/>
                  </a:lnTo>
                  <a:lnTo>
                    <a:pt x="1180" y="1640"/>
                  </a:lnTo>
                  <a:lnTo>
                    <a:pt x="1176" y="1638"/>
                  </a:lnTo>
                  <a:lnTo>
                    <a:pt x="1174" y="1638"/>
                  </a:lnTo>
                  <a:lnTo>
                    <a:pt x="1164" y="1646"/>
                  </a:lnTo>
                  <a:lnTo>
                    <a:pt x="1156" y="1656"/>
                  </a:lnTo>
                  <a:lnTo>
                    <a:pt x="1150" y="1666"/>
                  </a:lnTo>
                  <a:lnTo>
                    <a:pt x="1150" y="1676"/>
                  </a:lnTo>
                  <a:lnTo>
                    <a:pt x="1154" y="1682"/>
                  </a:lnTo>
                  <a:lnTo>
                    <a:pt x="1154" y="1686"/>
                  </a:lnTo>
                  <a:lnTo>
                    <a:pt x="1154" y="1690"/>
                  </a:lnTo>
                  <a:lnTo>
                    <a:pt x="1154" y="1696"/>
                  </a:lnTo>
                  <a:lnTo>
                    <a:pt x="1154" y="1700"/>
                  </a:lnTo>
                  <a:lnTo>
                    <a:pt x="1158" y="1700"/>
                  </a:lnTo>
                  <a:lnTo>
                    <a:pt x="1162" y="1696"/>
                  </a:lnTo>
                  <a:lnTo>
                    <a:pt x="1166" y="1690"/>
                  </a:lnTo>
                  <a:lnTo>
                    <a:pt x="1170" y="1682"/>
                  </a:lnTo>
                  <a:lnTo>
                    <a:pt x="1178" y="1674"/>
                  </a:lnTo>
                  <a:lnTo>
                    <a:pt x="1182" y="1670"/>
                  </a:lnTo>
                  <a:lnTo>
                    <a:pt x="1184" y="1666"/>
                  </a:lnTo>
                  <a:lnTo>
                    <a:pt x="1182" y="1662"/>
                  </a:lnTo>
                  <a:lnTo>
                    <a:pt x="1180" y="1658"/>
                  </a:lnTo>
                  <a:lnTo>
                    <a:pt x="1180" y="1656"/>
                  </a:lnTo>
                  <a:lnTo>
                    <a:pt x="1182" y="1652"/>
                  </a:lnTo>
                  <a:lnTo>
                    <a:pt x="1186" y="1646"/>
                  </a:lnTo>
                  <a:lnTo>
                    <a:pt x="1194" y="1638"/>
                  </a:lnTo>
                  <a:lnTo>
                    <a:pt x="1198" y="1632"/>
                  </a:lnTo>
                  <a:lnTo>
                    <a:pt x="1196" y="1630"/>
                  </a:lnTo>
                  <a:lnTo>
                    <a:pt x="1194" y="1632"/>
                  </a:lnTo>
                  <a:lnTo>
                    <a:pt x="1186" y="1636"/>
                  </a:lnTo>
                  <a:close/>
                  <a:moveTo>
                    <a:pt x="1058" y="962"/>
                  </a:moveTo>
                  <a:lnTo>
                    <a:pt x="1058" y="962"/>
                  </a:lnTo>
                  <a:lnTo>
                    <a:pt x="1050" y="960"/>
                  </a:lnTo>
                  <a:lnTo>
                    <a:pt x="1048" y="962"/>
                  </a:lnTo>
                  <a:lnTo>
                    <a:pt x="1046" y="964"/>
                  </a:lnTo>
                  <a:lnTo>
                    <a:pt x="1048" y="964"/>
                  </a:lnTo>
                  <a:lnTo>
                    <a:pt x="1054" y="964"/>
                  </a:lnTo>
                  <a:lnTo>
                    <a:pt x="1058" y="962"/>
                  </a:lnTo>
                  <a:close/>
                  <a:moveTo>
                    <a:pt x="1366" y="1568"/>
                  </a:moveTo>
                  <a:lnTo>
                    <a:pt x="1366" y="1568"/>
                  </a:lnTo>
                  <a:lnTo>
                    <a:pt x="1364" y="1566"/>
                  </a:lnTo>
                  <a:lnTo>
                    <a:pt x="1360" y="1564"/>
                  </a:lnTo>
                  <a:lnTo>
                    <a:pt x="1356" y="1564"/>
                  </a:lnTo>
                  <a:lnTo>
                    <a:pt x="1354" y="1566"/>
                  </a:lnTo>
                  <a:lnTo>
                    <a:pt x="1356" y="1568"/>
                  </a:lnTo>
                  <a:lnTo>
                    <a:pt x="1360" y="1570"/>
                  </a:lnTo>
                  <a:lnTo>
                    <a:pt x="1364" y="1570"/>
                  </a:lnTo>
                  <a:lnTo>
                    <a:pt x="1366" y="1568"/>
                  </a:lnTo>
                  <a:close/>
                  <a:moveTo>
                    <a:pt x="1332" y="1588"/>
                  </a:moveTo>
                  <a:lnTo>
                    <a:pt x="1332" y="1588"/>
                  </a:lnTo>
                  <a:lnTo>
                    <a:pt x="1336" y="1586"/>
                  </a:lnTo>
                  <a:lnTo>
                    <a:pt x="1338" y="1584"/>
                  </a:lnTo>
                  <a:lnTo>
                    <a:pt x="1338" y="1582"/>
                  </a:lnTo>
                  <a:lnTo>
                    <a:pt x="1342" y="1580"/>
                  </a:lnTo>
                  <a:lnTo>
                    <a:pt x="1344" y="1582"/>
                  </a:lnTo>
                  <a:lnTo>
                    <a:pt x="1346" y="1580"/>
                  </a:lnTo>
                  <a:lnTo>
                    <a:pt x="1346" y="1578"/>
                  </a:lnTo>
                  <a:lnTo>
                    <a:pt x="1348" y="1578"/>
                  </a:lnTo>
                  <a:lnTo>
                    <a:pt x="1350" y="1578"/>
                  </a:lnTo>
                  <a:lnTo>
                    <a:pt x="1352" y="1576"/>
                  </a:lnTo>
                  <a:lnTo>
                    <a:pt x="1350" y="1574"/>
                  </a:lnTo>
                  <a:lnTo>
                    <a:pt x="1346" y="1570"/>
                  </a:lnTo>
                  <a:lnTo>
                    <a:pt x="1336" y="1562"/>
                  </a:lnTo>
                  <a:lnTo>
                    <a:pt x="1334" y="1562"/>
                  </a:lnTo>
                  <a:lnTo>
                    <a:pt x="1330" y="1566"/>
                  </a:lnTo>
                  <a:lnTo>
                    <a:pt x="1326" y="1568"/>
                  </a:lnTo>
                  <a:lnTo>
                    <a:pt x="1320" y="1570"/>
                  </a:lnTo>
                  <a:lnTo>
                    <a:pt x="1316" y="1570"/>
                  </a:lnTo>
                  <a:lnTo>
                    <a:pt x="1312" y="1570"/>
                  </a:lnTo>
                  <a:lnTo>
                    <a:pt x="1310" y="1572"/>
                  </a:lnTo>
                  <a:lnTo>
                    <a:pt x="1312" y="1574"/>
                  </a:lnTo>
                  <a:lnTo>
                    <a:pt x="1322" y="1574"/>
                  </a:lnTo>
                  <a:lnTo>
                    <a:pt x="1324" y="1574"/>
                  </a:lnTo>
                  <a:lnTo>
                    <a:pt x="1326" y="1576"/>
                  </a:lnTo>
                  <a:lnTo>
                    <a:pt x="1326" y="1580"/>
                  </a:lnTo>
                  <a:lnTo>
                    <a:pt x="1328" y="1584"/>
                  </a:lnTo>
                  <a:lnTo>
                    <a:pt x="1330" y="1586"/>
                  </a:lnTo>
                  <a:lnTo>
                    <a:pt x="1332" y="1588"/>
                  </a:lnTo>
                  <a:close/>
                  <a:moveTo>
                    <a:pt x="1306" y="1608"/>
                  </a:moveTo>
                  <a:lnTo>
                    <a:pt x="1306" y="1608"/>
                  </a:lnTo>
                  <a:lnTo>
                    <a:pt x="1304" y="1610"/>
                  </a:lnTo>
                  <a:lnTo>
                    <a:pt x="1302" y="1612"/>
                  </a:lnTo>
                  <a:lnTo>
                    <a:pt x="1304" y="1616"/>
                  </a:lnTo>
                  <a:lnTo>
                    <a:pt x="1310" y="1618"/>
                  </a:lnTo>
                  <a:lnTo>
                    <a:pt x="1316" y="1622"/>
                  </a:lnTo>
                  <a:lnTo>
                    <a:pt x="1316" y="1624"/>
                  </a:lnTo>
                  <a:lnTo>
                    <a:pt x="1312" y="1628"/>
                  </a:lnTo>
                  <a:lnTo>
                    <a:pt x="1308" y="1630"/>
                  </a:lnTo>
                  <a:lnTo>
                    <a:pt x="1308" y="1634"/>
                  </a:lnTo>
                  <a:lnTo>
                    <a:pt x="1308" y="1636"/>
                  </a:lnTo>
                  <a:lnTo>
                    <a:pt x="1314" y="1636"/>
                  </a:lnTo>
                  <a:lnTo>
                    <a:pt x="1316" y="1634"/>
                  </a:lnTo>
                  <a:lnTo>
                    <a:pt x="1318" y="1630"/>
                  </a:lnTo>
                  <a:lnTo>
                    <a:pt x="1322" y="1620"/>
                  </a:lnTo>
                  <a:lnTo>
                    <a:pt x="1326" y="1618"/>
                  </a:lnTo>
                  <a:lnTo>
                    <a:pt x="1328" y="1616"/>
                  </a:lnTo>
                  <a:lnTo>
                    <a:pt x="1330" y="1616"/>
                  </a:lnTo>
                  <a:lnTo>
                    <a:pt x="1334" y="1618"/>
                  </a:lnTo>
                  <a:lnTo>
                    <a:pt x="1340" y="1614"/>
                  </a:lnTo>
                  <a:lnTo>
                    <a:pt x="1348" y="1610"/>
                  </a:lnTo>
                  <a:lnTo>
                    <a:pt x="1352" y="1604"/>
                  </a:lnTo>
                  <a:lnTo>
                    <a:pt x="1356" y="1602"/>
                  </a:lnTo>
                  <a:lnTo>
                    <a:pt x="1358" y="1602"/>
                  </a:lnTo>
                  <a:lnTo>
                    <a:pt x="1358" y="1604"/>
                  </a:lnTo>
                  <a:lnTo>
                    <a:pt x="1362" y="1604"/>
                  </a:lnTo>
                  <a:lnTo>
                    <a:pt x="1364" y="1602"/>
                  </a:lnTo>
                  <a:lnTo>
                    <a:pt x="1362" y="1602"/>
                  </a:lnTo>
                  <a:lnTo>
                    <a:pt x="1354" y="1596"/>
                  </a:lnTo>
                  <a:lnTo>
                    <a:pt x="1348" y="1594"/>
                  </a:lnTo>
                  <a:lnTo>
                    <a:pt x="1342" y="1594"/>
                  </a:lnTo>
                  <a:lnTo>
                    <a:pt x="1338" y="1594"/>
                  </a:lnTo>
                  <a:lnTo>
                    <a:pt x="1334" y="1592"/>
                  </a:lnTo>
                  <a:lnTo>
                    <a:pt x="1330" y="1590"/>
                  </a:lnTo>
                  <a:lnTo>
                    <a:pt x="1324" y="1592"/>
                  </a:lnTo>
                  <a:lnTo>
                    <a:pt x="1318" y="1594"/>
                  </a:lnTo>
                  <a:lnTo>
                    <a:pt x="1314" y="1600"/>
                  </a:lnTo>
                  <a:lnTo>
                    <a:pt x="1312" y="1602"/>
                  </a:lnTo>
                  <a:lnTo>
                    <a:pt x="1310" y="1602"/>
                  </a:lnTo>
                  <a:lnTo>
                    <a:pt x="1308" y="1598"/>
                  </a:lnTo>
                  <a:lnTo>
                    <a:pt x="1304" y="1598"/>
                  </a:lnTo>
                  <a:lnTo>
                    <a:pt x="1304" y="1600"/>
                  </a:lnTo>
                  <a:lnTo>
                    <a:pt x="1306" y="1604"/>
                  </a:lnTo>
                  <a:lnTo>
                    <a:pt x="1308" y="1606"/>
                  </a:lnTo>
                  <a:lnTo>
                    <a:pt x="1308" y="1608"/>
                  </a:lnTo>
                  <a:lnTo>
                    <a:pt x="1306" y="1608"/>
                  </a:lnTo>
                  <a:close/>
                  <a:moveTo>
                    <a:pt x="1364" y="1596"/>
                  </a:moveTo>
                  <a:lnTo>
                    <a:pt x="1364" y="1596"/>
                  </a:lnTo>
                  <a:lnTo>
                    <a:pt x="1364" y="1592"/>
                  </a:lnTo>
                  <a:lnTo>
                    <a:pt x="1360" y="1590"/>
                  </a:lnTo>
                  <a:lnTo>
                    <a:pt x="1356" y="1588"/>
                  </a:lnTo>
                  <a:lnTo>
                    <a:pt x="1354" y="1588"/>
                  </a:lnTo>
                  <a:lnTo>
                    <a:pt x="1354" y="1592"/>
                  </a:lnTo>
                  <a:lnTo>
                    <a:pt x="1356" y="1596"/>
                  </a:lnTo>
                  <a:lnTo>
                    <a:pt x="1360" y="1598"/>
                  </a:lnTo>
                  <a:lnTo>
                    <a:pt x="1364" y="1596"/>
                  </a:lnTo>
                  <a:close/>
                  <a:moveTo>
                    <a:pt x="1102" y="2532"/>
                  </a:moveTo>
                  <a:lnTo>
                    <a:pt x="1102" y="2532"/>
                  </a:lnTo>
                  <a:lnTo>
                    <a:pt x="1110" y="2530"/>
                  </a:lnTo>
                  <a:lnTo>
                    <a:pt x="1112" y="2530"/>
                  </a:lnTo>
                  <a:lnTo>
                    <a:pt x="1110" y="2528"/>
                  </a:lnTo>
                  <a:lnTo>
                    <a:pt x="1098" y="2526"/>
                  </a:lnTo>
                  <a:lnTo>
                    <a:pt x="1092" y="2528"/>
                  </a:lnTo>
                  <a:lnTo>
                    <a:pt x="1094" y="2530"/>
                  </a:lnTo>
                  <a:lnTo>
                    <a:pt x="1096" y="2532"/>
                  </a:lnTo>
                  <a:lnTo>
                    <a:pt x="1102" y="2532"/>
                  </a:lnTo>
                  <a:close/>
                  <a:moveTo>
                    <a:pt x="470" y="2754"/>
                  </a:moveTo>
                  <a:lnTo>
                    <a:pt x="470" y="2754"/>
                  </a:lnTo>
                  <a:lnTo>
                    <a:pt x="472" y="2756"/>
                  </a:lnTo>
                  <a:lnTo>
                    <a:pt x="476" y="2756"/>
                  </a:lnTo>
                  <a:lnTo>
                    <a:pt x="482" y="2752"/>
                  </a:lnTo>
                  <a:lnTo>
                    <a:pt x="486" y="2746"/>
                  </a:lnTo>
                  <a:lnTo>
                    <a:pt x="486" y="2744"/>
                  </a:lnTo>
                  <a:lnTo>
                    <a:pt x="484" y="2740"/>
                  </a:lnTo>
                  <a:lnTo>
                    <a:pt x="482" y="2740"/>
                  </a:lnTo>
                  <a:lnTo>
                    <a:pt x="480" y="2740"/>
                  </a:lnTo>
                  <a:lnTo>
                    <a:pt x="474" y="2744"/>
                  </a:lnTo>
                  <a:lnTo>
                    <a:pt x="470" y="2750"/>
                  </a:lnTo>
                  <a:lnTo>
                    <a:pt x="470" y="2752"/>
                  </a:lnTo>
                  <a:lnTo>
                    <a:pt x="470" y="2754"/>
                  </a:lnTo>
                  <a:close/>
                  <a:moveTo>
                    <a:pt x="808" y="2632"/>
                  </a:moveTo>
                  <a:lnTo>
                    <a:pt x="808" y="2632"/>
                  </a:lnTo>
                  <a:lnTo>
                    <a:pt x="804" y="2628"/>
                  </a:lnTo>
                  <a:lnTo>
                    <a:pt x="802" y="2626"/>
                  </a:lnTo>
                  <a:lnTo>
                    <a:pt x="798" y="2624"/>
                  </a:lnTo>
                  <a:lnTo>
                    <a:pt x="794" y="2626"/>
                  </a:lnTo>
                  <a:lnTo>
                    <a:pt x="790" y="2628"/>
                  </a:lnTo>
                  <a:lnTo>
                    <a:pt x="776" y="2638"/>
                  </a:lnTo>
                  <a:lnTo>
                    <a:pt x="768" y="2644"/>
                  </a:lnTo>
                  <a:lnTo>
                    <a:pt x="762" y="2646"/>
                  </a:lnTo>
                  <a:lnTo>
                    <a:pt x="758" y="2644"/>
                  </a:lnTo>
                  <a:lnTo>
                    <a:pt x="756" y="2642"/>
                  </a:lnTo>
                  <a:lnTo>
                    <a:pt x="752" y="2640"/>
                  </a:lnTo>
                  <a:lnTo>
                    <a:pt x="750" y="2650"/>
                  </a:lnTo>
                  <a:lnTo>
                    <a:pt x="752" y="2654"/>
                  </a:lnTo>
                  <a:lnTo>
                    <a:pt x="752" y="2658"/>
                  </a:lnTo>
                  <a:lnTo>
                    <a:pt x="756" y="2664"/>
                  </a:lnTo>
                  <a:lnTo>
                    <a:pt x="760" y="2672"/>
                  </a:lnTo>
                  <a:lnTo>
                    <a:pt x="762" y="2678"/>
                  </a:lnTo>
                  <a:lnTo>
                    <a:pt x="762" y="2686"/>
                  </a:lnTo>
                  <a:lnTo>
                    <a:pt x="762" y="2694"/>
                  </a:lnTo>
                  <a:lnTo>
                    <a:pt x="764" y="2698"/>
                  </a:lnTo>
                  <a:lnTo>
                    <a:pt x="764" y="2702"/>
                  </a:lnTo>
                  <a:lnTo>
                    <a:pt x="762" y="2714"/>
                  </a:lnTo>
                  <a:lnTo>
                    <a:pt x="760" y="2728"/>
                  </a:lnTo>
                  <a:lnTo>
                    <a:pt x="764" y="2742"/>
                  </a:lnTo>
                  <a:lnTo>
                    <a:pt x="766" y="2746"/>
                  </a:lnTo>
                  <a:lnTo>
                    <a:pt x="770" y="2750"/>
                  </a:lnTo>
                  <a:lnTo>
                    <a:pt x="774" y="2752"/>
                  </a:lnTo>
                  <a:lnTo>
                    <a:pt x="778" y="2752"/>
                  </a:lnTo>
                  <a:lnTo>
                    <a:pt x="782" y="2752"/>
                  </a:lnTo>
                  <a:lnTo>
                    <a:pt x="784" y="2748"/>
                  </a:lnTo>
                  <a:lnTo>
                    <a:pt x="788" y="2742"/>
                  </a:lnTo>
                  <a:lnTo>
                    <a:pt x="790" y="2738"/>
                  </a:lnTo>
                  <a:lnTo>
                    <a:pt x="792" y="2736"/>
                  </a:lnTo>
                  <a:lnTo>
                    <a:pt x="796" y="2738"/>
                  </a:lnTo>
                  <a:lnTo>
                    <a:pt x="802" y="2740"/>
                  </a:lnTo>
                  <a:lnTo>
                    <a:pt x="806" y="2740"/>
                  </a:lnTo>
                  <a:lnTo>
                    <a:pt x="808" y="2736"/>
                  </a:lnTo>
                  <a:lnTo>
                    <a:pt x="810" y="2726"/>
                  </a:lnTo>
                  <a:lnTo>
                    <a:pt x="814" y="2708"/>
                  </a:lnTo>
                  <a:lnTo>
                    <a:pt x="816" y="2698"/>
                  </a:lnTo>
                  <a:lnTo>
                    <a:pt x="814" y="2690"/>
                  </a:lnTo>
                  <a:lnTo>
                    <a:pt x="812" y="2682"/>
                  </a:lnTo>
                  <a:lnTo>
                    <a:pt x="810" y="2678"/>
                  </a:lnTo>
                  <a:lnTo>
                    <a:pt x="814" y="2672"/>
                  </a:lnTo>
                  <a:lnTo>
                    <a:pt x="818" y="2668"/>
                  </a:lnTo>
                  <a:lnTo>
                    <a:pt x="818" y="2662"/>
                  </a:lnTo>
                  <a:lnTo>
                    <a:pt x="818" y="2652"/>
                  </a:lnTo>
                  <a:lnTo>
                    <a:pt x="814" y="2642"/>
                  </a:lnTo>
                  <a:lnTo>
                    <a:pt x="808" y="2632"/>
                  </a:lnTo>
                  <a:close/>
                  <a:moveTo>
                    <a:pt x="576" y="2694"/>
                  </a:moveTo>
                  <a:lnTo>
                    <a:pt x="576" y="2694"/>
                  </a:lnTo>
                  <a:lnTo>
                    <a:pt x="578" y="2696"/>
                  </a:lnTo>
                  <a:lnTo>
                    <a:pt x="580" y="2696"/>
                  </a:lnTo>
                  <a:lnTo>
                    <a:pt x="584" y="2696"/>
                  </a:lnTo>
                  <a:lnTo>
                    <a:pt x="588" y="2698"/>
                  </a:lnTo>
                  <a:lnTo>
                    <a:pt x="592" y="2702"/>
                  </a:lnTo>
                  <a:lnTo>
                    <a:pt x="594" y="2700"/>
                  </a:lnTo>
                  <a:lnTo>
                    <a:pt x="596" y="2698"/>
                  </a:lnTo>
                  <a:lnTo>
                    <a:pt x="594" y="2692"/>
                  </a:lnTo>
                  <a:lnTo>
                    <a:pt x="594" y="2690"/>
                  </a:lnTo>
                  <a:lnTo>
                    <a:pt x="590" y="2688"/>
                  </a:lnTo>
                  <a:lnTo>
                    <a:pt x="584" y="2686"/>
                  </a:lnTo>
                  <a:lnTo>
                    <a:pt x="578" y="2688"/>
                  </a:lnTo>
                  <a:lnTo>
                    <a:pt x="576" y="2690"/>
                  </a:lnTo>
                  <a:lnTo>
                    <a:pt x="576" y="2694"/>
                  </a:lnTo>
                  <a:close/>
                  <a:moveTo>
                    <a:pt x="1022" y="2792"/>
                  </a:moveTo>
                  <a:lnTo>
                    <a:pt x="1022" y="2792"/>
                  </a:lnTo>
                  <a:lnTo>
                    <a:pt x="1016" y="2792"/>
                  </a:lnTo>
                  <a:lnTo>
                    <a:pt x="1010" y="2794"/>
                  </a:lnTo>
                  <a:lnTo>
                    <a:pt x="998" y="2800"/>
                  </a:lnTo>
                  <a:lnTo>
                    <a:pt x="990" y="2802"/>
                  </a:lnTo>
                  <a:lnTo>
                    <a:pt x="982" y="2802"/>
                  </a:lnTo>
                  <a:lnTo>
                    <a:pt x="974" y="2800"/>
                  </a:lnTo>
                  <a:lnTo>
                    <a:pt x="966" y="2796"/>
                  </a:lnTo>
                  <a:lnTo>
                    <a:pt x="960" y="2790"/>
                  </a:lnTo>
                  <a:lnTo>
                    <a:pt x="954" y="2790"/>
                  </a:lnTo>
                  <a:lnTo>
                    <a:pt x="950" y="2792"/>
                  </a:lnTo>
                  <a:lnTo>
                    <a:pt x="948" y="2794"/>
                  </a:lnTo>
                  <a:lnTo>
                    <a:pt x="944" y="2800"/>
                  </a:lnTo>
                  <a:lnTo>
                    <a:pt x="942" y="2800"/>
                  </a:lnTo>
                  <a:lnTo>
                    <a:pt x="938" y="2794"/>
                  </a:lnTo>
                  <a:lnTo>
                    <a:pt x="936" y="2794"/>
                  </a:lnTo>
                  <a:lnTo>
                    <a:pt x="934" y="2792"/>
                  </a:lnTo>
                  <a:lnTo>
                    <a:pt x="930" y="2796"/>
                  </a:lnTo>
                  <a:lnTo>
                    <a:pt x="926" y="2802"/>
                  </a:lnTo>
                  <a:lnTo>
                    <a:pt x="924" y="2814"/>
                  </a:lnTo>
                  <a:lnTo>
                    <a:pt x="926" y="2820"/>
                  </a:lnTo>
                  <a:lnTo>
                    <a:pt x="930" y="2822"/>
                  </a:lnTo>
                  <a:lnTo>
                    <a:pt x="944" y="2828"/>
                  </a:lnTo>
                  <a:lnTo>
                    <a:pt x="954" y="2832"/>
                  </a:lnTo>
                  <a:lnTo>
                    <a:pt x="966" y="2840"/>
                  </a:lnTo>
                  <a:lnTo>
                    <a:pt x="976" y="2848"/>
                  </a:lnTo>
                  <a:lnTo>
                    <a:pt x="982" y="2850"/>
                  </a:lnTo>
                  <a:lnTo>
                    <a:pt x="986" y="2850"/>
                  </a:lnTo>
                  <a:lnTo>
                    <a:pt x="994" y="2852"/>
                  </a:lnTo>
                  <a:lnTo>
                    <a:pt x="1000" y="2858"/>
                  </a:lnTo>
                  <a:lnTo>
                    <a:pt x="1008" y="2864"/>
                  </a:lnTo>
                  <a:lnTo>
                    <a:pt x="1016" y="2870"/>
                  </a:lnTo>
                  <a:lnTo>
                    <a:pt x="1030" y="2874"/>
                  </a:lnTo>
                  <a:lnTo>
                    <a:pt x="1032" y="2874"/>
                  </a:lnTo>
                  <a:lnTo>
                    <a:pt x="1032" y="2870"/>
                  </a:lnTo>
                  <a:lnTo>
                    <a:pt x="1034" y="2862"/>
                  </a:lnTo>
                  <a:lnTo>
                    <a:pt x="1036" y="2852"/>
                  </a:lnTo>
                  <a:lnTo>
                    <a:pt x="1036" y="2844"/>
                  </a:lnTo>
                  <a:lnTo>
                    <a:pt x="1034" y="2840"/>
                  </a:lnTo>
                  <a:lnTo>
                    <a:pt x="1032" y="2838"/>
                  </a:lnTo>
                  <a:lnTo>
                    <a:pt x="1030" y="2834"/>
                  </a:lnTo>
                  <a:lnTo>
                    <a:pt x="1030" y="2828"/>
                  </a:lnTo>
                  <a:lnTo>
                    <a:pt x="1036" y="2814"/>
                  </a:lnTo>
                  <a:lnTo>
                    <a:pt x="1050" y="2788"/>
                  </a:lnTo>
                  <a:lnTo>
                    <a:pt x="1052" y="2786"/>
                  </a:lnTo>
                  <a:lnTo>
                    <a:pt x="1050" y="2784"/>
                  </a:lnTo>
                  <a:lnTo>
                    <a:pt x="1042" y="2788"/>
                  </a:lnTo>
                  <a:lnTo>
                    <a:pt x="1032" y="2792"/>
                  </a:lnTo>
                  <a:lnTo>
                    <a:pt x="1026" y="2792"/>
                  </a:lnTo>
                  <a:lnTo>
                    <a:pt x="1022" y="2792"/>
                  </a:lnTo>
                  <a:close/>
                  <a:moveTo>
                    <a:pt x="802" y="2526"/>
                  </a:moveTo>
                  <a:lnTo>
                    <a:pt x="802" y="2526"/>
                  </a:lnTo>
                  <a:lnTo>
                    <a:pt x="800" y="2524"/>
                  </a:lnTo>
                  <a:lnTo>
                    <a:pt x="800" y="2526"/>
                  </a:lnTo>
                  <a:lnTo>
                    <a:pt x="798" y="2534"/>
                  </a:lnTo>
                  <a:lnTo>
                    <a:pt x="798" y="2540"/>
                  </a:lnTo>
                  <a:lnTo>
                    <a:pt x="798" y="2542"/>
                  </a:lnTo>
                  <a:lnTo>
                    <a:pt x="794" y="2542"/>
                  </a:lnTo>
                  <a:lnTo>
                    <a:pt x="790" y="2542"/>
                  </a:lnTo>
                  <a:lnTo>
                    <a:pt x="788" y="2542"/>
                  </a:lnTo>
                  <a:lnTo>
                    <a:pt x="782" y="2546"/>
                  </a:lnTo>
                  <a:lnTo>
                    <a:pt x="778" y="2548"/>
                  </a:lnTo>
                  <a:lnTo>
                    <a:pt x="774" y="2550"/>
                  </a:lnTo>
                  <a:lnTo>
                    <a:pt x="772" y="2550"/>
                  </a:lnTo>
                  <a:lnTo>
                    <a:pt x="772" y="2554"/>
                  </a:lnTo>
                  <a:lnTo>
                    <a:pt x="770" y="2568"/>
                  </a:lnTo>
                  <a:lnTo>
                    <a:pt x="770" y="2580"/>
                  </a:lnTo>
                  <a:lnTo>
                    <a:pt x="770" y="2584"/>
                  </a:lnTo>
                  <a:lnTo>
                    <a:pt x="772" y="2586"/>
                  </a:lnTo>
                  <a:lnTo>
                    <a:pt x="776" y="2586"/>
                  </a:lnTo>
                  <a:lnTo>
                    <a:pt x="776" y="2588"/>
                  </a:lnTo>
                  <a:lnTo>
                    <a:pt x="774" y="2592"/>
                  </a:lnTo>
                  <a:lnTo>
                    <a:pt x="772" y="2594"/>
                  </a:lnTo>
                  <a:lnTo>
                    <a:pt x="772" y="2596"/>
                  </a:lnTo>
                  <a:lnTo>
                    <a:pt x="778" y="2596"/>
                  </a:lnTo>
                  <a:lnTo>
                    <a:pt x="780" y="2598"/>
                  </a:lnTo>
                  <a:lnTo>
                    <a:pt x="778" y="2602"/>
                  </a:lnTo>
                  <a:lnTo>
                    <a:pt x="776" y="2604"/>
                  </a:lnTo>
                  <a:lnTo>
                    <a:pt x="776" y="2606"/>
                  </a:lnTo>
                  <a:lnTo>
                    <a:pt x="778" y="2608"/>
                  </a:lnTo>
                  <a:lnTo>
                    <a:pt x="786" y="2612"/>
                  </a:lnTo>
                  <a:lnTo>
                    <a:pt x="788" y="2614"/>
                  </a:lnTo>
                  <a:lnTo>
                    <a:pt x="790" y="2616"/>
                  </a:lnTo>
                  <a:lnTo>
                    <a:pt x="792" y="2616"/>
                  </a:lnTo>
                  <a:lnTo>
                    <a:pt x="794" y="2616"/>
                  </a:lnTo>
                  <a:lnTo>
                    <a:pt x="794" y="2612"/>
                  </a:lnTo>
                  <a:lnTo>
                    <a:pt x="794" y="2610"/>
                  </a:lnTo>
                  <a:lnTo>
                    <a:pt x="796" y="2606"/>
                  </a:lnTo>
                  <a:lnTo>
                    <a:pt x="800" y="2604"/>
                  </a:lnTo>
                  <a:lnTo>
                    <a:pt x="800" y="2600"/>
                  </a:lnTo>
                  <a:lnTo>
                    <a:pt x="802" y="2588"/>
                  </a:lnTo>
                  <a:lnTo>
                    <a:pt x="802" y="2582"/>
                  </a:lnTo>
                  <a:lnTo>
                    <a:pt x="804" y="2578"/>
                  </a:lnTo>
                  <a:lnTo>
                    <a:pt x="808" y="2574"/>
                  </a:lnTo>
                  <a:lnTo>
                    <a:pt x="808" y="2562"/>
                  </a:lnTo>
                  <a:lnTo>
                    <a:pt x="806" y="2552"/>
                  </a:lnTo>
                  <a:lnTo>
                    <a:pt x="804" y="2546"/>
                  </a:lnTo>
                  <a:lnTo>
                    <a:pt x="804" y="2544"/>
                  </a:lnTo>
                  <a:lnTo>
                    <a:pt x="804" y="2540"/>
                  </a:lnTo>
                  <a:lnTo>
                    <a:pt x="804" y="2530"/>
                  </a:lnTo>
                  <a:lnTo>
                    <a:pt x="804" y="2528"/>
                  </a:lnTo>
                  <a:lnTo>
                    <a:pt x="802" y="2526"/>
                  </a:lnTo>
                  <a:close/>
                  <a:moveTo>
                    <a:pt x="550" y="2700"/>
                  </a:moveTo>
                  <a:lnTo>
                    <a:pt x="550" y="2700"/>
                  </a:lnTo>
                  <a:lnTo>
                    <a:pt x="548" y="2696"/>
                  </a:lnTo>
                  <a:lnTo>
                    <a:pt x="544" y="2696"/>
                  </a:lnTo>
                  <a:lnTo>
                    <a:pt x="538" y="2698"/>
                  </a:lnTo>
                  <a:lnTo>
                    <a:pt x="532" y="2702"/>
                  </a:lnTo>
                  <a:lnTo>
                    <a:pt x="520" y="2712"/>
                  </a:lnTo>
                  <a:lnTo>
                    <a:pt x="518" y="2716"/>
                  </a:lnTo>
                  <a:lnTo>
                    <a:pt x="520" y="2718"/>
                  </a:lnTo>
                  <a:lnTo>
                    <a:pt x="520" y="2720"/>
                  </a:lnTo>
                  <a:lnTo>
                    <a:pt x="526" y="2718"/>
                  </a:lnTo>
                  <a:lnTo>
                    <a:pt x="530" y="2718"/>
                  </a:lnTo>
                  <a:lnTo>
                    <a:pt x="532" y="2720"/>
                  </a:lnTo>
                  <a:lnTo>
                    <a:pt x="536" y="2726"/>
                  </a:lnTo>
                  <a:lnTo>
                    <a:pt x="542" y="2730"/>
                  </a:lnTo>
                  <a:lnTo>
                    <a:pt x="546" y="2732"/>
                  </a:lnTo>
                  <a:lnTo>
                    <a:pt x="548" y="2732"/>
                  </a:lnTo>
                  <a:lnTo>
                    <a:pt x="554" y="2726"/>
                  </a:lnTo>
                  <a:lnTo>
                    <a:pt x="562" y="2708"/>
                  </a:lnTo>
                  <a:lnTo>
                    <a:pt x="564" y="2706"/>
                  </a:lnTo>
                  <a:lnTo>
                    <a:pt x="564" y="2704"/>
                  </a:lnTo>
                  <a:lnTo>
                    <a:pt x="558" y="2704"/>
                  </a:lnTo>
                  <a:lnTo>
                    <a:pt x="552" y="2706"/>
                  </a:lnTo>
                  <a:lnTo>
                    <a:pt x="550" y="2704"/>
                  </a:lnTo>
                  <a:lnTo>
                    <a:pt x="550" y="2700"/>
                  </a:lnTo>
                  <a:close/>
                  <a:moveTo>
                    <a:pt x="1254" y="2806"/>
                  </a:moveTo>
                  <a:lnTo>
                    <a:pt x="1254" y="2806"/>
                  </a:lnTo>
                  <a:lnTo>
                    <a:pt x="1252" y="2810"/>
                  </a:lnTo>
                  <a:lnTo>
                    <a:pt x="1254" y="2814"/>
                  </a:lnTo>
                  <a:lnTo>
                    <a:pt x="1260" y="2818"/>
                  </a:lnTo>
                  <a:lnTo>
                    <a:pt x="1264" y="2820"/>
                  </a:lnTo>
                  <a:lnTo>
                    <a:pt x="1266" y="2818"/>
                  </a:lnTo>
                  <a:lnTo>
                    <a:pt x="1266" y="2816"/>
                  </a:lnTo>
                  <a:lnTo>
                    <a:pt x="1264" y="2812"/>
                  </a:lnTo>
                  <a:lnTo>
                    <a:pt x="1258" y="2808"/>
                  </a:lnTo>
                  <a:lnTo>
                    <a:pt x="1254" y="2806"/>
                  </a:lnTo>
                  <a:close/>
                  <a:moveTo>
                    <a:pt x="1410" y="2874"/>
                  </a:moveTo>
                  <a:lnTo>
                    <a:pt x="1410" y="2874"/>
                  </a:lnTo>
                  <a:lnTo>
                    <a:pt x="1412" y="2870"/>
                  </a:lnTo>
                  <a:lnTo>
                    <a:pt x="1410" y="2868"/>
                  </a:lnTo>
                  <a:lnTo>
                    <a:pt x="1408" y="2868"/>
                  </a:lnTo>
                  <a:lnTo>
                    <a:pt x="1402" y="2870"/>
                  </a:lnTo>
                  <a:lnTo>
                    <a:pt x="1402" y="2872"/>
                  </a:lnTo>
                  <a:lnTo>
                    <a:pt x="1400" y="2874"/>
                  </a:lnTo>
                  <a:lnTo>
                    <a:pt x="1402" y="2876"/>
                  </a:lnTo>
                  <a:lnTo>
                    <a:pt x="1406" y="2876"/>
                  </a:lnTo>
                  <a:lnTo>
                    <a:pt x="1410" y="2874"/>
                  </a:lnTo>
                  <a:close/>
                  <a:moveTo>
                    <a:pt x="1214" y="2706"/>
                  </a:moveTo>
                  <a:lnTo>
                    <a:pt x="1214" y="2706"/>
                  </a:lnTo>
                  <a:lnTo>
                    <a:pt x="1214" y="2712"/>
                  </a:lnTo>
                  <a:lnTo>
                    <a:pt x="1218" y="2718"/>
                  </a:lnTo>
                  <a:lnTo>
                    <a:pt x="1224" y="2722"/>
                  </a:lnTo>
                  <a:lnTo>
                    <a:pt x="1230" y="2726"/>
                  </a:lnTo>
                  <a:lnTo>
                    <a:pt x="1232" y="2726"/>
                  </a:lnTo>
                  <a:lnTo>
                    <a:pt x="1230" y="2724"/>
                  </a:lnTo>
                  <a:lnTo>
                    <a:pt x="1228" y="2720"/>
                  </a:lnTo>
                  <a:lnTo>
                    <a:pt x="1224" y="2714"/>
                  </a:lnTo>
                  <a:lnTo>
                    <a:pt x="1222" y="2708"/>
                  </a:lnTo>
                  <a:lnTo>
                    <a:pt x="1222" y="2704"/>
                  </a:lnTo>
                  <a:lnTo>
                    <a:pt x="1218" y="2702"/>
                  </a:lnTo>
                  <a:lnTo>
                    <a:pt x="1216" y="2702"/>
                  </a:lnTo>
                  <a:lnTo>
                    <a:pt x="1214" y="2706"/>
                  </a:lnTo>
                  <a:close/>
                  <a:moveTo>
                    <a:pt x="1468" y="2954"/>
                  </a:moveTo>
                  <a:lnTo>
                    <a:pt x="1468" y="2954"/>
                  </a:lnTo>
                  <a:lnTo>
                    <a:pt x="1464" y="2956"/>
                  </a:lnTo>
                  <a:lnTo>
                    <a:pt x="1462" y="2956"/>
                  </a:lnTo>
                  <a:lnTo>
                    <a:pt x="1460" y="2952"/>
                  </a:lnTo>
                  <a:lnTo>
                    <a:pt x="1460" y="2948"/>
                  </a:lnTo>
                  <a:lnTo>
                    <a:pt x="1456" y="2946"/>
                  </a:lnTo>
                  <a:lnTo>
                    <a:pt x="1452" y="2946"/>
                  </a:lnTo>
                  <a:lnTo>
                    <a:pt x="1446" y="2948"/>
                  </a:lnTo>
                  <a:lnTo>
                    <a:pt x="1442" y="2946"/>
                  </a:lnTo>
                  <a:lnTo>
                    <a:pt x="1434" y="2944"/>
                  </a:lnTo>
                  <a:lnTo>
                    <a:pt x="1424" y="2942"/>
                  </a:lnTo>
                  <a:lnTo>
                    <a:pt x="1418" y="2942"/>
                  </a:lnTo>
                  <a:lnTo>
                    <a:pt x="1410" y="2944"/>
                  </a:lnTo>
                  <a:lnTo>
                    <a:pt x="1406" y="2944"/>
                  </a:lnTo>
                  <a:lnTo>
                    <a:pt x="1402" y="2942"/>
                  </a:lnTo>
                  <a:lnTo>
                    <a:pt x="1398" y="2938"/>
                  </a:lnTo>
                  <a:lnTo>
                    <a:pt x="1396" y="2934"/>
                  </a:lnTo>
                  <a:lnTo>
                    <a:pt x="1394" y="2932"/>
                  </a:lnTo>
                  <a:lnTo>
                    <a:pt x="1392" y="2934"/>
                  </a:lnTo>
                  <a:lnTo>
                    <a:pt x="1390" y="2934"/>
                  </a:lnTo>
                  <a:lnTo>
                    <a:pt x="1386" y="2934"/>
                  </a:lnTo>
                  <a:lnTo>
                    <a:pt x="1382" y="2932"/>
                  </a:lnTo>
                  <a:lnTo>
                    <a:pt x="1380" y="2928"/>
                  </a:lnTo>
                  <a:lnTo>
                    <a:pt x="1378" y="2928"/>
                  </a:lnTo>
                  <a:lnTo>
                    <a:pt x="1378" y="2930"/>
                  </a:lnTo>
                  <a:lnTo>
                    <a:pt x="1376" y="2934"/>
                  </a:lnTo>
                  <a:lnTo>
                    <a:pt x="1374" y="2936"/>
                  </a:lnTo>
                  <a:lnTo>
                    <a:pt x="1372" y="2938"/>
                  </a:lnTo>
                  <a:lnTo>
                    <a:pt x="1372" y="2946"/>
                  </a:lnTo>
                  <a:lnTo>
                    <a:pt x="1372" y="2950"/>
                  </a:lnTo>
                  <a:lnTo>
                    <a:pt x="1376" y="2952"/>
                  </a:lnTo>
                  <a:lnTo>
                    <a:pt x="1388" y="2952"/>
                  </a:lnTo>
                  <a:lnTo>
                    <a:pt x="1402" y="2954"/>
                  </a:lnTo>
                  <a:lnTo>
                    <a:pt x="1410" y="2958"/>
                  </a:lnTo>
                  <a:lnTo>
                    <a:pt x="1418" y="2962"/>
                  </a:lnTo>
                  <a:lnTo>
                    <a:pt x="1422" y="2964"/>
                  </a:lnTo>
                  <a:lnTo>
                    <a:pt x="1428" y="2966"/>
                  </a:lnTo>
                  <a:lnTo>
                    <a:pt x="1440" y="2966"/>
                  </a:lnTo>
                  <a:lnTo>
                    <a:pt x="1452" y="2964"/>
                  </a:lnTo>
                  <a:lnTo>
                    <a:pt x="1468" y="2964"/>
                  </a:lnTo>
                  <a:lnTo>
                    <a:pt x="1476" y="2962"/>
                  </a:lnTo>
                  <a:lnTo>
                    <a:pt x="1480" y="2960"/>
                  </a:lnTo>
                  <a:lnTo>
                    <a:pt x="1482" y="2958"/>
                  </a:lnTo>
                  <a:lnTo>
                    <a:pt x="1484" y="2954"/>
                  </a:lnTo>
                  <a:lnTo>
                    <a:pt x="1482" y="2952"/>
                  </a:lnTo>
                  <a:lnTo>
                    <a:pt x="1478" y="2950"/>
                  </a:lnTo>
                  <a:lnTo>
                    <a:pt x="1474" y="2950"/>
                  </a:lnTo>
                  <a:lnTo>
                    <a:pt x="1468" y="2954"/>
                  </a:lnTo>
                  <a:close/>
                  <a:moveTo>
                    <a:pt x="1518" y="2942"/>
                  </a:moveTo>
                  <a:lnTo>
                    <a:pt x="1518" y="2942"/>
                  </a:lnTo>
                  <a:lnTo>
                    <a:pt x="1520" y="2940"/>
                  </a:lnTo>
                  <a:lnTo>
                    <a:pt x="1520" y="2938"/>
                  </a:lnTo>
                  <a:lnTo>
                    <a:pt x="1518" y="2926"/>
                  </a:lnTo>
                  <a:lnTo>
                    <a:pt x="1516" y="2924"/>
                  </a:lnTo>
                  <a:lnTo>
                    <a:pt x="1516" y="2926"/>
                  </a:lnTo>
                  <a:lnTo>
                    <a:pt x="1514" y="2932"/>
                  </a:lnTo>
                  <a:lnTo>
                    <a:pt x="1514" y="2938"/>
                  </a:lnTo>
                  <a:lnTo>
                    <a:pt x="1516" y="2940"/>
                  </a:lnTo>
                  <a:lnTo>
                    <a:pt x="1518" y="2942"/>
                  </a:lnTo>
                  <a:close/>
                  <a:moveTo>
                    <a:pt x="1252" y="2768"/>
                  </a:moveTo>
                  <a:lnTo>
                    <a:pt x="1252" y="2768"/>
                  </a:lnTo>
                  <a:lnTo>
                    <a:pt x="1254" y="2768"/>
                  </a:lnTo>
                  <a:lnTo>
                    <a:pt x="1256" y="2766"/>
                  </a:lnTo>
                  <a:lnTo>
                    <a:pt x="1256" y="2764"/>
                  </a:lnTo>
                  <a:lnTo>
                    <a:pt x="1254" y="2760"/>
                  </a:lnTo>
                  <a:lnTo>
                    <a:pt x="1254" y="2758"/>
                  </a:lnTo>
                  <a:lnTo>
                    <a:pt x="1252" y="2758"/>
                  </a:lnTo>
                  <a:lnTo>
                    <a:pt x="1250" y="2762"/>
                  </a:lnTo>
                  <a:lnTo>
                    <a:pt x="1248" y="2766"/>
                  </a:lnTo>
                  <a:lnTo>
                    <a:pt x="1250" y="2768"/>
                  </a:lnTo>
                  <a:lnTo>
                    <a:pt x="1252" y="2768"/>
                  </a:lnTo>
                  <a:close/>
                  <a:moveTo>
                    <a:pt x="1256" y="2790"/>
                  </a:moveTo>
                  <a:lnTo>
                    <a:pt x="1256" y="2790"/>
                  </a:lnTo>
                  <a:lnTo>
                    <a:pt x="1254" y="2786"/>
                  </a:lnTo>
                  <a:lnTo>
                    <a:pt x="1252" y="2782"/>
                  </a:lnTo>
                  <a:lnTo>
                    <a:pt x="1252" y="2780"/>
                  </a:lnTo>
                  <a:lnTo>
                    <a:pt x="1250" y="2780"/>
                  </a:lnTo>
                  <a:lnTo>
                    <a:pt x="1248" y="2782"/>
                  </a:lnTo>
                  <a:lnTo>
                    <a:pt x="1244" y="2782"/>
                  </a:lnTo>
                  <a:lnTo>
                    <a:pt x="1242" y="2784"/>
                  </a:lnTo>
                  <a:lnTo>
                    <a:pt x="1242" y="2790"/>
                  </a:lnTo>
                  <a:lnTo>
                    <a:pt x="1244" y="2794"/>
                  </a:lnTo>
                  <a:lnTo>
                    <a:pt x="1246" y="2794"/>
                  </a:lnTo>
                  <a:lnTo>
                    <a:pt x="1250" y="2794"/>
                  </a:lnTo>
                  <a:lnTo>
                    <a:pt x="1256" y="2796"/>
                  </a:lnTo>
                  <a:lnTo>
                    <a:pt x="1260" y="2798"/>
                  </a:lnTo>
                  <a:lnTo>
                    <a:pt x="1260" y="2794"/>
                  </a:lnTo>
                  <a:lnTo>
                    <a:pt x="1256" y="2790"/>
                  </a:lnTo>
                  <a:close/>
                  <a:moveTo>
                    <a:pt x="1348" y="2902"/>
                  </a:moveTo>
                  <a:lnTo>
                    <a:pt x="1348" y="2902"/>
                  </a:lnTo>
                  <a:lnTo>
                    <a:pt x="1352" y="2904"/>
                  </a:lnTo>
                  <a:lnTo>
                    <a:pt x="1352" y="2902"/>
                  </a:lnTo>
                  <a:lnTo>
                    <a:pt x="1352" y="2898"/>
                  </a:lnTo>
                  <a:lnTo>
                    <a:pt x="1350" y="2892"/>
                  </a:lnTo>
                  <a:lnTo>
                    <a:pt x="1346" y="2890"/>
                  </a:lnTo>
                  <a:lnTo>
                    <a:pt x="1344" y="2892"/>
                  </a:lnTo>
                  <a:lnTo>
                    <a:pt x="1346" y="2896"/>
                  </a:lnTo>
                  <a:lnTo>
                    <a:pt x="1348" y="2902"/>
                  </a:lnTo>
                  <a:close/>
                  <a:moveTo>
                    <a:pt x="1448" y="2860"/>
                  </a:moveTo>
                  <a:lnTo>
                    <a:pt x="1448" y="2860"/>
                  </a:lnTo>
                  <a:lnTo>
                    <a:pt x="1450" y="2860"/>
                  </a:lnTo>
                  <a:lnTo>
                    <a:pt x="1452" y="2860"/>
                  </a:lnTo>
                  <a:lnTo>
                    <a:pt x="1454" y="2854"/>
                  </a:lnTo>
                  <a:lnTo>
                    <a:pt x="1452" y="2848"/>
                  </a:lnTo>
                  <a:lnTo>
                    <a:pt x="1452" y="2846"/>
                  </a:lnTo>
                  <a:lnTo>
                    <a:pt x="1448" y="2846"/>
                  </a:lnTo>
                  <a:lnTo>
                    <a:pt x="1446" y="2850"/>
                  </a:lnTo>
                  <a:lnTo>
                    <a:pt x="1444" y="2852"/>
                  </a:lnTo>
                  <a:lnTo>
                    <a:pt x="1446" y="2856"/>
                  </a:lnTo>
                  <a:lnTo>
                    <a:pt x="1448" y="2860"/>
                  </a:lnTo>
                  <a:close/>
                  <a:moveTo>
                    <a:pt x="1440" y="2848"/>
                  </a:moveTo>
                  <a:lnTo>
                    <a:pt x="1440" y="2848"/>
                  </a:lnTo>
                  <a:lnTo>
                    <a:pt x="1438" y="2848"/>
                  </a:lnTo>
                  <a:lnTo>
                    <a:pt x="1434" y="2850"/>
                  </a:lnTo>
                  <a:lnTo>
                    <a:pt x="1434" y="2854"/>
                  </a:lnTo>
                  <a:lnTo>
                    <a:pt x="1436" y="2856"/>
                  </a:lnTo>
                  <a:lnTo>
                    <a:pt x="1438" y="2856"/>
                  </a:lnTo>
                  <a:lnTo>
                    <a:pt x="1440" y="2854"/>
                  </a:lnTo>
                  <a:lnTo>
                    <a:pt x="1440" y="2850"/>
                  </a:lnTo>
                  <a:lnTo>
                    <a:pt x="1440" y="2848"/>
                  </a:lnTo>
                  <a:close/>
                  <a:moveTo>
                    <a:pt x="2822" y="3608"/>
                  </a:moveTo>
                  <a:lnTo>
                    <a:pt x="2822" y="3608"/>
                  </a:lnTo>
                  <a:lnTo>
                    <a:pt x="2818" y="3606"/>
                  </a:lnTo>
                  <a:lnTo>
                    <a:pt x="2814" y="3598"/>
                  </a:lnTo>
                  <a:lnTo>
                    <a:pt x="2802" y="3578"/>
                  </a:lnTo>
                  <a:lnTo>
                    <a:pt x="2798" y="3570"/>
                  </a:lnTo>
                  <a:lnTo>
                    <a:pt x="2792" y="3562"/>
                  </a:lnTo>
                  <a:lnTo>
                    <a:pt x="2786" y="3558"/>
                  </a:lnTo>
                  <a:lnTo>
                    <a:pt x="2782" y="3556"/>
                  </a:lnTo>
                  <a:lnTo>
                    <a:pt x="2780" y="3558"/>
                  </a:lnTo>
                  <a:lnTo>
                    <a:pt x="2776" y="3558"/>
                  </a:lnTo>
                  <a:lnTo>
                    <a:pt x="2774" y="3558"/>
                  </a:lnTo>
                  <a:lnTo>
                    <a:pt x="2768" y="3554"/>
                  </a:lnTo>
                  <a:lnTo>
                    <a:pt x="2762" y="3550"/>
                  </a:lnTo>
                  <a:lnTo>
                    <a:pt x="2756" y="3548"/>
                  </a:lnTo>
                  <a:lnTo>
                    <a:pt x="2746" y="3546"/>
                  </a:lnTo>
                  <a:lnTo>
                    <a:pt x="2738" y="3544"/>
                  </a:lnTo>
                  <a:lnTo>
                    <a:pt x="2728" y="3540"/>
                  </a:lnTo>
                  <a:lnTo>
                    <a:pt x="2720" y="3532"/>
                  </a:lnTo>
                  <a:lnTo>
                    <a:pt x="2712" y="3524"/>
                  </a:lnTo>
                  <a:lnTo>
                    <a:pt x="2706" y="3516"/>
                  </a:lnTo>
                  <a:lnTo>
                    <a:pt x="2700" y="3506"/>
                  </a:lnTo>
                  <a:lnTo>
                    <a:pt x="2696" y="3496"/>
                  </a:lnTo>
                  <a:lnTo>
                    <a:pt x="2694" y="3488"/>
                  </a:lnTo>
                  <a:lnTo>
                    <a:pt x="2694" y="3464"/>
                  </a:lnTo>
                  <a:lnTo>
                    <a:pt x="2694" y="3458"/>
                  </a:lnTo>
                  <a:lnTo>
                    <a:pt x="2692" y="3454"/>
                  </a:lnTo>
                  <a:lnTo>
                    <a:pt x="2692" y="3448"/>
                  </a:lnTo>
                  <a:lnTo>
                    <a:pt x="2694" y="3442"/>
                  </a:lnTo>
                  <a:lnTo>
                    <a:pt x="2696" y="3438"/>
                  </a:lnTo>
                  <a:lnTo>
                    <a:pt x="2696" y="3434"/>
                  </a:lnTo>
                  <a:lnTo>
                    <a:pt x="2696" y="3430"/>
                  </a:lnTo>
                  <a:lnTo>
                    <a:pt x="2698" y="3422"/>
                  </a:lnTo>
                  <a:lnTo>
                    <a:pt x="2700" y="3418"/>
                  </a:lnTo>
                  <a:lnTo>
                    <a:pt x="2698" y="3416"/>
                  </a:lnTo>
                  <a:lnTo>
                    <a:pt x="2696" y="3414"/>
                  </a:lnTo>
                  <a:lnTo>
                    <a:pt x="2694" y="3416"/>
                  </a:lnTo>
                  <a:lnTo>
                    <a:pt x="2692" y="3416"/>
                  </a:lnTo>
                  <a:lnTo>
                    <a:pt x="2692" y="3420"/>
                  </a:lnTo>
                  <a:lnTo>
                    <a:pt x="2694" y="3424"/>
                  </a:lnTo>
                  <a:lnTo>
                    <a:pt x="2692" y="3424"/>
                  </a:lnTo>
                  <a:lnTo>
                    <a:pt x="2688" y="3422"/>
                  </a:lnTo>
                  <a:lnTo>
                    <a:pt x="2686" y="3422"/>
                  </a:lnTo>
                  <a:lnTo>
                    <a:pt x="2684" y="3432"/>
                  </a:lnTo>
                  <a:lnTo>
                    <a:pt x="2680" y="3444"/>
                  </a:lnTo>
                  <a:lnTo>
                    <a:pt x="2678" y="3444"/>
                  </a:lnTo>
                  <a:lnTo>
                    <a:pt x="2676" y="3444"/>
                  </a:lnTo>
                  <a:lnTo>
                    <a:pt x="2674" y="3444"/>
                  </a:lnTo>
                  <a:lnTo>
                    <a:pt x="2670" y="3452"/>
                  </a:lnTo>
                  <a:lnTo>
                    <a:pt x="2666" y="3458"/>
                  </a:lnTo>
                  <a:lnTo>
                    <a:pt x="2660" y="3462"/>
                  </a:lnTo>
                  <a:lnTo>
                    <a:pt x="2654" y="3468"/>
                  </a:lnTo>
                  <a:lnTo>
                    <a:pt x="2646" y="3476"/>
                  </a:lnTo>
                  <a:lnTo>
                    <a:pt x="2638" y="3488"/>
                  </a:lnTo>
                  <a:lnTo>
                    <a:pt x="2628" y="3496"/>
                  </a:lnTo>
                  <a:lnTo>
                    <a:pt x="2614" y="3508"/>
                  </a:lnTo>
                  <a:lnTo>
                    <a:pt x="2616" y="3510"/>
                  </a:lnTo>
                  <a:lnTo>
                    <a:pt x="2618" y="3512"/>
                  </a:lnTo>
                  <a:lnTo>
                    <a:pt x="2618" y="3516"/>
                  </a:lnTo>
                  <a:lnTo>
                    <a:pt x="2614" y="3524"/>
                  </a:lnTo>
                  <a:lnTo>
                    <a:pt x="2606" y="3530"/>
                  </a:lnTo>
                  <a:lnTo>
                    <a:pt x="2598" y="3532"/>
                  </a:lnTo>
                  <a:lnTo>
                    <a:pt x="2588" y="3534"/>
                  </a:lnTo>
                  <a:lnTo>
                    <a:pt x="2578" y="3532"/>
                  </a:lnTo>
                  <a:lnTo>
                    <a:pt x="2558" y="3528"/>
                  </a:lnTo>
                  <a:lnTo>
                    <a:pt x="2546" y="3528"/>
                  </a:lnTo>
                  <a:lnTo>
                    <a:pt x="2538" y="3532"/>
                  </a:lnTo>
                  <a:lnTo>
                    <a:pt x="2522" y="3538"/>
                  </a:lnTo>
                  <a:lnTo>
                    <a:pt x="2514" y="3538"/>
                  </a:lnTo>
                  <a:lnTo>
                    <a:pt x="2512" y="3538"/>
                  </a:lnTo>
                  <a:lnTo>
                    <a:pt x="2510" y="3536"/>
                  </a:lnTo>
                  <a:lnTo>
                    <a:pt x="2510" y="3528"/>
                  </a:lnTo>
                  <a:lnTo>
                    <a:pt x="2510" y="3522"/>
                  </a:lnTo>
                  <a:lnTo>
                    <a:pt x="2506" y="3522"/>
                  </a:lnTo>
                  <a:lnTo>
                    <a:pt x="2502" y="3522"/>
                  </a:lnTo>
                  <a:lnTo>
                    <a:pt x="2496" y="3522"/>
                  </a:lnTo>
                  <a:lnTo>
                    <a:pt x="2492" y="3520"/>
                  </a:lnTo>
                  <a:lnTo>
                    <a:pt x="2490" y="3518"/>
                  </a:lnTo>
                  <a:lnTo>
                    <a:pt x="2492" y="3514"/>
                  </a:lnTo>
                  <a:lnTo>
                    <a:pt x="2496" y="3510"/>
                  </a:lnTo>
                  <a:lnTo>
                    <a:pt x="2496" y="3506"/>
                  </a:lnTo>
                  <a:lnTo>
                    <a:pt x="2492" y="3508"/>
                  </a:lnTo>
                  <a:lnTo>
                    <a:pt x="2490" y="3508"/>
                  </a:lnTo>
                  <a:lnTo>
                    <a:pt x="2488" y="3508"/>
                  </a:lnTo>
                  <a:lnTo>
                    <a:pt x="2486" y="3506"/>
                  </a:lnTo>
                  <a:lnTo>
                    <a:pt x="2488" y="3504"/>
                  </a:lnTo>
                  <a:lnTo>
                    <a:pt x="2490" y="3504"/>
                  </a:lnTo>
                  <a:lnTo>
                    <a:pt x="2494" y="3504"/>
                  </a:lnTo>
                  <a:lnTo>
                    <a:pt x="2496" y="3502"/>
                  </a:lnTo>
                  <a:lnTo>
                    <a:pt x="2498" y="3496"/>
                  </a:lnTo>
                  <a:lnTo>
                    <a:pt x="2502" y="3480"/>
                  </a:lnTo>
                  <a:lnTo>
                    <a:pt x="2502" y="3474"/>
                  </a:lnTo>
                  <a:lnTo>
                    <a:pt x="2500" y="3468"/>
                  </a:lnTo>
                  <a:lnTo>
                    <a:pt x="2496" y="3462"/>
                  </a:lnTo>
                  <a:lnTo>
                    <a:pt x="2496" y="3458"/>
                  </a:lnTo>
                  <a:lnTo>
                    <a:pt x="2498" y="3454"/>
                  </a:lnTo>
                  <a:lnTo>
                    <a:pt x="2500" y="3448"/>
                  </a:lnTo>
                  <a:lnTo>
                    <a:pt x="2498" y="3440"/>
                  </a:lnTo>
                  <a:lnTo>
                    <a:pt x="2494" y="3434"/>
                  </a:lnTo>
                  <a:lnTo>
                    <a:pt x="2490" y="3428"/>
                  </a:lnTo>
                  <a:lnTo>
                    <a:pt x="2486" y="3426"/>
                  </a:lnTo>
                  <a:lnTo>
                    <a:pt x="2484" y="3426"/>
                  </a:lnTo>
                  <a:lnTo>
                    <a:pt x="2480" y="3430"/>
                  </a:lnTo>
                  <a:lnTo>
                    <a:pt x="2476" y="3444"/>
                  </a:lnTo>
                  <a:lnTo>
                    <a:pt x="2470" y="3456"/>
                  </a:lnTo>
                  <a:lnTo>
                    <a:pt x="2470" y="3466"/>
                  </a:lnTo>
                  <a:lnTo>
                    <a:pt x="2468" y="3498"/>
                  </a:lnTo>
                  <a:lnTo>
                    <a:pt x="2464" y="3486"/>
                  </a:lnTo>
                  <a:lnTo>
                    <a:pt x="2460" y="3478"/>
                  </a:lnTo>
                  <a:lnTo>
                    <a:pt x="2458" y="3468"/>
                  </a:lnTo>
                  <a:lnTo>
                    <a:pt x="2452" y="3462"/>
                  </a:lnTo>
                  <a:lnTo>
                    <a:pt x="2448" y="3456"/>
                  </a:lnTo>
                  <a:lnTo>
                    <a:pt x="2448" y="3454"/>
                  </a:lnTo>
                  <a:lnTo>
                    <a:pt x="2448" y="3450"/>
                  </a:lnTo>
                  <a:lnTo>
                    <a:pt x="2444" y="3444"/>
                  </a:lnTo>
                  <a:lnTo>
                    <a:pt x="2442" y="3438"/>
                  </a:lnTo>
                  <a:lnTo>
                    <a:pt x="2442" y="3434"/>
                  </a:lnTo>
                  <a:lnTo>
                    <a:pt x="2442" y="3428"/>
                  </a:lnTo>
                  <a:lnTo>
                    <a:pt x="2444" y="3420"/>
                  </a:lnTo>
                  <a:lnTo>
                    <a:pt x="2442" y="3414"/>
                  </a:lnTo>
                  <a:lnTo>
                    <a:pt x="2440" y="3408"/>
                  </a:lnTo>
                  <a:lnTo>
                    <a:pt x="2438" y="3402"/>
                  </a:lnTo>
                  <a:lnTo>
                    <a:pt x="2438" y="3400"/>
                  </a:lnTo>
                  <a:lnTo>
                    <a:pt x="2442" y="3400"/>
                  </a:lnTo>
                  <a:lnTo>
                    <a:pt x="2444" y="3404"/>
                  </a:lnTo>
                  <a:lnTo>
                    <a:pt x="2448" y="3404"/>
                  </a:lnTo>
                  <a:lnTo>
                    <a:pt x="2448" y="3406"/>
                  </a:lnTo>
                  <a:lnTo>
                    <a:pt x="2446" y="3408"/>
                  </a:lnTo>
                  <a:lnTo>
                    <a:pt x="2444" y="3410"/>
                  </a:lnTo>
                  <a:lnTo>
                    <a:pt x="2448" y="3410"/>
                  </a:lnTo>
                  <a:lnTo>
                    <a:pt x="2450" y="3412"/>
                  </a:lnTo>
                  <a:lnTo>
                    <a:pt x="2448" y="3414"/>
                  </a:lnTo>
                  <a:lnTo>
                    <a:pt x="2450" y="3416"/>
                  </a:lnTo>
                  <a:lnTo>
                    <a:pt x="2454" y="3420"/>
                  </a:lnTo>
                  <a:lnTo>
                    <a:pt x="2456" y="3422"/>
                  </a:lnTo>
                  <a:lnTo>
                    <a:pt x="2458" y="3422"/>
                  </a:lnTo>
                  <a:lnTo>
                    <a:pt x="2460" y="3422"/>
                  </a:lnTo>
                  <a:lnTo>
                    <a:pt x="2460" y="3420"/>
                  </a:lnTo>
                  <a:lnTo>
                    <a:pt x="2460" y="3418"/>
                  </a:lnTo>
                  <a:lnTo>
                    <a:pt x="2462" y="3416"/>
                  </a:lnTo>
                  <a:lnTo>
                    <a:pt x="2464" y="3412"/>
                  </a:lnTo>
                  <a:lnTo>
                    <a:pt x="2466" y="3406"/>
                  </a:lnTo>
                  <a:lnTo>
                    <a:pt x="2466" y="3402"/>
                  </a:lnTo>
                  <a:lnTo>
                    <a:pt x="2468" y="3400"/>
                  </a:lnTo>
                  <a:lnTo>
                    <a:pt x="2468" y="3402"/>
                  </a:lnTo>
                  <a:lnTo>
                    <a:pt x="2474" y="3404"/>
                  </a:lnTo>
                  <a:lnTo>
                    <a:pt x="2476" y="3404"/>
                  </a:lnTo>
                  <a:lnTo>
                    <a:pt x="2476" y="3402"/>
                  </a:lnTo>
                  <a:lnTo>
                    <a:pt x="2478" y="3402"/>
                  </a:lnTo>
                  <a:lnTo>
                    <a:pt x="2480" y="3400"/>
                  </a:lnTo>
                  <a:lnTo>
                    <a:pt x="2480" y="3398"/>
                  </a:lnTo>
                  <a:lnTo>
                    <a:pt x="2482" y="3396"/>
                  </a:lnTo>
                  <a:lnTo>
                    <a:pt x="2482" y="3394"/>
                  </a:lnTo>
                  <a:lnTo>
                    <a:pt x="2482" y="3392"/>
                  </a:lnTo>
                  <a:lnTo>
                    <a:pt x="2482" y="3388"/>
                  </a:lnTo>
                  <a:lnTo>
                    <a:pt x="2480" y="3386"/>
                  </a:lnTo>
                  <a:lnTo>
                    <a:pt x="2482" y="3384"/>
                  </a:lnTo>
                  <a:lnTo>
                    <a:pt x="2480" y="3384"/>
                  </a:lnTo>
                  <a:lnTo>
                    <a:pt x="2478" y="3384"/>
                  </a:lnTo>
                  <a:lnTo>
                    <a:pt x="2478" y="3386"/>
                  </a:lnTo>
                  <a:lnTo>
                    <a:pt x="2476" y="3388"/>
                  </a:lnTo>
                  <a:lnTo>
                    <a:pt x="2472" y="3388"/>
                  </a:lnTo>
                  <a:lnTo>
                    <a:pt x="2470" y="3388"/>
                  </a:lnTo>
                  <a:lnTo>
                    <a:pt x="2468" y="3382"/>
                  </a:lnTo>
                  <a:lnTo>
                    <a:pt x="2466" y="3378"/>
                  </a:lnTo>
                  <a:lnTo>
                    <a:pt x="2468" y="3374"/>
                  </a:lnTo>
                  <a:lnTo>
                    <a:pt x="2468" y="3372"/>
                  </a:lnTo>
                  <a:lnTo>
                    <a:pt x="2466" y="3370"/>
                  </a:lnTo>
                  <a:lnTo>
                    <a:pt x="2464" y="3370"/>
                  </a:lnTo>
                  <a:lnTo>
                    <a:pt x="2464" y="3374"/>
                  </a:lnTo>
                  <a:lnTo>
                    <a:pt x="2462" y="3378"/>
                  </a:lnTo>
                  <a:lnTo>
                    <a:pt x="2462" y="3380"/>
                  </a:lnTo>
                  <a:lnTo>
                    <a:pt x="2460" y="3380"/>
                  </a:lnTo>
                  <a:lnTo>
                    <a:pt x="2456" y="3380"/>
                  </a:lnTo>
                  <a:lnTo>
                    <a:pt x="2452" y="3382"/>
                  </a:lnTo>
                  <a:lnTo>
                    <a:pt x="2450" y="3384"/>
                  </a:lnTo>
                  <a:lnTo>
                    <a:pt x="2446" y="3384"/>
                  </a:lnTo>
                  <a:lnTo>
                    <a:pt x="2444" y="3384"/>
                  </a:lnTo>
                  <a:lnTo>
                    <a:pt x="2444" y="3388"/>
                  </a:lnTo>
                  <a:lnTo>
                    <a:pt x="2442" y="3394"/>
                  </a:lnTo>
                  <a:lnTo>
                    <a:pt x="2434" y="3388"/>
                  </a:lnTo>
                  <a:lnTo>
                    <a:pt x="2422" y="3378"/>
                  </a:lnTo>
                  <a:lnTo>
                    <a:pt x="2414" y="3368"/>
                  </a:lnTo>
                  <a:lnTo>
                    <a:pt x="2410" y="3364"/>
                  </a:lnTo>
                  <a:lnTo>
                    <a:pt x="2410" y="3358"/>
                  </a:lnTo>
                  <a:lnTo>
                    <a:pt x="2410" y="3354"/>
                  </a:lnTo>
                  <a:lnTo>
                    <a:pt x="2408" y="3352"/>
                  </a:lnTo>
                  <a:lnTo>
                    <a:pt x="2402" y="3350"/>
                  </a:lnTo>
                  <a:lnTo>
                    <a:pt x="2394" y="3350"/>
                  </a:lnTo>
                  <a:lnTo>
                    <a:pt x="2392" y="3348"/>
                  </a:lnTo>
                  <a:lnTo>
                    <a:pt x="2392" y="3344"/>
                  </a:lnTo>
                  <a:lnTo>
                    <a:pt x="2390" y="3338"/>
                  </a:lnTo>
                  <a:lnTo>
                    <a:pt x="2386" y="3330"/>
                  </a:lnTo>
                  <a:lnTo>
                    <a:pt x="2382" y="3320"/>
                  </a:lnTo>
                  <a:lnTo>
                    <a:pt x="2376" y="3302"/>
                  </a:lnTo>
                  <a:lnTo>
                    <a:pt x="2370" y="3290"/>
                  </a:lnTo>
                  <a:lnTo>
                    <a:pt x="2366" y="3284"/>
                  </a:lnTo>
                  <a:lnTo>
                    <a:pt x="2364" y="3280"/>
                  </a:lnTo>
                  <a:lnTo>
                    <a:pt x="2362" y="3270"/>
                  </a:lnTo>
                  <a:lnTo>
                    <a:pt x="2360" y="3266"/>
                  </a:lnTo>
                  <a:lnTo>
                    <a:pt x="2358" y="3264"/>
                  </a:lnTo>
                  <a:lnTo>
                    <a:pt x="2352" y="3262"/>
                  </a:lnTo>
                  <a:lnTo>
                    <a:pt x="2346" y="3260"/>
                  </a:lnTo>
                  <a:lnTo>
                    <a:pt x="2346" y="3258"/>
                  </a:lnTo>
                  <a:lnTo>
                    <a:pt x="2346" y="3254"/>
                  </a:lnTo>
                  <a:lnTo>
                    <a:pt x="2350" y="3250"/>
                  </a:lnTo>
                  <a:lnTo>
                    <a:pt x="2354" y="3248"/>
                  </a:lnTo>
                  <a:lnTo>
                    <a:pt x="2360" y="3250"/>
                  </a:lnTo>
                  <a:lnTo>
                    <a:pt x="2362" y="3248"/>
                  </a:lnTo>
                  <a:lnTo>
                    <a:pt x="2362" y="3246"/>
                  </a:lnTo>
                  <a:lnTo>
                    <a:pt x="2354" y="3228"/>
                  </a:lnTo>
                  <a:lnTo>
                    <a:pt x="2354" y="3224"/>
                  </a:lnTo>
                  <a:lnTo>
                    <a:pt x="2356" y="3224"/>
                  </a:lnTo>
                  <a:lnTo>
                    <a:pt x="2364" y="3226"/>
                  </a:lnTo>
                  <a:lnTo>
                    <a:pt x="2372" y="3230"/>
                  </a:lnTo>
                  <a:lnTo>
                    <a:pt x="2376" y="3232"/>
                  </a:lnTo>
                  <a:lnTo>
                    <a:pt x="2378" y="3230"/>
                  </a:lnTo>
                  <a:lnTo>
                    <a:pt x="2384" y="3226"/>
                  </a:lnTo>
                  <a:lnTo>
                    <a:pt x="2390" y="3226"/>
                  </a:lnTo>
                  <a:lnTo>
                    <a:pt x="2392" y="3224"/>
                  </a:lnTo>
                  <a:lnTo>
                    <a:pt x="2394" y="3216"/>
                  </a:lnTo>
                  <a:lnTo>
                    <a:pt x="2396" y="3212"/>
                  </a:lnTo>
                  <a:lnTo>
                    <a:pt x="2398" y="3212"/>
                  </a:lnTo>
                  <a:lnTo>
                    <a:pt x="2406" y="3218"/>
                  </a:lnTo>
                  <a:lnTo>
                    <a:pt x="2412" y="3222"/>
                  </a:lnTo>
                  <a:lnTo>
                    <a:pt x="2416" y="3224"/>
                  </a:lnTo>
                  <a:lnTo>
                    <a:pt x="2424" y="3224"/>
                  </a:lnTo>
                  <a:lnTo>
                    <a:pt x="2430" y="3222"/>
                  </a:lnTo>
                  <a:lnTo>
                    <a:pt x="2436" y="3218"/>
                  </a:lnTo>
                  <a:lnTo>
                    <a:pt x="2438" y="3218"/>
                  </a:lnTo>
                  <a:lnTo>
                    <a:pt x="2440" y="3220"/>
                  </a:lnTo>
                  <a:lnTo>
                    <a:pt x="2442" y="3222"/>
                  </a:lnTo>
                  <a:lnTo>
                    <a:pt x="2444" y="3232"/>
                  </a:lnTo>
                  <a:lnTo>
                    <a:pt x="2448" y="3238"/>
                  </a:lnTo>
                  <a:lnTo>
                    <a:pt x="2452" y="3244"/>
                  </a:lnTo>
                  <a:lnTo>
                    <a:pt x="2452" y="3220"/>
                  </a:lnTo>
                  <a:lnTo>
                    <a:pt x="2414" y="3146"/>
                  </a:lnTo>
                  <a:lnTo>
                    <a:pt x="2378" y="3050"/>
                  </a:lnTo>
                  <a:lnTo>
                    <a:pt x="2372" y="3006"/>
                  </a:lnTo>
                  <a:lnTo>
                    <a:pt x="2378" y="2910"/>
                  </a:lnTo>
                  <a:lnTo>
                    <a:pt x="2378" y="2868"/>
                  </a:lnTo>
                  <a:lnTo>
                    <a:pt x="2392" y="2778"/>
                  </a:lnTo>
                  <a:lnTo>
                    <a:pt x="2386" y="2780"/>
                  </a:lnTo>
                  <a:lnTo>
                    <a:pt x="2382" y="2780"/>
                  </a:lnTo>
                  <a:lnTo>
                    <a:pt x="2380" y="2778"/>
                  </a:lnTo>
                  <a:lnTo>
                    <a:pt x="2380" y="2776"/>
                  </a:lnTo>
                  <a:lnTo>
                    <a:pt x="2378" y="2770"/>
                  </a:lnTo>
                  <a:lnTo>
                    <a:pt x="2376" y="2768"/>
                  </a:lnTo>
                  <a:lnTo>
                    <a:pt x="2374" y="2768"/>
                  </a:lnTo>
                  <a:lnTo>
                    <a:pt x="2376" y="2768"/>
                  </a:lnTo>
                  <a:lnTo>
                    <a:pt x="2378" y="2770"/>
                  </a:lnTo>
                  <a:lnTo>
                    <a:pt x="2380" y="2776"/>
                  </a:lnTo>
                  <a:lnTo>
                    <a:pt x="2380" y="2778"/>
                  </a:lnTo>
                  <a:lnTo>
                    <a:pt x="2382" y="2780"/>
                  </a:lnTo>
                  <a:lnTo>
                    <a:pt x="2386" y="2780"/>
                  </a:lnTo>
                  <a:lnTo>
                    <a:pt x="2392" y="2778"/>
                  </a:lnTo>
                  <a:lnTo>
                    <a:pt x="2390" y="2764"/>
                  </a:lnTo>
                  <a:lnTo>
                    <a:pt x="2394" y="2746"/>
                  </a:lnTo>
                  <a:lnTo>
                    <a:pt x="2390" y="2726"/>
                  </a:lnTo>
                  <a:lnTo>
                    <a:pt x="2386" y="2674"/>
                  </a:lnTo>
                  <a:lnTo>
                    <a:pt x="2384" y="2658"/>
                  </a:lnTo>
                  <a:lnTo>
                    <a:pt x="2386" y="2626"/>
                  </a:lnTo>
                  <a:lnTo>
                    <a:pt x="2360" y="2586"/>
                  </a:lnTo>
                  <a:lnTo>
                    <a:pt x="2336" y="2534"/>
                  </a:lnTo>
                  <a:lnTo>
                    <a:pt x="2284" y="2470"/>
                  </a:lnTo>
                  <a:lnTo>
                    <a:pt x="2274" y="2434"/>
                  </a:lnTo>
                  <a:lnTo>
                    <a:pt x="2302" y="2390"/>
                  </a:lnTo>
                  <a:lnTo>
                    <a:pt x="2334" y="2368"/>
                  </a:lnTo>
                  <a:lnTo>
                    <a:pt x="2352" y="2336"/>
                  </a:lnTo>
                  <a:lnTo>
                    <a:pt x="2346" y="2304"/>
                  </a:lnTo>
                  <a:lnTo>
                    <a:pt x="2318" y="2270"/>
                  </a:lnTo>
                  <a:lnTo>
                    <a:pt x="2280" y="2246"/>
                  </a:lnTo>
                  <a:lnTo>
                    <a:pt x="2264" y="2186"/>
                  </a:lnTo>
                  <a:lnTo>
                    <a:pt x="2274" y="2140"/>
                  </a:lnTo>
                  <a:lnTo>
                    <a:pt x="2288" y="2090"/>
                  </a:lnTo>
                  <a:lnTo>
                    <a:pt x="2290" y="2086"/>
                  </a:lnTo>
                  <a:lnTo>
                    <a:pt x="2296" y="2086"/>
                  </a:lnTo>
                  <a:lnTo>
                    <a:pt x="2308" y="2088"/>
                  </a:lnTo>
                  <a:lnTo>
                    <a:pt x="2328" y="2096"/>
                  </a:lnTo>
                  <a:lnTo>
                    <a:pt x="2370" y="2082"/>
                  </a:lnTo>
                  <a:lnTo>
                    <a:pt x="2376" y="2058"/>
                  </a:lnTo>
                  <a:lnTo>
                    <a:pt x="2440" y="2024"/>
                  </a:lnTo>
                  <a:lnTo>
                    <a:pt x="2384" y="1780"/>
                  </a:lnTo>
                  <a:lnTo>
                    <a:pt x="2264" y="1588"/>
                  </a:lnTo>
                  <a:lnTo>
                    <a:pt x="2204" y="1444"/>
                  </a:lnTo>
                  <a:lnTo>
                    <a:pt x="2204" y="1264"/>
                  </a:lnTo>
                  <a:lnTo>
                    <a:pt x="2212" y="1228"/>
                  </a:lnTo>
                  <a:lnTo>
                    <a:pt x="2224" y="1194"/>
                  </a:lnTo>
                  <a:lnTo>
                    <a:pt x="2232" y="1174"/>
                  </a:lnTo>
                  <a:lnTo>
                    <a:pt x="2240" y="1156"/>
                  </a:lnTo>
                  <a:lnTo>
                    <a:pt x="2248" y="1138"/>
                  </a:lnTo>
                  <a:lnTo>
                    <a:pt x="2258" y="1112"/>
                  </a:lnTo>
                  <a:lnTo>
                    <a:pt x="2282" y="1046"/>
                  </a:lnTo>
                  <a:lnTo>
                    <a:pt x="2276" y="1048"/>
                  </a:lnTo>
                  <a:lnTo>
                    <a:pt x="2274" y="1046"/>
                  </a:lnTo>
                  <a:lnTo>
                    <a:pt x="2270" y="1038"/>
                  </a:lnTo>
                  <a:lnTo>
                    <a:pt x="2266" y="1032"/>
                  </a:lnTo>
                  <a:lnTo>
                    <a:pt x="2262" y="1026"/>
                  </a:lnTo>
                  <a:lnTo>
                    <a:pt x="2256" y="1018"/>
                  </a:lnTo>
                  <a:lnTo>
                    <a:pt x="2246" y="1014"/>
                  </a:lnTo>
                  <a:lnTo>
                    <a:pt x="2236" y="1006"/>
                  </a:lnTo>
                  <a:lnTo>
                    <a:pt x="2234" y="1004"/>
                  </a:lnTo>
                  <a:lnTo>
                    <a:pt x="2232" y="1000"/>
                  </a:lnTo>
                  <a:lnTo>
                    <a:pt x="2234" y="998"/>
                  </a:lnTo>
                  <a:lnTo>
                    <a:pt x="2234" y="994"/>
                  </a:lnTo>
                  <a:lnTo>
                    <a:pt x="2242" y="988"/>
                  </a:lnTo>
                  <a:lnTo>
                    <a:pt x="2250" y="982"/>
                  </a:lnTo>
                  <a:lnTo>
                    <a:pt x="2262" y="978"/>
                  </a:lnTo>
                  <a:lnTo>
                    <a:pt x="2274" y="974"/>
                  </a:lnTo>
                  <a:lnTo>
                    <a:pt x="2286" y="974"/>
                  </a:lnTo>
                  <a:lnTo>
                    <a:pt x="2292" y="974"/>
                  </a:lnTo>
                  <a:lnTo>
                    <a:pt x="2296" y="972"/>
                  </a:lnTo>
                  <a:lnTo>
                    <a:pt x="2298" y="968"/>
                  </a:lnTo>
                  <a:lnTo>
                    <a:pt x="2300" y="966"/>
                  </a:lnTo>
                  <a:lnTo>
                    <a:pt x="2298" y="956"/>
                  </a:lnTo>
                  <a:lnTo>
                    <a:pt x="2294" y="946"/>
                  </a:lnTo>
                  <a:lnTo>
                    <a:pt x="2284" y="936"/>
                  </a:lnTo>
                  <a:lnTo>
                    <a:pt x="2272" y="928"/>
                  </a:lnTo>
                  <a:lnTo>
                    <a:pt x="2258" y="922"/>
                  </a:lnTo>
                  <a:lnTo>
                    <a:pt x="2250" y="922"/>
                  </a:lnTo>
                  <a:lnTo>
                    <a:pt x="2242" y="920"/>
                  </a:lnTo>
                  <a:lnTo>
                    <a:pt x="2224" y="920"/>
                  </a:lnTo>
                  <a:lnTo>
                    <a:pt x="2208" y="918"/>
                  </a:lnTo>
                  <a:lnTo>
                    <a:pt x="2182" y="912"/>
                  </a:lnTo>
                  <a:lnTo>
                    <a:pt x="2174" y="912"/>
                  </a:lnTo>
                  <a:lnTo>
                    <a:pt x="2172" y="912"/>
                  </a:lnTo>
                  <a:lnTo>
                    <a:pt x="2172" y="914"/>
                  </a:lnTo>
                  <a:lnTo>
                    <a:pt x="2174" y="918"/>
                  </a:lnTo>
                  <a:lnTo>
                    <a:pt x="2186" y="928"/>
                  </a:lnTo>
                  <a:lnTo>
                    <a:pt x="2192" y="934"/>
                  </a:lnTo>
                  <a:lnTo>
                    <a:pt x="2196" y="942"/>
                  </a:lnTo>
                  <a:lnTo>
                    <a:pt x="2198" y="948"/>
                  </a:lnTo>
                  <a:lnTo>
                    <a:pt x="2200" y="954"/>
                  </a:lnTo>
                  <a:lnTo>
                    <a:pt x="2196" y="966"/>
                  </a:lnTo>
                  <a:lnTo>
                    <a:pt x="2192" y="978"/>
                  </a:lnTo>
                  <a:lnTo>
                    <a:pt x="2188" y="990"/>
                  </a:lnTo>
                  <a:lnTo>
                    <a:pt x="2186" y="1000"/>
                  </a:lnTo>
                  <a:lnTo>
                    <a:pt x="2186" y="1006"/>
                  </a:lnTo>
                  <a:lnTo>
                    <a:pt x="2188" y="1012"/>
                  </a:lnTo>
                  <a:lnTo>
                    <a:pt x="2194" y="1016"/>
                  </a:lnTo>
                  <a:lnTo>
                    <a:pt x="2200" y="1022"/>
                  </a:lnTo>
                  <a:lnTo>
                    <a:pt x="2212" y="1032"/>
                  </a:lnTo>
                  <a:lnTo>
                    <a:pt x="2216" y="1036"/>
                  </a:lnTo>
                  <a:lnTo>
                    <a:pt x="2218" y="1040"/>
                  </a:lnTo>
                  <a:lnTo>
                    <a:pt x="2216" y="1046"/>
                  </a:lnTo>
                  <a:lnTo>
                    <a:pt x="2214" y="1054"/>
                  </a:lnTo>
                  <a:lnTo>
                    <a:pt x="2208" y="1062"/>
                  </a:lnTo>
                  <a:lnTo>
                    <a:pt x="2204" y="1072"/>
                  </a:lnTo>
                  <a:lnTo>
                    <a:pt x="2200" y="1084"/>
                  </a:lnTo>
                  <a:lnTo>
                    <a:pt x="2202" y="1098"/>
                  </a:lnTo>
                  <a:lnTo>
                    <a:pt x="2202" y="1106"/>
                  </a:lnTo>
                  <a:lnTo>
                    <a:pt x="2200" y="1104"/>
                  </a:lnTo>
                  <a:lnTo>
                    <a:pt x="2192" y="1096"/>
                  </a:lnTo>
                  <a:lnTo>
                    <a:pt x="2180" y="1084"/>
                  </a:lnTo>
                  <a:lnTo>
                    <a:pt x="2166" y="1072"/>
                  </a:lnTo>
                  <a:lnTo>
                    <a:pt x="2156" y="1068"/>
                  </a:lnTo>
                  <a:lnTo>
                    <a:pt x="2148" y="1066"/>
                  </a:lnTo>
                  <a:lnTo>
                    <a:pt x="2136" y="1064"/>
                  </a:lnTo>
                  <a:lnTo>
                    <a:pt x="2126" y="1066"/>
                  </a:lnTo>
                  <a:lnTo>
                    <a:pt x="2114" y="1070"/>
                  </a:lnTo>
                  <a:lnTo>
                    <a:pt x="2102" y="1076"/>
                  </a:lnTo>
                  <a:lnTo>
                    <a:pt x="2078" y="1092"/>
                  </a:lnTo>
                  <a:lnTo>
                    <a:pt x="2056" y="1104"/>
                  </a:lnTo>
                  <a:lnTo>
                    <a:pt x="2040" y="1114"/>
                  </a:lnTo>
                  <a:lnTo>
                    <a:pt x="2028" y="1122"/>
                  </a:lnTo>
                  <a:lnTo>
                    <a:pt x="2022" y="1130"/>
                  </a:lnTo>
                  <a:lnTo>
                    <a:pt x="2020" y="1134"/>
                  </a:lnTo>
                  <a:lnTo>
                    <a:pt x="2022" y="1140"/>
                  </a:lnTo>
                  <a:lnTo>
                    <a:pt x="2026" y="1150"/>
                  </a:lnTo>
                  <a:lnTo>
                    <a:pt x="2040" y="1166"/>
                  </a:lnTo>
                  <a:lnTo>
                    <a:pt x="2052" y="1180"/>
                  </a:lnTo>
                  <a:lnTo>
                    <a:pt x="2054" y="1186"/>
                  </a:lnTo>
                  <a:lnTo>
                    <a:pt x="2054" y="1192"/>
                  </a:lnTo>
                  <a:lnTo>
                    <a:pt x="2054" y="1196"/>
                  </a:lnTo>
                  <a:lnTo>
                    <a:pt x="2050" y="1198"/>
                  </a:lnTo>
                  <a:lnTo>
                    <a:pt x="2046" y="1200"/>
                  </a:lnTo>
                  <a:lnTo>
                    <a:pt x="2040" y="1202"/>
                  </a:lnTo>
                  <a:lnTo>
                    <a:pt x="2026" y="1202"/>
                  </a:lnTo>
                  <a:lnTo>
                    <a:pt x="2006" y="1198"/>
                  </a:lnTo>
                  <a:lnTo>
                    <a:pt x="1984" y="1190"/>
                  </a:lnTo>
                  <a:lnTo>
                    <a:pt x="1958" y="1180"/>
                  </a:lnTo>
                  <a:lnTo>
                    <a:pt x="1934" y="1170"/>
                  </a:lnTo>
                  <a:lnTo>
                    <a:pt x="1916" y="1164"/>
                  </a:lnTo>
                  <a:lnTo>
                    <a:pt x="1900" y="1162"/>
                  </a:lnTo>
                  <a:lnTo>
                    <a:pt x="1892" y="1164"/>
                  </a:lnTo>
                  <a:lnTo>
                    <a:pt x="1888" y="1166"/>
                  </a:lnTo>
                  <a:lnTo>
                    <a:pt x="1886" y="1170"/>
                  </a:lnTo>
                  <a:lnTo>
                    <a:pt x="1886" y="1176"/>
                  </a:lnTo>
                  <a:lnTo>
                    <a:pt x="1892" y="1186"/>
                  </a:lnTo>
                  <a:lnTo>
                    <a:pt x="1900" y="1196"/>
                  </a:lnTo>
                  <a:lnTo>
                    <a:pt x="1912" y="1206"/>
                  </a:lnTo>
                  <a:lnTo>
                    <a:pt x="1924" y="1214"/>
                  </a:lnTo>
                  <a:lnTo>
                    <a:pt x="1946" y="1222"/>
                  </a:lnTo>
                  <a:lnTo>
                    <a:pt x="1954" y="1226"/>
                  </a:lnTo>
                  <a:lnTo>
                    <a:pt x="1956" y="1228"/>
                  </a:lnTo>
                  <a:lnTo>
                    <a:pt x="1956" y="1232"/>
                  </a:lnTo>
                  <a:lnTo>
                    <a:pt x="1952" y="1238"/>
                  </a:lnTo>
                  <a:lnTo>
                    <a:pt x="1940" y="1246"/>
                  </a:lnTo>
                  <a:lnTo>
                    <a:pt x="1926" y="1252"/>
                  </a:lnTo>
                  <a:lnTo>
                    <a:pt x="1920" y="1252"/>
                  </a:lnTo>
                  <a:lnTo>
                    <a:pt x="1916" y="1252"/>
                  </a:lnTo>
                  <a:lnTo>
                    <a:pt x="1908" y="1248"/>
                  </a:lnTo>
                  <a:lnTo>
                    <a:pt x="1902" y="1240"/>
                  </a:lnTo>
                  <a:lnTo>
                    <a:pt x="1894" y="1232"/>
                  </a:lnTo>
                  <a:lnTo>
                    <a:pt x="1886" y="1224"/>
                  </a:lnTo>
                  <a:lnTo>
                    <a:pt x="1874" y="1216"/>
                  </a:lnTo>
                  <a:lnTo>
                    <a:pt x="1868" y="1212"/>
                  </a:lnTo>
                  <a:lnTo>
                    <a:pt x="1858" y="1210"/>
                  </a:lnTo>
                  <a:lnTo>
                    <a:pt x="1844" y="1206"/>
                  </a:lnTo>
                  <a:lnTo>
                    <a:pt x="1836" y="1202"/>
                  </a:lnTo>
                  <a:lnTo>
                    <a:pt x="1832" y="1196"/>
                  </a:lnTo>
                  <a:lnTo>
                    <a:pt x="1832" y="1188"/>
                  </a:lnTo>
                  <a:lnTo>
                    <a:pt x="1832" y="1182"/>
                  </a:lnTo>
                  <a:lnTo>
                    <a:pt x="1830" y="1174"/>
                  </a:lnTo>
                  <a:lnTo>
                    <a:pt x="1826" y="1164"/>
                  </a:lnTo>
                  <a:lnTo>
                    <a:pt x="1818" y="1156"/>
                  </a:lnTo>
                  <a:lnTo>
                    <a:pt x="1814" y="1152"/>
                  </a:lnTo>
                  <a:lnTo>
                    <a:pt x="1812" y="1148"/>
                  </a:lnTo>
                  <a:lnTo>
                    <a:pt x="1812" y="1144"/>
                  </a:lnTo>
                  <a:lnTo>
                    <a:pt x="1812" y="1140"/>
                  </a:lnTo>
                  <a:lnTo>
                    <a:pt x="1816" y="1134"/>
                  </a:lnTo>
                  <a:lnTo>
                    <a:pt x="1822" y="1128"/>
                  </a:lnTo>
                  <a:lnTo>
                    <a:pt x="1826" y="1122"/>
                  </a:lnTo>
                  <a:lnTo>
                    <a:pt x="1830" y="1114"/>
                  </a:lnTo>
                  <a:lnTo>
                    <a:pt x="1828" y="1110"/>
                  </a:lnTo>
                  <a:lnTo>
                    <a:pt x="1826" y="1106"/>
                  </a:lnTo>
                  <a:lnTo>
                    <a:pt x="1822" y="1100"/>
                  </a:lnTo>
                  <a:lnTo>
                    <a:pt x="1816" y="1096"/>
                  </a:lnTo>
                  <a:lnTo>
                    <a:pt x="1800" y="1084"/>
                  </a:lnTo>
                  <a:lnTo>
                    <a:pt x="1784" y="1076"/>
                  </a:lnTo>
                  <a:lnTo>
                    <a:pt x="1758" y="1060"/>
                  </a:lnTo>
                  <a:lnTo>
                    <a:pt x="1746" y="1054"/>
                  </a:lnTo>
                  <a:lnTo>
                    <a:pt x="1738" y="1046"/>
                  </a:lnTo>
                  <a:lnTo>
                    <a:pt x="1730" y="1036"/>
                  </a:lnTo>
                  <a:lnTo>
                    <a:pt x="1726" y="1026"/>
                  </a:lnTo>
                  <a:lnTo>
                    <a:pt x="1724" y="1018"/>
                  </a:lnTo>
                  <a:lnTo>
                    <a:pt x="1726" y="1016"/>
                  </a:lnTo>
                  <a:lnTo>
                    <a:pt x="1736" y="1026"/>
                  </a:lnTo>
                  <a:lnTo>
                    <a:pt x="1746" y="1036"/>
                  </a:lnTo>
                  <a:lnTo>
                    <a:pt x="1762" y="1044"/>
                  </a:lnTo>
                  <a:lnTo>
                    <a:pt x="1782" y="1054"/>
                  </a:lnTo>
                  <a:lnTo>
                    <a:pt x="1808" y="1060"/>
                  </a:lnTo>
                  <a:lnTo>
                    <a:pt x="1836" y="1066"/>
                  </a:lnTo>
                  <a:lnTo>
                    <a:pt x="1864" y="1074"/>
                  </a:lnTo>
                  <a:lnTo>
                    <a:pt x="1920" y="1092"/>
                  </a:lnTo>
                  <a:lnTo>
                    <a:pt x="1948" y="1098"/>
                  </a:lnTo>
                  <a:lnTo>
                    <a:pt x="1962" y="1100"/>
                  </a:lnTo>
                  <a:lnTo>
                    <a:pt x="1976" y="1100"/>
                  </a:lnTo>
                  <a:lnTo>
                    <a:pt x="1990" y="1098"/>
                  </a:lnTo>
                  <a:lnTo>
                    <a:pt x="2002" y="1096"/>
                  </a:lnTo>
                  <a:lnTo>
                    <a:pt x="2016" y="1092"/>
                  </a:lnTo>
                  <a:lnTo>
                    <a:pt x="2030" y="1084"/>
                  </a:lnTo>
                  <a:lnTo>
                    <a:pt x="2052" y="1070"/>
                  </a:lnTo>
                  <a:lnTo>
                    <a:pt x="2072" y="1056"/>
                  </a:lnTo>
                  <a:lnTo>
                    <a:pt x="2084" y="1042"/>
                  </a:lnTo>
                  <a:lnTo>
                    <a:pt x="2090" y="1036"/>
                  </a:lnTo>
                  <a:lnTo>
                    <a:pt x="2092" y="1030"/>
                  </a:lnTo>
                  <a:lnTo>
                    <a:pt x="2094" y="1022"/>
                  </a:lnTo>
                  <a:lnTo>
                    <a:pt x="2092" y="1016"/>
                  </a:lnTo>
                  <a:lnTo>
                    <a:pt x="2090" y="1010"/>
                  </a:lnTo>
                  <a:lnTo>
                    <a:pt x="2086" y="1002"/>
                  </a:lnTo>
                  <a:lnTo>
                    <a:pt x="2080" y="994"/>
                  </a:lnTo>
                  <a:lnTo>
                    <a:pt x="2072" y="988"/>
                  </a:lnTo>
                  <a:lnTo>
                    <a:pt x="2050" y="970"/>
                  </a:lnTo>
                  <a:lnTo>
                    <a:pt x="2010" y="946"/>
                  </a:lnTo>
                  <a:lnTo>
                    <a:pt x="1982" y="934"/>
                  </a:lnTo>
                  <a:lnTo>
                    <a:pt x="1954" y="920"/>
                  </a:lnTo>
                  <a:lnTo>
                    <a:pt x="1910" y="896"/>
                  </a:lnTo>
                  <a:lnTo>
                    <a:pt x="1884" y="882"/>
                  </a:lnTo>
                  <a:lnTo>
                    <a:pt x="1868" y="874"/>
                  </a:lnTo>
                  <a:lnTo>
                    <a:pt x="1854" y="870"/>
                  </a:lnTo>
                  <a:lnTo>
                    <a:pt x="1844" y="870"/>
                  </a:lnTo>
                  <a:lnTo>
                    <a:pt x="1834" y="872"/>
                  </a:lnTo>
                  <a:lnTo>
                    <a:pt x="1822" y="872"/>
                  </a:lnTo>
                  <a:lnTo>
                    <a:pt x="1808" y="870"/>
                  </a:lnTo>
                  <a:lnTo>
                    <a:pt x="1786" y="866"/>
                  </a:lnTo>
                  <a:lnTo>
                    <a:pt x="1768" y="858"/>
                  </a:lnTo>
                  <a:lnTo>
                    <a:pt x="1758" y="852"/>
                  </a:lnTo>
                  <a:lnTo>
                    <a:pt x="1756" y="850"/>
                  </a:lnTo>
                  <a:lnTo>
                    <a:pt x="1756" y="846"/>
                  </a:lnTo>
                  <a:lnTo>
                    <a:pt x="1758" y="844"/>
                  </a:lnTo>
                  <a:lnTo>
                    <a:pt x="1758" y="840"/>
                  </a:lnTo>
                  <a:lnTo>
                    <a:pt x="1752" y="834"/>
                  </a:lnTo>
                  <a:lnTo>
                    <a:pt x="1740" y="828"/>
                  </a:lnTo>
                  <a:lnTo>
                    <a:pt x="1726" y="824"/>
                  </a:lnTo>
                  <a:lnTo>
                    <a:pt x="1718" y="824"/>
                  </a:lnTo>
                  <a:lnTo>
                    <a:pt x="1712" y="826"/>
                  </a:lnTo>
                  <a:lnTo>
                    <a:pt x="1710" y="830"/>
                  </a:lnTo>
                  <a:lnTo>
                    <a:pt x="1706" y="834"/>
                  </a:lnTo>
                  <a:lnTo>
                    <a:pt x="1698" y="838"/>
                  </a:lnTo>
                  <a:lnTo>
                    <a:pt x="1686" y="838"/>
                  </a:lnTo>
                  <a:lnTo>
                    <a:pt x="1666" y="834"/>
                  </a:lnTo>
                  <a:lnTo>
                    <a:pt x="1658" y="832"/>
                  </a:lnTo>
                  <a:lnTo>
                    <a:pt x="1652" y="832"/>
                  </a:lnTo>
                  <a:lnTo>
                    <a:pt x="1648" y="832"/>
                  </a:lnTo>
                  <a:lnTo>
                    <a:pt x="1644" y="828"/>
                  </a:lnTo>
                  <a:lnTo>
                    <a:pt x="1640" y="828"/>
                  </a:lnTo>
                  <a:lnTo>
                    <a:pt x="1638" y="830"/>
                  </a:lnTo>
                  <a:lnTo>
                    <a:pt x="1636" y="834"/>
                  </a:lnTo>
                  <a:lnTo>
                    <a:pt x="1630" y="836"/>
                  </a:lnTo>
                  <a:lnTo>
                    <a:pt x="1620" y="838"/>
                  </a:lnTo>
                  <a:lnTo>
                    <a:pt x="1618" y="838"/>
                  </a:lnTo>
                  <a:lnTo>
                    <a:pt x="1618" y="834"/>
                  </a:lnTo>
                  <a:lnTo>
                    <a:pt x="1622" y="830"/>
                  </a:lnTo>
                  <a:lnTo>
                    <a:pt x="1622" y="826"/>
                  </a:lnTo>
                  <a:lnTo>
                    <a:pt x="1620" y="822"/>
                  </a:lnTo>
                  <a:lnTo>
                    <a:pt x="1618" y="820"/>
                  </a:lnTo>
                  <a:lnTo>
                    <a:pt x="1614" y="818"/>
                  </a:lnTo>
                  <a:lnTo>
                    <a:pt x="1608" y="818"/>
                  </a:lnTo>
                  <a:lnTo>
                    <a:pt x="1598" y="816"/>
                  </a:lnTo>
                  <a:lnTo>
                    <a:pt x="1590" y="814"/>
                  </a:lnTo>
                  <a:lnTo>
                    <a:pt x="1586" y="812"/>
                  </a:lnTo>
                  <a:lnTo>
                    <a:pt x="1580" y="810"/>
                  </a:lnTo>
                  <a:lnTo>
                    <a:pt x="1576" y="810"/>
                  </a:lnTo>
                  <a:lnTo>
                    <a:pt x="1580" y="808"/>
                  </a:lnTo>
                  <a:lnTo>
                    <a:pt x="1592" y="808"/>
                  </a:lnTo>
                  <a:lnTo>
                    <a:pt x="1612" y="812"/>
                  </a:lnTo>
                  <a:lnTo>
                    <a:pt x="1624" y="812"/>
                  </a:lnTo>
                  <a:lnTo>
                    <a:pt x="1634" y="812"/>
                  </a:lnTo>
                  <a:lnTo>
                    <a:pt x="1640" y="810"/>
                  </a:lnTo>
                  <a:lnTo>
                    <a:pt x="1646" y="808"/>
                  </a:lnTo>
                  <a:lnTo>
                    <a:pt x="1654" y="800"/>
                  </a:lnTo>
                  <a:lnTo>
                    <a:pt x="1658" y="800"/>
                  </a:lnTo>
                  <a:lnTo>
                    <a:pt x="1662" y="800"/>
                  </a:lnTo>
                  <a:lnTo>
                    <a:pt x="1668" y="800"/>
                  </a:lnTo>
                  <a:lnTo>
                    <a:pt x="1672" y="798"/>
                  </a:lnTo>
                  <a:lnTo>
                    <a:pt x="1674" y="796"/>
                  </a:lnTo>
                  <a:lnTo>
                    <a:pt x="1676" y="794"/>
                  </a:lnTo>
                  <a:lnTo>
                    <a:pt x="1676" y="790"/>
                  </a:lnTo>
                  <a:lnTo>
                    <a:pt x="1674" y="788"/>
                  </a:lnTo>
                  <a:lnTo>
                    <a:pt x="1672" y="786"/>
                  </a:lnTo>
                  <a:lnTo>
                    <a:pt x="1668" y="786"/>
                  </a:lnTo>
                  <a:lnTo>
                    <a:pt x="1660" y="786"/>
                  </a:lnTo>
                  <a:lnTo>
                    <a:pt x="1658" y="782"/>
                  </a:lnTo>
                  <a:lnTo>
                    <a:pt x="1656" y="780"/>
                  </a:lnTo>
                  <a:lnTo>
                    <a:pt x="1650" y="778"/>
                  </a:lnTo>
                  <a:lnTo>
                    <a:pt x="1648" y="776"/>
                  </a:lnTo>
                  <a:lnTo>
                    <a:pt x="1644" y="774"/>
                  </a:lnTo>
                  <a:lnTo>
                    <a:pt x="1640" y="770"/>
                  </a:lnTo>
                  <a:lnTo>
                    <a:pt x="1636" y="766"/>
                  </a:lnTo>
                  <a:lnTo>
                    <a:pt x="1634" y="766"/>
                  </a:lnTo>
                  <a:lnTo>
                    <a:pt x="1630" y="768"/>
                  </a:lnTo>
                  <a:lnTo>
                    <a:pt x="1624" y="768"/>
                  </a:lnTo>
                  <a:lnTo>
                    <a:pt x="1624" y="766"/>
                  </a:lnTo>
                  <a:lnTo>
                    <a:pt x="1620" y="764"/>
                  </a:lnTo>
                  <a:lnTo>
                    <a:pt x="1614" y="766"/>
                  </a:lnTo>
                  <a:lnTo>
                    <a:pt x="1606" y="768"/>
                  </a:lnTo>
                  <a:lnTo>
                    <a:pt x="1606" y="764"/>
                  </a:lnTo>
                  <a:lnTo>
                    <a:pt x="1606" y="762"/>
                  </a:lnTo>
                  <a:lnTo>
                    <a:pt x="1606" y="760"/>
                  </a:lnTo>
                  <a:lnTo>
                    <a:pt x="1602" y="758"/>
                  </a:lnTo>
                  <a:lnTo>
                    <a:pt x="1596" y="756"/>
                  </a:lnTo>
                  <a:lnTo>
                    <a:pt x="1588" y="754"/>
                  </a:lnTo>
                  <a:lnTo>
                    <a:pt x="1582" y="754"/>
                  </a:lnTo>
                  <a:lnTo>
                    <a:pt x="1578" y="758"/>
                  </a:lnTo>
                  <a:lnTo>
                    <a:pt x="1574" y="760"/>
                  </a:lnTo>
                  <a:lnTo>
                    <a:pt x="1572" y="766"/>
                  </a:lnTo>
                  <a:lnTo>
                    <a:pt x="1570" y="770"/>
                  </a:lnTo>
                  <a:lnTo>
                    <a:pt x="1570" y="780"/>
                  </a:lnTo>
                  <a:lnTo>
                    <a:pt x="1572" y="786"/>
                  </a:lnTo>
                  <a:lnTo>
                    <a:pt x="1568" y="786"/>
                  </a:lnTo>
                  <a:lnTo>
                    <a:pt x="1564" y="782"/>
                  </a:lnTo>
                  <a:lnTo>
                    <a:pt x="1560" y="782"/>
                  </a:lnTo>
                  <a:lnTo>
                    <a:pt x="1558" y="782"/>
                  </a:lnTo>
                  <a:lnTo>
                    <a:pt x="1550" y="784"/>
                  </a:lnTo>
                  <a:lnTo>
                    <a:pt x="1548" y="784"/>
                  </a:lnTo>
                  <a:lnTo>
                    <a:pt x="1548" y="782"/>
                  </a:lnTo>
                  <a:lnTo>
                    <a:pt x="1554" y="778"/>
                  </a:lnTo>
                  <a:lnTo>
                    <a:pt x="1560" y="772"/>
                  </a:lnTo>
                  <a:lnTo>
                    <a:pt x="1564" y="768"/>
                  </a:lnTo>
                  <a:lnTo>
                    <a:pt x="1564" y="766"/>
                  </a:lnTo>
                  <a:lnTo>
                    <a:pt x="1562" y="766"/>
                  </a:lnTo>
                  <a:lnTo>
                    <a:pt x="1556" y="766"/>
                  </a:lnTo>
                  <a:lnTo>
                    <a:pt x="1554" y="766"/>
                  </a:lnTo>
                  <a:lnTo>
                    <a:pt x="1554" y="762"/>
                  </a:lnTo>
                  <a:lnTo>
                    <a:pt x="1558" y="758"/>
                  </a:lnTo>
                  <a:lnTo>
                    <a:pt x="1564" y="756"/>
                  </a:lnTo>
                  <a:lnTo>
                    <a:pt x="1572" y="752"/>
                  </a:lnTo>
                  <a:lnTo>
                    <a:pt x="1574" y="750"/>
                  </a:lnTo>
                  <a:lnTo>
                    <a:pt x="1574" y="748"/>
                  </a:lnTo>
                  <a:lnTo>
                    <a:pt x="1572" y="746"/>
                  </a:lnTo>
                  <a:lnTo>
                    <a:pt x="1570" y="746"/>
                  </a:lnTo>
                  <a:lnTo>
                    <a:pt x="1566" y="746"/>
                  </a:lnTo>
                  <a:lnTo>
                    <a:pt x="1562" y="746"/>
                  </a:lnTo>
                  <a:lnTo>
                    <a:pt x="1560" y="746"/>
                  </a:lnTo>
                  <a:lnTo>
                    <a:pt x="1560" y="742"/>
                  </a:lnTo>
                  <a:lnTo>
                    <a:pt x="1560" y="740"/>
                  </a:lnTo>
                  <a:lnTo>
                    <a:pt x="1558" y="740"/>
                  </a:lnTo>
                  <a:lnTo>
                    <a:pt x="1554" y="740"/>
                  </a:lnTo>
                  <a:lnTo>
                    <a:pt x="1548" y="742"/>
                  </a:lnTo>
                  <a:lnTo>
                    <a:pt x="1544" y="742"/>
                  </a:lnTo>
                  <a:lnTo>
                    <a:pt x="1540" y="740"/>
                  </a:lnTo>
                  <a:lnTo>
                    <a:pt x="1538" y="738"/>
                  </a:lnTo>
                  <a:lnTo>
                    <a:pt x="1536" y="738"/>
                  </a:lnTo>
                  <a:lnTo>
                    <a:pt x="1534" y="740"/>
                  </a:lnTo>
                  <a:lnTo>
                    <a:pt x="1532" y="744"/>
                  </a:lnTo>
                  <a:lnTo>
                    <a:pt x="1530" y="744"/>
                  </a:lnTo>
                  <a:lnTo>
                    <a:pt x="1528" y="744"/>
                  </a:lnTo>
                  <a:lnTo>
                    <a:pt x="1524" y="742"/>
                  </a:lnTo>
                  <a:lnTo>
                    <a:pt x="1522" y="744"/>
                  </a:lnTo>
                  <a:lnTo>
                    <a:pt x="1518" y="746"/>
                  </a:lnTo>
                  <a:lnTo>
                    <a:pt x="1518" y="750"/>
                  </a:lnTo>
                  <a:lnTo>
                    <a:pt x="1518" y="752"/>
                  </a:lnTo>
                  <a:lnTo>
                    <a:pt x="1520" y="752"/>
                  </a:lnTo>
                  <a:lnTo>
                    <a:pt x="1524" y="754"/>
                  </a:lnTo>
                  <a:lnTo>
                    <a:pt x="1530" y="754"/>
                  </a:lnTo>
                  <a:lnTo>
                    <a:pt x="1528" y="756"/>
                  </a:lnTo>
                  <a:lnTo>
                    <a:pt x="1522" y="760"/>
                  </a:lnTo>
                  <a:lnTo>
                    <a:pt x="1522" y="762"/>
                  </a:lnTo>
                  <a:lnTo>
                    <a:pt x="1520" y="764"/>
                  </a:lnTo>
                  <a:lnTo>
                    <a:pt x="1516" y="766"/>
                  </a:lnTo>
                  <a:lnTo>
                    <a:pt x="1516" y="768"/>
                  </a:lnTo>
                  <a:lnTo>
                    <a:pt x="1514" y="772"/>
                  </a:lnTo>
                  <a:lnTo>
                    <a:pt x="1512" y="772"/>
                  </a:lnTo>
                  <a:lnTo>
                    <a:pt x="1510" y="774"/>
                  </a:lnTo>
                  <a:lnTo>
                    <a:pt x="1510" y="780"/>
                  </a:lnTo>
                  <a:lnTo>
                    <a:pt x="1510" y="782"/>
                  </a:lnTo>
                  <a:lnTo>
                    <a:pt x="1510" y="784"/>
                  </a:lnTo>
                  <a:lnTo>
                    <a:pt x="1504" y="786"/>
                  </a:lnTo>
                  <a:lnTo>
                    <a:pt x="1496" y="790"/>
                  </a:lnTo>
                  <a:lnTo>
                    <a:pt x="1492" y="792"/>
                  </a:lnTo>
                  <a:lnTo>
                    <a:pt x="1490" y="790"/>
                  </a:lnTo>
                  <a:lnTo>
                    <a:pt x="1492" y="784"/>
                  </a:lnTo>
                  <a:lnTo>
                    <a:pt x="1494" y="776"/>
                  </a:lnTo>
                  <a:lnTo>
                    <a:pt x="1496" y="770"/>
                  </a:lnTo>
                  <a:lnTo>
                    <a:pt x="1496" y="766"/>
                  </a:lnTo>
                  <a:lnTo>
                    <a:pt x="1498" y="760"/>
                  </a:lnTo>
                  <a:lnTo>
                    <a:pt x="1500" y="754"/>
                  </a:lnTo>
                  <a:lnTo>
                    <a:pt x="1498" y="750"/>
                  </a:lnTo>
                  <a:lnTo>
                    <a:pt x="1494" y="750"/>
                  </a:lnTo>
                  <a:lnTo>
                    <a:pt x="1490" y="752"/>
                  </a:lnTo>
                  <a:lnTo>
                    <a:pt x="1480" y="762"/>
                  </a:lnTo>
                  <a:lnTo>
                    <a:pt x="1456" y="784"/>
                  </a:lnTo>
                  <a:lnTo>
                    <a:pt x="1450" y="790"/>
                  </a:lnTo>
                  <a:lnTo>
                    <a:pt x="1450" y="794"/>
                  </a:lnTo>
                  <a:lnTo>
                    <a:pt x="1450" y="798"/>
                  </a:lnTo>
                  <a:lnTo>
                    <a:pt x="1446" y="804"/>
                  </a:lnTo>
                  <a:lnTo>
                    <a:pt x="1440" y="810"/>
                  </a:lnTo>
                  <a:lnTo>
                    <a:pt x="1436" y="810"/>
                  </a:lnTo>
                  <a:lnTo>
                    <a:pt x="1434" y="810"/>
                  </a:lnTo>
                  <a:lnTo>
                    <a:pt x="1432" y="810"/>
                  </a:lnTo>
                  <a:lnTo>
                    <a:pt x="1428" y="812"/>
                  </a:lnTo>
                  <a:lnTo>
                    <a:pt x="1426" y="812"/>
                  </a:lnTo>
                  <a:lnTo>
                    <a:pt x="1428" y="808"/>
                  </a:lnTo>
                  <a:lnTo>
                    <a:pt x="1432" y="802"/>
                  </a:lnTo>
                  <a:lnTo>
                    <a:pt x="1436" y="798"/>
                  </a:lnTo>
                  <a:lnTo>
                    <a:pt x="1436" y="794"/>
                  </a:lnTo>
                  <a:lnTo>
                    <a:pt x="1436" y="792"/>
                  </a:lnTo>
                  <a:lnTo>
                    <a:pt x="1438" y="790"/>
                  </a:lnTo>
                  <a:lnTo>
                    <a:pt x="1442" y="784"/>
                  </a:lnTo>
                  <a:lnTo>
                    <a:pt x="1440" y="782"/>
                  </a:lnTo>
                  <a:lnTo>
                    <a:pt x="1440" y="778"/>
                  </a:lnTo>
                  <a:lnTo>
                    <a:pt x="1448" y="770"/>
                  </a:lnTo>
                  <a:lnTo>
                    <a:pt x="1466" y="756"/>
                  </a:lnTo>
                  <a:lnTo>
                    <a:pt x="1466" y="754"/>
                  </a:lnTo>
                  <a:lnTo>
                    <a:pt x="1458" y="754"/>
                  </a:lnTo>
                  <a:lnTo>
                    <a:pt x="1454" y="752"/>
                  </a:lnTo>
                  <a:lnTo>
                    <a:pt x="1450" y="752"/>
                  </a:lnTo>
                  <a:lnTo>
                    <a:pt x="1446" y="748"/>
                  </a:lnTo>
                  <a:lnTo>
                    <a:pt x="1446" y="746"/>
                  </a:lnTo>
                  <a:lnTo>
                    <a:pt x="1444" y="752"/>
                  </a:lnTo>
                  <a:lnTo>
                    <a:pt x="1442" y="758"/>
                  </a:lnTo>
                  <a:lnTo>
                    <a:pt x="1442" y="760"/>
                  </a:lnTo>
                  <a:lnTo>
                    <a:pt x="1440" y="758"/>
                  </a:lnTo>
                  <a:lnTo>
                    <a:pt x="1438" y="754"/>
                  </a:lnTo>
                  <a:lnTo>
                    <a:pt x="1434" y="750"/>
                  </a:lnTo>
                  <a:lnTo>
                    <a:pt x="1430" y="748"/>
                  </a:lnTo>
                  <a:lnTo>
                    <a:pt x="1426" y="750"/>
                  </a:lnTo>
                  <a:lnTo>
                    <a:pt x="1424" y="750"/>
                  </a:lnTo>
                  <a:lnTo>
                    <a:pt x="1420" y="748"/>
                  </a:lnTo>
                  <a:lnTo>
                    <a:pt x="1418" y="746"/>
                  </a:lnTo>
                  <a:lnTo>
                    <a:pt x="1414" y="746"/>
                  </a:lnTo>
                  <a:lnTo>
                    <a:pt x="1412" y="748"/>
                  </a:lnTo>
                  <a:lnTo>
                    <a:pt x="1414" y="752"/>
                  </a:lnTo>
                  <a:lnTo>
                    <a:pt x="1416" y="754"/>
                  </a:lnTo>
                  <a:lnTo>
                    <a:pt x="1416" y="758"/>
                  </a:lnTo>
                  <a:lnTo>
                    <a:pt x="1414" y="760"/>
                  </a:lnTo>
                  <a:lnTo>
                    <a:pt x="1408" y="758"/>
                  </a:lnTo>
                  <a:lnTo>
                    <a:pt x="1402" y="754"/>
                  </a:lnTo>
                  <a:lnTo>
                    <a:pt x="1400" y="756"/>
                  </a:lnTo>
                  <a:lnTo>
                    <a:pt x="1402" y="760"/>
                  </a:lnTo>
                  <a:lnTo>
                    <a:pt x="1410" y="764"/>
                  </a:lnTo>
                  <a:lnTo>
                    <a:pt x="1418" y="768"/>
                  </a:lnTo>
                  <a:lnTo>
                    <a:pt x="1422" y="770"/>
                  </a:lnTo>
                  <a:lnTo>
                    <a:pt x="1418" y="772"/>
                  </a:lnTo>
                  <a:lnTo>
                    <a:pt x="1410" y="770"/>
                  </a:lnTo>
                  <a:lnTo>
                    <a:pt x="1404" y="768"/>
                  </a:lnTo>
                  <a:lnTo>
                    <a:pt x="1402" y="768"/>
                  </a:lnTo>
                  <a:lnTo>
                    <a:pt x="1402" y="770"/>
                  </a:lnTo>
                  <a:lnTo>
                    <a:pt x="1400" y="774"/>
                  </a:lnTo>
                  <a:lnTo>
                    <a:pt x="1396" y="778"/>
                  </a:lnTo>
                  <a:lnTo>
                    <a:pt x="1388" y="782"/>
                  </a:lnTo>
                  <a:lnTo>
                    <a:pt x="1376" y="790"/>
                  </a:lnTo>
                  <a:lnTo>
                    <a:pt x="1372" y="792"/>
                  </a:lnTo>
                  <a:lnTo>
                    <a:pt x="1372" y="794"/>
                  </a:lnTo>
                  <a:lnTo>
                    <a:pt x="1366" y="798"/>
                  </a:lnTo>
                  <a:lnTo>
                    <a:pt x="1362" y="800"/>
                  </a:lnTo>
                  <a:lnTo>
                    <a:pt x="1360" y="802"/>
                  </a:lnTo>
                  <a:lnTo>
                    <a:pt x="1360" y="804"/>
                  </a:lnTo>
                  <a:lnTo>
                    <a:pt x="1362" y="808"/>
                  </a:lnTo>
                  <a:lnTo>
                    <a:pt x="1360" y="810"/>
                  </a:lnTo>
                  <a:lnTo>
                    <a:pt x="1358" y="810"/>
                  </a:lnTo>
                  <a:lnTo>
                    <a:pt x="1358" y="812"/>
                  </a:lnTo>
                  <a:lnTo>
                    <a:pt x="1362" y="816"/>
                  </a:lnTo>
                  <a:lnTo>
                    <a:pt x="1368" y="818"/>
                  </a:lnTo>
                  <a:lnTo>
                    <a:pt x="1370" y="818"/>
                  </a:lnTo>
                  <a:lnTo>
                    <a:pt x="1368" y="818"/>
                  </a:lnTo>
                  <a:lnTo>
                    <a:pt x="1362" y="818"/>
                  </a:lnTo>
                  <a:lnTo>
                    <a:pt x="1356" y="818"/>
                  </a:lnTo>
                  <a:lnTo>
                    <a:pt x="1350" y="816"/>
                  </a:lnTo>
                  <a:lnTo>
                    <a:pt x="1350" y="814"/>
                  </a:lnTo>
                  <a:lnTo>
                    <a:pt x="1350" y="810"/>
                  </a:lnTo>
                  <a:lnTo>
                    <a:pt x="1350" y="806"/>
                  </a:lnTo>
                  <a:lnTo>
                    <a:pt x="1350" y="804"/>
                  </a:lnTo>
                  <a:lnTo>
                    <a:pt x="1342" y="802"/>
                  </a:lnTo>
                  <a:lnTo>
                    <a:pt x="1334" y="800"/>
                  </a:lnTo>
                  <a:lnTo>
                    <a:pt x="1326" y="800"/>
                  </a:lnTo>
                  <a:lnTo>
                    <a:pt x="1324" y="798"/>
                  </a:lnTo>
                  <a:lnTo>
                    <a:pt x="1322" y="798"/>
                  </a:lnTo>
                  <a:lnTo>
                    <a:pt x="1320" y="796"/>
                  </a:lnTo>
                  <a:lnTo>
                    <a:pt x="1318" y="798"/>
                  </a:lnTo>
                  <a:lnTo>
                    <a:pt x="1312" y="796"/>
                  </a:lnTo>
                  <a:lnTo>
                    <a:pt x="1308" y="794"/>
                  </a:lnTo>
                  <a:lnTo>
                    <a:pt x="1306" y="794"/>
                  </a:lnTo>
                  <a:lnTo>
                    <a:pt x="1306" y="796"/>
                  </a:lnTo>
                  <a:lnTo>
                    <a:pt x="1304" y="802"/>
                  </a:lnTo>
                  <a:lnTo>
                    <a:pt x="1302" y="808"/>
                  </a:lnTo>
                  <a:lnTo>
                    <a:pt x="1300" y="802"/>
                  </a:lnTo>
                  <a:lnTo>
                    <a:pt x="1298" y="800"/>
                  </a:lnTo>
                  <a:lnTo>
                    <a:pt x="1294" y="796"/>
                  </a:lnTo>
                  <a:lnTo>
                    <a:pt x="1290" y="796"/>
                  </a:lnTo>
                  <a:lnTo>
                    <a:pt x="1284" y="798"/>
                  </a:lnTo>
                  <a:lnTo>
                    <a:pt x="1278" y="802"/>
                  </a:lnTo>
                  <a:lnTo>
                    <a:pt x="1280" y="804"/>
                  </a:lnTo>
                  <a:lnTo>
                    <a:pt x="1286" y="806"/>
                  </a:lnTo>
                  <a:lnTo>
                    <a:pt x="1288" y="808"/>
                  </a:lnTo>
                  <a:lnTo>
                    <a:pt x="1290" y="810"/>
                  </a:lnTo>
                  <a:lnTo>
                    <a:pt x="1294" y="812"/>
                  </a:lnTo>
                  <a:lnTo>
                    <a:pt x="1298" y="812"/>
                  </a:lnTo>
                  <a:lnTo>
                    <a:pt x="1302" y="814"/>
                  </a:lnTo>
                  <a:lnTo>
                    <a:pt x="1304" y="816"/>
                  </a:lnTo>
                  <a:lnTo>
                    <a:pt x="1308" y="816"/>
                  </a:lnTo>
                  <a:lnTo>
                    <a:pt x="1310" y="818"/>
                  </a:lnTo>
                  <a:lnTo>
                    <a:pt x="1308" y="820"/>
                  </a:lnTo>
                  <a:lnTo>
                    <a:pt x="1306" y="822"/>
                  </a:lnTo>
                  <a:lnTo>
                    <a:pt x="1306" y="824"/>
                  </a:lnTo>
                  <a:lnTo>
                    <a:pt x="1312" y="832"/>
                  </a:lnTo>
                  <a:lnTo>
                    <a:pt x="1314" y="836"/>
                  </a:lnTo>
                  <a:lnTo>
                    <a:pt x="1312" y="836"/>
                  </a:lnTo>
                  <a:lnTo>
                    <a:pt x="1296" y="824"/>
                  </a:lnTo>
                  <a:lnTo>
                    <a:pt x="1286" y="818"/>
                  </a:lnTo>
                  <a:lnTo>
                    <a:pt x="1280" y="816"/>
                  </a:lnTo>
                  <a:lnTo>
                    <a:pt x="1278" y="818"/>
                  </a:lnTo>
                  <a:lnTo>
                    <a:pt x="1278" y="822"/>
                  </a:lnTo>
                  <a:lnTo>
                    <a:pt x="1280" y="822"/>
                  </a:lnTo>
                  <a:lnTo>
                    <a:pt x="1280" y="824"/>
                  </a:lnTo>
                  <a:lnTo>
                    <a:pt x="1276" y="826"/>
                  </a:lnTo>
                  <a:lnTo>
                    <a:pt x="1274" y="826"/>
                  </a:lnTo>
                  <a:lnTo>
                    <a:pt x="1272" y="826"/>
                  </a:lnTo>
                  <a:lnTo>
                    <a:pt x="1272" y="824"/>
                  </a:lnTo>
                  <a:lnTo>
                    <a:pt x="1274" y="822"/>
                  </a:lnTo>
                  <a:lnTo>
                    <a:pt x="1272" y="822"/>
                  </a:lnTo>
                  <a:lnTo>
                    <a:pt x="1266" y="824"/>
                  </a:lnTo>
                  <a:lnTo>
                    <a:pt x="1252" y="834"/>
                  </a:lnTo>
                  <a:lnTo>
                    <a:pt x="1252" y="836"/>
                  </a:lnTo>
                  <a:lnTo>
                    <a:pt x="1250" y="838"/>
                  </a:lnTo>
                  <a:lnTo>
                    <a:pt x="1248" y="846"/>
                  </a:lnTo>
                  <a:lnTo>
                    <a:pt x="1246" y="850"/>
                  </a:lnTo>
                  <a:lnTo>
                    <a:pt x="1244" y="856"/>
                  </a:lnTo>
                  <a:lnTo>
                    <a:pt x="1238" y="862"/>
                  </a:lnTo>
                  <a:lnTo>
                    <a:pt x="1228" y="868"/>
                  </a:lnTo>
                  <a:lnTo>
                    <a:pt x="1238" y="856"/>
                  </a:lnTo>
                  <a:lnTo>
                    <a:pt x="1242" y="844"/>
                  </a:lnTo>
                  <a:lnTo>
                    <a:pt x="1244" y="832"/>
                  </a:lnTo>
                  <a:lnTo>
                    <a:pt x="1244" y="824"/>
                  </a:lnTo>
                  <a:lnTo>
                    <a:pt x="1242" y="820"/>
                  </a:lnTo>
                  <a:lnTo>
                    <a:pt x="1240" y="822"/>
                  </a:lnTo>
                  <a:lnTo>
                    <a:pt x="1238" y="824"/>
                  </a:lnTo>
                  <a:lnTo>
                    <a:pt x="1236" y="826"/>
                  </a:lnTo>
                  <a:lnTo>
                    <a:pt x="1236" y="824"/>
                  </a:lnTo>
                  <a:lnTo>
                    <a:pt x="1232" y="822"/>
                  </a:lnTo>
                  <a:lnTo>
                    <a:pt x="1230" y="822"/>
                  </a:lnTo>
                  <a:lnTo>
                    <a:pt x="1224" y="834"/>
                  </a:lnTo>
                  <a:lnTo>
                    <a:pt x="1222" y="840"/>
                  </a:lnTo>
                  <a:lnTo>
                    <a:pt x="1222" y="842"/>
                  </a:lnTo>
                  <a:lnTo>
                    <a:pt x="1222" y="844"/>
                  </a:lnTo>
                  <a:lnTo>
                    <a:pt x="1220" y="846"/>
                  </a:lnTo>
                  <a:lnTo>
                    <a:pt x="1216" y="848"/>
                  </a:lnTo>
                  <a:lnTo>
                    <a:pt x="1214" y="848"/>
                  </a:lnTo>
                  <a:lnTo>
                    <a:pt x="1214" y="846"/>
                  </a:lnTo>
                  <a:lnTo>
                    <a:pt x="1216" y="840"/>
                  </a:lnTo>
                  <a:lnTo>
                    <a:pt x="1218" y="836"/>
                  </a:lnTo>
                  <a:lnTo>
                    <a:pt x="1216" y="832"/>
                  </a:lnTo>
                  <a:lnTo>
                    <a:pt x="1214" y="830"/>
                  </a:lnTo>
                  <a:lnTo>
                    <a:pt x="1212" y="830"/>
                  </a:lnTo>
                  <a:lnTo>
                    <a:pt x="1204" y="832"/>
                  </a:lnTo>
                  <a:lnTo>
                    <a:pt x="1198" y="836"/>
                  </a:lnTo>
                  <a:lnTo>
                    <a:pt x="1186" y="844"/>
                  </a:lnTo>
                  <a:lnTo>
                    <a:pt x="1184" y="846"/>
                  </a:lnTo>
                  <a:lnTo>
                    <a:pt x="1188" y="848"/>
                  </a:lnTo>
                  <a:lnTo>
                    <a:pt x="1188" y="850"/>
                  </a:lnTo>
                  <a:lnTo>
                    <a:pt x="1188" y="854"/>
                  </a:lnTo>
                  <a:lnTo>
                    <a:pt x="1188" y="856"/>
                  </a:lnTo>
                  <a:lnTo>
                    <a:pt x="1190" y="858"/>
                  </a:lnTo>
                  <a:lnTo>
                    <a:pt x="1196" y="860"/>
                  </a:lnTo>
                  <a:lnTo>
                    <a:pt x="1200" y="862"/>
                  </a:lnTo>
                  <a:lnTo>
                    <a:pt x="1204" y="864"/>
                  </a:lnTo>
                  <a:lnTo>
                    <a:pt x="1208" y="868"/>
                  </a:lnTo>
                  <a:lnTo>
                    <a:pt x="1210" y="876"/>
                  </a:lnTo>
                  <a:lnTo>
                    <a:pt x="1200" y="872"/>
                  </a:lnTo>
                  <a:lnTo>
                    <a:pt x="1198" y="870"/>
                  </a:lnTo>
                  <a:lnTo>
                    <a:pt x="1200" y="868"/>
                  </a:lnTo>
                  <a:lnTo>
                    <a:pt x="1202" y="868"/>
                  </a:lnTo>
                  <a:lnTo>
                    <a:pt x="1196" y="864"/>
                  </a:lnTo>
                  <a:lnTo>
                    <a:pt x="1190" y="862"/>
                  </a:lnTo>
                  <a:lnTo>
                    <a:pt x="1186" y="860"/>
                  </a:lnTo>
                  <a:lnTo>
                    <a:pt x="1182" y="854"/>
                  </a:lnTo>
                  <a:lnTo>
                    <a:pt x="1180" y="852"/>
                  </a:lnTo>
                  <a:lnTo>
                    <a:pt x="1174" y="852"/>
                  </a:lnTo>
                  <a:lnTo>
                    <a:pt x="1166" y="854"/>
                  </a:lnTo>
                  <a:lnTo>
                    <a:pt x="1166" y="856"/>
                  </a:lnTo>
                  <a:lnTo>
                    <a:pt x="1174" y="862"/>
                  </a:lnTo>
                  <a:lnTo>
                    <a:pt x="1178" y="866"/>
                  </a:lnTo>
                  <a:lnTo>
                    <a:pt x="1176" y="868"/>
                  </a:lnTo>
                  <a:lnTo>
                    <a:pt x="1172" y="868"/>
                  </a:lnTo>
                  <a:lnTo>
                    <a:pt x="1168" y="862"/>
                  </a:lnTo>
                  <a:lnTo>
                    <a:pt x="1158" y="854"/>
                  </a:lnTo>
                  <a:lnTo>
                    <a:pt x="1154" y="854"/>
                  </a:lnTo>
                  <a:lnTo>
                    <a:pt x="1154" y="858"/>
                  </a:lnTo>
                  <a:lnTo>
                    <a:pt x="1154" y="860"/>
                  </a:lnTo>
                  <a:lnTo>
                    <a:pt x="1154" y="862"/>
                  </a:lnTo>
                  <a:lnTo>
                    <a:pt x="1152" y="864"/>
                  </a:lnTo>
                  <a:lnTo>
                    <a:pt x="1150" y="868"/>
                  </a:lnTo>
                  <a:lnTo>
                    <a:pt x="1150" y="872"/>
                  </a:lnTo>
                  <a:lnTo>
                    <a:pt x="1152" y="876"/>
                  </a:lnTo>
                  <a:lnTo>
                    <a:pt x="1152" y="878"/>
                  </a:lnTo>
                  <a:lnTo>
                    <a:pt x="1146" y="880"/>
                  </a:lnTo>
                  <a:lnTo>
                    <a:pt x="1138" y="884"/>
                  </a:lnTo>
                  <a:lnTo>
                    <a:pt x="1134" y="886"/>
                  </a:lnTo>
                  <a:lnTo>
                    <a:pt x="1130" y="888"/>
                  </a:lnTo>
                  <a:lnTo>
                    <a:pt x="1128" y="892"/>
                  </a:lnTo>
                  <a:lnTo>
                    <a:pt x="1128" y="894"/>
                  </a:lnTo>
                  <a:lnTo>
                    <a:pt x="1134" y="896"/>
                  </a:lnTo>
                  <a:lnTo>
                    <a:pt x="1138" y="898"/>
                  </a:lnTo>
                  <a:lnTo>
                    <a:pt x="1132" y="900"/>
                  </a:lnTo>
                  <a:lnTo>
                    <a:pt x="1122" y="902"/>
                  </a:lnTo>
                  <a:lnTo>
                    <a:pt x="1120" y="906"/>
                  </a:lnTo>
                  <a:lnTo>
                    <a:pt x="1118" y="908"/>
                  </a:lnTo>
                  <a:lnTo>
                    <a:pt x="1114" y="912"/>
                  </a:lnTo>
                  <a:lnTo>
                    <a:pt x="1108" y="912"/>
                  </a:lnTo>
                  <a:lnTo>
                    <a:pt x="1102" y="912"/>
                  </a:lnTo>
                  <a:lnTo>
                    <a:pt x="1096" y="916"/>
                  </a:lnTo>
                  <a:lnTo>
                    <a:pt x="1090" y="924"/>
                  </a:lnTo>
                  <a:lnTo>
                    <a:pt x="1088" y="928"/>
                  </a:lnTo>
                  <a:lnTo>
                    <a:pt x="1088" y="930"/>
                  </a:lnTo>
                  <a:lnTo>
                    <a:pt x="1092" y="930"/>
                  </a:lnTo>
                  <a:lnTo>
                    <a:pt x="1096" y="928"/>
                  </a:lnTo>
                  <a:lnTo>
                    <a:pt x="1106" y="926"/>
                  </a:lnTo>
                  <a:lnTo>
                    <a:pt x="1108" y="926"/>
                  </a:lnTo>
                  <a:lnTo>
                    <a:pt x="1108" y="930"/>
                  </a:lnTo>
                  <a:lnTo>
                    <a:pt x="1112" y="930"/>
                  </a:lnTo>
                  <a:lnTo>
                    <a:pt x="1124" y="924"/>
                  </a:lnTo>
                  <a:lnTo>
                    <a:pt x="1128" y="924"/>
                  </a:lnTo>
                  <a:lnTo>
                    <a:pt x="1130" y="924"/>
                  </a:lnTo>
                  <a:lnTo>
                    <a:pt x="1128" y="928"/>
                  </a:lnTo>
                  <a:lnTo>
                    <a:pt x="1120" y="932"/>
                  </a:lnTo>
                  <a:lnTo>
                    <a:pt x="1110" y="936"/>
                  </a:lnTo>
                  <a:lnTo>
                    <a:pt x="1102" y="936"/>
                  </a:lnTo>
                  <a:lnTo>
                    <a:pt x="1100" y="936"/>
                  </a:lnTo>
                  <a:lnTo>
                    <a:pt x="1096" y="934"/>
                  </a:lnTo>
                  <a:lnTo>
                    <a:pt x="1088" y="934"/>
                  </a:lnTo>
                  <a:lnTo>
                    <a:pt x="1078" y="936"/>
                  </a:lnTo>
                  <a:lnTo>
                    <a:pt x="1072" y="938"/>
                  </a:lnTo>
                  <a:lnTo>
                    <a:pt x="1070" y="940"/>
                  </a:lnTo>
                  <a:lnTo>
                    <a:pt x="1074" y="942"/>
                  </a:lnTo>
                  <a:lnTo>
                    <a:pt x="1076" y="944"/>
                  </a:lnTo>
                  <a:lnTo>
                    <a:pt x="1076" y="946"/>
                  </a:lnTo>
                  <a:lnTo>
                    <a:pt x="1080" y="948"/>
                  </a:lnTo>
                  <a:lnTo>
                    <a:pt x="1086" y="948"/>
                  </a:lnTo>
                  <a:lnTo>
                    <a:pt x="1084" y="952"/>
                  </a:lnTo>
                  <a:lnTo>
                    <a:pt x="1080" y="958"/>
                  </a:lnTo>
                  <a:lnTo>
                    <a:pt x="1078" y="960"/>
                  </a:lnTo>
                  <a:lnTo>
                    <a:pt x="1076" y="964"/>
                  </a:lnTo>
                  <a:lnTo>
                    <a:pt x="1076" y="968"/>
                  </a:lnTo>
                  <a:lnTo>
                    <a:pt x="1074" y="966"/>
                  </a:lnTo>
                  <a:lnTo>
                    <a:pt x="1070" y="960"/>
                  </a:lnTo>
                  <a:lnTo>
                    <a:pt x="1070" y="954"/>
                  </a:lnTo>
                  <a:lnTo>
                    <a:pt x="1070" y="948"/>
                  </a:lnTo>
                  <a:lnTo>
                    <a:pt x="1068" y="944"/>
                  </a:lnTo>
                  <a:lnTo>
                    <a:pt x="1066" y="944"/>
                  </a:lnTo>
                  <a:lnTo>
                    <a:pt x="1064" y="948"/>
                  </a:lnTo>
                  <a:lnTo>
                    <a:pt x="1060" y="954"/>
                  </a:lnTo>
                  <a:lnTo>
                    <a:pt x="1058" y="954"/>
                  </a:lnTo>
                  <a:lnTo>
                    <a:pt x="1056" y="954"/>
                  </a:lnTo>
                  <a:lnTo>
                    <a:pt x="1056" y="952"/>
                  </a:lnTo>
                  <a:lnTo>
                    <a:pt x="1052" y="950"/>
                  </a:lnTo>
                  <a:lnTo>
                    <a:pt x="1046" y="952"/>
                  </a:lnTo>
                  <a:lnTo>
                    <a:pt x="1042" y="956"/>
                  </a:lnTo>
                  <a:lnTo>
                    <a:pt x="1040" y="956"/>
                  </a:lnTo>
                  <a:lnTo>
                    <a:pt x="1040" y="958"/>
                  </a:lnTo>
                  <a:lnTo>
                    <a:pt x="1042" y="960"/>
                  </a:lnTo>
                  <a:lnTo>
                    <a:pt x="1044" y="960"/>
                  </a:lnTo>
                  <a:lnTo>
                    <a:pt x="1048" y="958"/>
                  </a:lnTo>
                  <a:lnTo>
                    <a:pt x="1054" y="958"/>
                  </a:lnTo>
                  <a:lnTo>
                    <a:pt x="1062" y="960"/>
                  </a:lnTo>
                  <a:lnTo>
                    <a:pt x="1064" y="962"/>
                  </a:lnTo>
                  <a:lnTo>
                    <a:pt x="1064" y="964"/>
                  </a:lnTo>
                  <a:lnTo>
                    <a:pt x="1060" y="966"/>
                  </a:lnTo>
                  <a:lnTo>
                    <a:pt x="1050" y="966"/>
                  </a:lnTo>
                  <a:lnTo>
                    <a:pt x="1032" y="970"/>
                  </a:lnTo>
                  <a:lnTo>
                    <a:pt x="1020" y="974"/>
                  </a:lnTo>
                  <a:lnTo>
                    <a:pt x="1018" y="976"/>
                  </a:lnTo>
                  <a:lnTo>
                    <a:pt x="1020" y="978"/>
                  </a:lnTo>
                  <a:lnTo>
                    <a:pt x="1022" y="980"/>
                  </a:lnTo>
                  <a:lnTo>
                    <a:pt x="1018" y="984"/>
                  </a:lnTo>
                  <a:lnTo>
                    <a:pt x="1016" y="986"/>
                  </a:lnTo>
                  <a:lnTo>
                    <a:pt x="1020" y="988"/>
                  </a:lnTo>
                  <a:lnTo>
                    <a:pt x="1026" y="988"/>
                  </a:lnTo>
                  <a:lnTo>
                    <a:pt x="1030" y="986"/>
                  </a:lnTo>
                  <a:lnTo>
                    <a:pt x="1036" y="980"/>
                  </a:lnTo>
                  <a:lnTo>
                    <a:pt x="1042" y="976"/>
                  </a:lnTo>
                  <a:lnTo>
                    <a:pt x="1046" y="976"/>
                  </a:lnTo>
                  <a:lnTo>
                    <a:pt x="1052" y="976"/>
                  </a:lnTo>
                  <a:lnTo>
                    <a:pt x="1060" y="980"/>
                  </a:lnTo>
                  <a:lnTo>
                    <a:pt x="1058" y="980"/>
                  </a:lnTo>
                  <a:lnTo>
                    <a:pt x="1050" y="980"/>
                  </a:lnTo>
                  <a:lnTo>
                    <a:pt x="1040" y="982"/>
                  </a:lnTo>
                  <a:lnTo>
                    <a:pt x="1034" y="986"/>
                  </a:lnTo>
                  <a:lnTo>
                    <a:pt x="1034" y="988"/>
                  </a:lnTo>
                  <a:lnTo>
                    <a:pt x="1036" y="990"/>
                  </a:lnTo>
                  <a:lnTo>
                    <a:pt x="1034" y="990"/>
                  </a:lnTo>
                  <a:lnTo>
                    <a:pt x="1026" y="992"/>
                  </a:lnTo>
                  <a:lnTo>
                    <a:pt x="1016" y="996"/>
                  </a:lnTo>
                  <a:lnTo>
                    <a:pt x="1016" y="998"/>
                  </a:lnTo>
                  <a:lnTo>
                    <a:pt x="1020" y="1002"/>
                  </a:lnTo>
                  <a:lnTo>
                    <a:pt x="1022" y="1002"/>
                  </a:lnTo>
                  <a:lnTo>
                    <a:pt x="1022" y="1004"/>
                  </a:lnTo>
                  <a:lnTo>
                    <a:pt x="1020" y="1006"/>
                  </a:lnTo>
                  <a:lnTo>
                    <a:pt x="1016" y="1004"/>
                  </a:lnTo>
                  <a:lnTo>
                    <a:pt x="1014" y="1002"/>
                  </a:lnTo>
                  <a:lnTo>
                    <a:pt x="1010" y="1004"/>
                  </a:lnTo>
                  <a:lnTo>
                    <a:pt x="1004" y="1012"/>
                  </a:lnTo>
                  <a:lnTo>
                    <a:pt x="1008" y="1014"/>
                  </a:lnTo>
                  <a:lnTo>
                    <a:pt x="1012" y="1014"/>
                  </a:lnTo>
                  <a:lnTo>
                    <a:pt x="1016" y="1012"/>
                  </a:lnTo>
                  <a:lnTo>
                    <a:pt x="1024" y="1012"/>
                  </a:lnTo>
                  <a:lnTo>
                    <a:pt x="1036" y="1012"/>
                  </a:lnTo>
                  <a:lnTo>
                    <a:pt x="1050" y="1016"/>
                  </a:lnTo>
                  <a:lnTo>
                    <a:pt x="1048" y="1016"/>
                  </a:lnTo>
                  <a:lnTo>
                    <a:pt x="1046" y="1018"/>
                  </a:lnTo>
                  <a:lnTo>
                    <a:pt x="1046" y="1022"/>
                  </a:lnTo>
                  <a:lnTo>
                    <a:pt x="1046" y="1024"/>
                  </a:lnTo>
                  <a:lnTo>
                    <a:pt x="1044" y="1022"/>
                  </a:lnTo>
                  <a:lnTo>
                    <a:pt x="1038" y="1018"/>
                  </a:lnTo>
                  <a:lnTo>
                    <a:pt x="1034" y="1016"/>
                  </a:lnTo>
                  <a:lnTo>
                    <a:pt x="1028" y="1016"/>
                  </a:lnTo>
                  <a:lnTo>
                    <a:pt x="1020" y="1016"/>
                  </a:lnTo>
                  <a:lnTo>
                    <a:pt x="1014" y="1018"/>
                  </a:lnTo>
                  <a:lnTo>
                    <a:pt x="1008" y="1020"/>
                  </a:lnTo>
                  <a:lnTo>
                    <a:pt x="1002" y="1020"/>
                  </a:lnTo>
                  <a:lnTo>
                    <a:pt x="998" y="1020"/>
                  </a:lnTo>
                  <a:lnTo>
                    <a:pt x="996" y="1020"/>
                  </a:lnTo>
                  <a:lnTo>
                    <a:pt x="994" y="1022"/>
                  </a:lnTo>
                  <a:lnTo>
                    <a:pt x="990" y="1022"/>
                  </a:lnTo>
                  <a:lnTo>
                    <a:pt x="988" y="1024"/>
                  </a:lnTo>
                  <a:lnTo>
                    <a:pt x="988" y="1026"/>
                  </a:lnTo>
                  <a:lnTo>
                    <a:pt x="988" y="1028"/>
                  </a:lnTo>
                  <a:lnTo>
                    <a:pt x="988" y="1030"/>
                  </a:lnTo>
                  <a:lnTo>
                    <a:pt x="986" y="1032"/>
                  </a:lnTo>
                  <a:lnTo>
                    <a:pt x="982" y="1034"/>
                  </a:lnTo>
                  <a:lnTo>
                    <a:pt x="976" y="1034"/>
                  </a:lnTo>
                  <a:lnTo>
                    <a:pt x="968" y="1036"/>
                  </a:lnTo>
                  <a:lnTo>
                    <a:pt x="970" y="1038"/>
                  </a:lnTo>
                  <a:lnTo>
                    <a:pt x="974" y="1042"/>
                  </a:lnTo>
                  <a:lnTo>
                    <a:pt x="974" y="1044"/>
                  </a:lnTo>
                  <a:lnTo>
                    <a:pt x="972" y="1046"/>
                  </a:lnTo>
                  <a:lnTo>
                    <a:pt x="966" y="1050"/>
                  </a:lnTo>
                  <a:lnTo>
                    <a:pt x="964" y="1050"/>
                  </a:lnTo>
                  <a:lnTo>
                    <a:pt x="962" y="1050"/>
                  </a:lnTo>
                  <a:lnTo>
                    <a:pt x="956" y="1052"/>
                  </a:lnTo>
                  <a:lnTo>
                    <a:pt x="954" y="1056"/>
                  </a:lnTo>
                  <a:lnTo>
                    <a:pt x="956" y="1058"/>
                  </a:lnTo>
                  <a:lnTo>
                    <a:pt x="958" y="1058"/>
                  </a:lnTo>
                  <a:lnTo>
                    <a:pt x="958" y="1060"/>
                  </a:lnTo>
                  <a:lnTo>
                    <a:pt x="954" y="1062"/>
                  </a:lnTo>
                  <a:lnTo>
                    <a:pt x="954" y="1064"/>
                  </a:lnTo>
                  <a:lnTo>
                    <a:pt x="956" y="1066"/>
                  </a:lnTo>
                  <a:lnTo>
                    <a:pt x="954" y="1064"/>
                  </a:lnTo>
                  <a:lnTo>
                    <a:pt x="950" y="1064"/>
                  </a:lnTo>
                  <a:lnTo>
                    <a:pt x="946" y="1064"/>
                  </a:lnTo>
                  <a:lnTo>
                    <a:pt x="946" y="1066"/>
                  </a:lnTo>
                  <a:lnTo>
                    <a:pt x="948" y="1068"/>
                  </a:lnTo>
                  <a:lnTo>
                    <a:pt x="950" y="1070"/>
                  </a:lnTo>
                  <a:lnTo>
                    <a:pt x="950" y="1072"/>
                  </a:lnTo>
                  <a:lnTo>
                    <a:pt x="948" y="1076"/>
                  </a:lnTo>
                  <a:lnTo>
                    <a:pt x="948" y="1080"/>
                  </a:lnTo>
                  <a:lnTo>
                    <a:pt x="954" y="1080"/>
                  </a:lnTo>
                  <a:lnTo>
                    <a:pt x="958" y="1080"/>
                  </a:lnTo>
                  <a:lnTo>
                    <a:pt x="954" y="1082"/>
                  </a:lnTo>
                  <a:lnTo>
                    <a:pt x="948" y="1084"/>
                  </a:lnTo>
                  <a:lnTo>
                    <a:pt x="946" y="1086"/>
                  </a:lnTo>
                  <a:lnTo>
                    <a:pt x="954" y="1086"/>
                  </a:lnTo>
                  <a:lnTo>
                    <a:pt x="964" y="1084"/>
                  </a:lnTo>
                  <a:lnTo>
                    <a:pt x="988" y="1078"/>
                  </a:lnTo>
                  <a:lnTo>
                    <a:pt x="994" y="1078"/>
                  </a:lnTo>
                  <a:lnTo>
                    <a:pt x="990" y="1080"/>
                  </a:lnTo>
                  <a:lnTo>
                    <a:pt x="982" y="1084"/>
                  </a:lnTo>
                  <a:lnTo>
                    <a:pt x="972" y="1086"/>
                  </a:lnTo>
                  <a:lnTo>
                    <a:pt x="954" y="1090"/>
                  </a:lnTo>
                  <a:lnTo>
                    <a:pt x="946" y="1092"/>
                  </a:lnTo>
                  <a:lnTo>
                    <a:pt x="936" y="1094"/>
                  </a:lnTo>
                  <a:lnTo>
                    <a:pt x="932" y="1096"/>
                  </a:lnTo>
                  <a:lnTo>
                    <a:pt x="936" y="1096"/>
                  </a:lnTo>
                  <a:lnTo>
                    <a:pt x="942" y="1098"/>
                  </a:lnTo>
                  <a:lnTo>
                    <a:pt x="944" y="1098"/>
                  </a:lnTo>
                  <a:lnTo>
                    <a:pt x="946" y="1100"/>
                  </a:lnTo>
                  <a:lnTo>
                    <a:pt x="944" y="1104"/>
                  </a:lnTo>
                  <a:lnTo>
                    <a:pt x="940" y="1106"/>
                  </a:lnTo>
                  <a:lnTo>
                    <a:pt x="934" y="1108"/>
                  </a:lnTo>
                  <a:lnTo>
                    <a:pt x="932" y="1114"/>
                  </a:lnTo>
                  <a:lnTo>
                    <a:pt x="930" y="1118"/>
                  </a:lnTo>
                  <a:lnTo>
                    <a:pt x="928" y="1120"/>
                  </a:lnTo>
                  <a:lnTo>
                    <a:pt x="924" y="1122"/>
                  </a:lnTo>
                  <a:lnTo>
                    <a:pt x="920" y="1122"/>
                  </a:lnTo>
                  <a:lnTo>
                    <a:pt x="920" y="1128"/>
                  </a:lnTo>
                  <a:lnTo>
                    <a:pt x="922" y="1132"/>
                  </a:lnTo>
                  <a:lnTo>
                    <a:pt x="924" y="1134"/>
                  </a:lnTo>
                  <a:lnTo>
                    <a:pt x="926" y="1134"/>
                  </a:lnTo>
                  <a:lnTo>
                    <a:pt x="928" y="1138"/>
                  </a:lnTo>
                  <a:lnTo>
                    <a:pt x="928" y="1140"/>
                  </a:lnTo>
                  <a:lnTo>
                    <a:pt x="928" y="1142"/>
                  </a:lnTo>
                  <a:lnTo>
                    <a:pt x="922" y="1146"/>
                  </a:lnTo>
                  <a:lnTo>
                    <a:pt x="918" y="1150"/>
                  </a:lnTo>
                  <a:lnTo>
                    <a:pt x="918" y="1152"/>
                  </a:lnTo>
                  <a:lnTo>
                    <a:pt x="920" y="1152"/>
                  </a:lnTo>
                  <a:lnTo>
                    <a:pt x="922" y="1156"/>
                  </a:lnTo>
                  <a:lnTo>
                    <a:pt x="922" y="1160"/>
                  </a:lnTo>
                  <a:lnTo>
                    <a:pt x="918" y="1164"/>
                  </a:lnTo>
                  <a:lnTo>
                    <a:pt x="910" y="1166"/>
                  </a:lnTo>
                  <a:lnTo>
                    <a:pt x="904" y="1168"/>
                  </a:lnTo>
                  <a:lnTo>
                    <a:pt x="900" y="1168"/>
                  </a:lnTo>
                  <a:lnTo>
                    <a:pt x="898" y="1170"/>
                  </a:lnTo>
                  <a:lnTo>
                    <a:pt x="892" y="1172"/>
                  </a:lnTo>
                  <a:lnTo>
                    <a:pt x="888" y="1174"/>
                  </a:lnTo>
                  <a:lnTo>
                    <a:pt x="884" y="1174"/>
                  </a:lnTo>
                  <a:lnTo>
                    <a:pt x="880" y="1176"/>
                  </a:lnTo>
                  <a:lnTo>
                    <a:pt x="876" y="1176"/>
                  </a:lnTo>
                  <a:lnTo>
                    <a:pt x="866" y="1176"/>
                  </a:lnTo>
                  <a:lnTo>
                    <a:pt x="862" y="1176"/>
                  </a:lnTo>
                  <a:lnTo>
                    <a:pt x="860" y="1178"/>
                  </a:lnTo>
                  <a:lnTo>
                    <a:pt x="860" y="1180"/>
                  </a:lnTo>
                  <a:lnTo>
                    <a:pt x="864" y="1180"/>
                  </a:lnTo>
                  <a:lnTo>
                    <a:pt x="868" y="1180"/>
                  </a:lnTo>
                  <a:lnTo>
                    <a:pt x="876" y="1180"/>
                  </a:lnTo>
                  <a:lnTo>
                    <a:pt x="878" y="1182"/>
                  </a:lnTo>
                  <a:lnTo>
                    <a:pt x="880" y="1184"/>
                  </a:lnTo>
                  <a:lnTo>
                    <a:pt x="878" y="1186"/>
                  </a:lnTo>
                  <a:lnTo>
                    <a:pt x="878" y="1188"/>
                  </a:lnTo>
                  <a:lnTo>
                    <a:pt x="886" y="1184"/>
                  </a:lnTo>
                  <a:lnTo>
                    <a:pt x="892" y="1182"/>
                  </a:lnTo>
                  <a:lnTo>
                    <a:pt x="892" y="1184"/>
                  </a:lnTo>
                  <a:lnTo>
                    <a:pt x="890" y="1186"/>
                  </a:lnTo>
                  <a:lnTo>
                    <a:pt x="886" y="1190"/>
                  </a:lnTo>
                  <a:lnTo>
                    <a:pt x="884" y="1190"/>
                  </a:lnTo>
                  <a:lnTo>
                    <a:pt x="882" y="1192"/>
                  </a:lnTo>
                  <a:lnTo>
                    <a:pt x="886" y="1194"/>
                  </a:lnTo>
                  <a:lnTo>
                    <a:pt x="890" y="1196"/>
                  </a:lnTo>
                  <a:lnTo>
                    <a:pt x="890" y="1198"/>
                  </a:lnTo>
                  <a:lnTo>
                    <a:pt x="890" y="1200"/>
                  </a:lnTo>
                  <a:lnTo>
                    <a:pt x="886" y="1204"/>
                  </a:lnTo>
                  <a:lnTo>
                    <a:pt x="886" y="1206"/>
                  </a:lnTo>
                  <a:lnTo>
                    <a:pt x="884" y="1208"/>
                  </a:lnTo>
                  <a:lnTo>
                    <a:pt x="878" y="1208"/>
                  </a:lnTo>
                  <a:lnTo>
                    <a:pt x="874" y="1208"/>
                  </a:lnTo>
                  <a:lnTo>
                    <a:pt x="872" y="1208"/>
                  </a:lnTo>
                  <a:lnTo>
                    <a:pt x="870" y="1204"/>
                  </a:lnTo>
                  <a:lnTo>
                    <a:pt x="868" y="1198"/>
                  </a:lnTo>
                  <a:lnTo>
                    <a:pt x="866" y="1198"/>
                  </a:lnTo>
                  <a:lnTo>
                    <a:pt x="864" y="1198"/>
                  </a:lnTo>
                  <a:lnTo>
                    <a:pt x="862" y="1198"/>
                  </a:lnTo>
                  <a:lnTo>
                    <a:pt x="862" y="1200"/>
                  </a:lnTo>
                  <a:lnTo>
                    <a:pt x="862" y="1202"/>
                  </a:lnTo>
                  <a:lnTo>
                    <a:pt x="860" y="1204"/>
                  </a:lnTo>
                  <a:lnTo>
                    <a:pt x="852" y="1204"/>
                  </a:lnTo>
                  <a:lnTo>
                    <a:pt x="848" y="1208"/>
                  </a:lnTo>
                  <a:lnTo>
                    <a:pt x="846" y="1210"/>
                  </a:lnTo>
                  <a:lnTo>
                    <a:pt x="846" y="1214"/>
                  </a:lnTo>
                  <a:lnTo>
                    <a:pt x="846" y="1216"/>
                  </a:lnTo>
                  <a:lnTo>
                    <a:pt x="844" y="1218"/>
                  </a:lnTo>
                  <a:lnTo>
                    <a:pt x="840" y="1220"/>
                  </a:lnTo>
                  <a:lnTo>
                    <a:pt x="834" y="1222"/>
                  </a:lnTo>
                  <a:lnTo>
                    <a:pt x="832" y="1224"/>
                  </a:lnTo>
                  <a:lnTo>
                    <a:pt x="830" y="1228"/>
                  </a:lnTo>
                  <a:lnTo>
                    <a:pt x="828" y="1234"/>
                  </a:lnTo>
                  <a:lnTo>
                    <a:pt x="824" y="1240"/>
                  </a:lnTo>
                  <a:lnTo>
                    <a:pt x="818" y="1246"/>
                  </a:lnTo>
                  <a:lnTo>
                    <a:pt x="812" y="1250"/>
                  </a:lnTo>
                  <a:lnTo>
                    <a:pt x="808" y="1252"/>
                  </a:lnTo>
                  <a:lnTo>
                    <a:pt x="806" y="1256"/>
                  </a:lnTo>
                  <a:lnTo>
                    <a:pt x="806" y="1258"/>
                  </a:lnTo>
                  <a:lnTo>
                    <a:pt x="806" y="1260"/>
                  </a:lnTo>
                  <a:lnTo>
                    <a:pt x="810" y="1260"/>
                  </a:lnTo>
                  <a:lnTo>
                    <a:pt x="816" y="1258"/>
                  </a:lnTo>
                  <a:lnTo>
                    <a:pt x="818" y="1258"/>
                  </a:lnTo>
                  <a:lnTo>
                    <a:pt x="818" y="1262"/>
                  </a:lnTo>
                  <a:lnTo>
                    <a:pt x="820" y="1262"/>
                  </a:lnTo>
                  <a:lnTo>
                    <a:pt x="822" y="1264"/>
                  </a:lnTo>
                  <a:lnTo>
                    <a:pt x="822" y="1268"/>
                  </a:lnTo>
                  <a:lnTo>
                    <a:pt x="824" y="1270"/>
                  </a:lnTo>
                  <a:lnTo>
                    <a:pt x="826" y="1270"/>
                  </a:lnTo>
                  <a:lnTo>
                    <a:pt x="834" y="1270"/>
                  </a:lnTo>
                  <a:lnTo>
                    <a:pt x="848" y="1264"/>
                  </a:lnTo>
                  <a:lnTo>
                    <a:pt x="862" y="1254"/>
                  </a:lnTo>
                  <a:lnTo>
                    <a:pt x="868" y="1250"/>
                  </a:lnTo>
                  <a:lnTo>
                    <a:pt x="868" y="1246"/>
                  </a:lnTo>
                  <a:lnTo>
                    <a:pt x="864" y="1244"/>
                  </a:lnTo>
                  <a:lnTo>
                    <a:pt x="858" y="1244"/>
                  </a:lnTo>
                  <a:lnTo>
                    <a:pt x="862" y="1242"/>
                  </a:lnTo>
                  <a:lnTo>
                    <a:pt x="870" y="1238"/>
                  </a:lnTo>
                  <a:lnTo>
                    <a:pt x="874" y="1236"/>
                  </a:lnTo>
                  <a:lnTo>
                    <a:pt x="876" y="1234"/>
                  </a:lnTo>
                  <a:lnTo>
                    <a:pt x="880" y="1236"/>
                  </a:lnTo>
                  <a:lnTo>
                    <a:pt x="884" y="1236"/>
                  </a:lnTo>
                  <a:lnTo>
                    <a:pt x="884" y="1238"/>
                  </a:lnTo>
                  <a:lnTo>
                    <a:pt x="878" y="1240"/>
                  </a:lnTo>
                  <a:lnTo>
                    <a:pt x="874" y="1242"/>
                  </a:lnTo>
                  <a:lnTo>
                    <a:pt x="872" y="1244"/>
                  </a:lnTo>
                  <a:lnTo>
                    <a:pt x="874" y="1246"/>
                  </a:lnTo>
                  <a:lnTo>
                    <a:pt x="880" y="1248"/>
                  </a:lnTo>
                  <a:lnTo>
                    <a:pt x="884" y="1250"/>
                  </a:lnTo>
                  <a:lnTo>
                    <a:pt x="880" y="1254"/>
                  </a:lnTo>
                  <a:lnTo>
                    <a:pt x="860" y="1262"/>
                  </a:lnTo>
                  <a:lnTo>
                    <a:pt x="854" y="1266"/>
                  </a:lnTo>
                  <a:lnTo>
                    <a:pt x="858" y="1268"/>
                  </a:lnTo>
                  <a:lnTo>
                    <a:pt x="856" y="1268"/>
                  </a:lnTo>
                  <a:lnTo>
                    <a:pt x="856" y="1270"/>
                  </a:lnTo>
                  <a:lnTo>
                    <a:pt x="856" y="1272"/>
                  </a:lnTo>
                  <a:lnTo>
                    <a:pt x="858" y="1272"/>
                  </a:lnTo>
                  <a:lnTo>
                    <a:pt x="862" y="1274"/>
                  </a:lnTo>
                  <a:lnTo>
                    <a:pt x="860" y="1276"/>
                  </a:lnTo>
                  <a:lnTo>
                    <a:pt x="856" y="1276"/>
                  </a:lnTo>
                  <a:lnTo>
                    <a:pt x="852" y="1276"/>
                  </a:lnTo>
                  <a:lnTo>
                    <a:pt x="844" y="1276"/>
                  </a:lnTo>
                  <a:lnTo>
                    <a:pt x="836" y="1276"/>
                  </a:lnTo>
                  <a:lnTo>
                    <a:pt x="830" y="1276"/>
                  </a:lnTo>
                  <a:lnTo>
                    <a:pt x="826" y="1280"/>
                  </a:lnTo>
                  <a:lnTo>
                    <a:pt x="822" y="1282"/>
                  </a:lnTo>
                  <a:lnTo>
                    <a:pt x="822" y="1276"/>
                  </a:lnTo>
                  <a:lnTo>
                    <a:pt x="818" y="1268"/>
                  </a:lnTo>
                  <a:lnTo>
                    <a:pt x="814" y="1262"/>
                  </a:lnTo>
                  <a:lnTo>
                    <a:pt x="810" y="1262"/>
                  </a:lnTo>
                  <a:lnTo>
                    <a:pt x="806" y="1266"/>
                  </a:lnTo>
                  <a:lnTo>
                    <a:pt x="798" y="1268"/>
                  </a:lnTo>
                  <a:lnTo>
                    <a:pt x="796" y="1268"/>
                  </a:lnTo>
                  <a:lnTo>
                    <a:pt x="794" y="1270"/>
                  </a:lnTo>
                  <a:lnTo>
                    <a:pt x="792" y="1274"/>
                  </a:lnTo>
                  <a:lnTo>
                    <a:pt x="792" y="1276"/>
                  </a:lnTo>
                  <a:lnTo>
                    <a:pt x="790" y="1274"/>
                  </a:lnTo>
                  <a:lnTo>
                    <a:pt x="784" y="1274"/>
                  </a:lnTo>
                  <a:lnTo>
                    <a:pt x="778" y="1274"/>
                  </a:lnTo>
                  <a:lnTo>
                    <a:pt x="762" y="1280"/>
                  </a:lnTo>
                  <a:lnTo>
                    <a:pt x="760" y="1282"/>
                  </a:lnTo>
                  <a:lnTo>
                    <a:pt x="760" y="1284"/>
                  </a:lnTo>
                  <a:lnTo>
                    <a:pt x="766" y="1288"/>
                  </a:lnTo>
                  <a:lnTo>
                    <a:pt x="768" y="1290"/>
                  </a:lnTo>
                  <a:lnTo>
                    <a:pt x="768" y="1292"/>
                  </a:lnTo>
                  <a:lnTo>
                    <a:pt x="766" y="1294"/>
                  </a:lnTo>
                  <a:lnTo>
                    <a:pt x="760" y="1294"/>
                  </a:lnTo>
                  <a:lnTo>
                    <a:pt x="754" y="1296"/>
                  </a:lnTo>
                  <a:lnTo>
                    <a:pt x="752" y="1298"/>
                  </a:lnTo>
                  <a:lnTo>
                    <a:pt x="752" y="1300"/>
                  </a:lnTo>
                  <a:lnTo>
                    <a:pt x="756" y="1302"/>
                  </a:lnTo>
                  <a:lnTo>
                    <a:pt x="746" y="1300"/>
                  </a:lnTo>
                  <a:lnTo>
                    <a:pt x="738" y="1298"/>
                  </a:lnTo>
                  <a:lnTo>
                    <a:pt x="742" y="1300"/>
                  </a:lnTo>
                  <a:lnTo>
                    <a:pt x="744" y="1304"/>
                  </a:lnTo>
                  <a:lnTo>
                    <a:pt x="744" y="1306"/>
                  </a:lnTo>
                  <a:lnTo>
                    <a:pt x="740" y="1308"/>
                  </a:lnTo>
                  <a:lnTo>
                    <a:pt x="728" y="1308"/>
                  </a:lnTo>
                  <a:lnTo>
                    <a:pt x="716" y="1308"/>
                  </a:lnTo>
                  <a:lnTo>
                    <a:pt x="708" y="1306"/>
                  </a:lnTo>
                  <a:lnTo>
                    <a:pt x="704" y="1308"/>
                  </a:lnTo>
                  <a:lnTo>
                    <a:pt x="702" y="1310"/>
                  </a:lnTo>
                  <a:lnTo>
                    <a:pt x="702" y="1316"/>
                  </a:lnTo>
                  <a:lnTo>
                    <a:pt x="704" y="1318"/>
                  </a:lnTo>
                  <a:lnTo>
                    <a:pt x="708" y="1320"/>
                  </a:lnTo>
                  <a:lnTo>
                    <a:pt x="712" y="1320"/>
                  </a:lnTo>
                  <a:lnTo>
                    <a:pt x="718" y="1320"/>
                  </a:lnTo>
                  <a:lnTo>
                    <a:pt x="726" y="1318"/>
                  </a:lnTo>
                  <a:lnTo>
                    <a:pt x="724" y="1320"/>
                  </a:lnTo>
                  <a:lnTo>
                    <a:pt x="720" y="1324"/>
                  </a:lnTo>
                  <a:lnTo>
                    <a:pt x="720" y="1328"/>
                  </a:lnTo>
                  <a:lnTo>
                    <a:pt x="722" y="1332"/>
                  </a:lnTo>
                  <a:lnTo>
                    <a:pt x="724" y="1334"/>
                  </a:lnTo>
                  <a:lnTo>
                    <a:pt x="718" y="1332"/>
                  </a:lnTo>
                  <a:lnTo>
                    <a:pt x="704" y="1328"/>
                  </a:lnTo>
                  <a:lnTo>
                    <a:pt x="696" y="1328"/>
                  </a:lnTo>
                  <a:lnTo>
                    <a:pt x="686" y="1330"/>
                  </a:lnTo>
                  <a:lnTo>
                    <a:pt x="678" y="1334"/>
                  </a:lnTo>
                  <a:lnTo>
                    <a:pt x="676" y="1336"/>
                  </a:lnTo>
                  <a:lnTo>
                    <a:pt x="678" y="1336"/>
                  </a:lnTo>
                  <a:lnTo>
                    <a:pt x="682" y="1338"/>
                  </a:lnTo>
                  <a:lnTo>
                    <a:pt x="694" y="1340"/>
                  </a:lnTo>
                  <a:lnTo>
                    <a:pt x="698" y="1342"/>
                  </a:lnTo>
                  <a:lnTo>
                    <a:pt x="702" y="1344"/>
                  </a:lnTo>
                  <a:lnTo>
                    <a:pt x="704" y="1348"/>
                  </a:lnTo>
                  <a:lnTo>
                    <a:pt x="700" y="1346"/>
                  </a:lnTo>
                  <a:lnTo>
                    <a:pt x="696" y="1344"/>
                  </a:lnTo>
                  <a:lnTo>
                    <a:pt x="692" y="1344"/>
                  </a:lnTo>
                  <a:lnTo>
                    <a:pt x="684" y="1344"/>
                  </a:lnTo>
                  <a:lnTo>
                    <a:pt x="676" y="1346"/>
                  </a:lnTo>
                  <a:lnTo>
                    <a:pt x="668" y="1350"/>
                  </a:lnTo>
                  <a:lnTo>
                    <a:pt x="664" y="1354"/>
                  </a:lnTo>
                  <a:lnTo>
                    <a:pt x="662" y="1356"/>
                  </a:lnTo>
                  <a:lnTo>
                    <a:pt x="662" y="1358"/>
                  </a:lnTo>
                  <a:lnTo>
                    <a:pt x="664" y="1358"/>
                  </a:lnTo>
                  <a:lnTo>
                    <a:pt x="658" y="1358"/>
                  </a:lnTo>
                  <a:lnTo>
                    <a:pt x="654" y="1358"/>
                  </a:lnTo>
                  <a:lnTo>
                    <a:pt x="652" y="1358"/>
                  </a:lnTo>
                  <a:lnTo>
                    <a:pt x="652" y="1360"/>
                  </a:lnTo>
                  <a:lnTo>
                    <a:pt x="654" y="1362"/>
                  </a:lnTo>
                  <a:lnTo>
                    <a:pt x="652" y="1364"/>
                  </a:lnTo>
                  <a:lnTo>
                    <a:pt x="646" y="1362"/>
                  </a:lnTo>
                  <a:lnTo>
                    <a:pt x="628" y="1360"/>
                  </a:lnTo>
                  <a:lnTo>
                    <a:pt x="628" y="1362"/>
                  </a:lnTo>
                  <a:lnTo>
                    <a:pt x="632" y="1366"/>
                  </a:lnTo>
                  <a:lnTo>
                    <a:pt x="632" y="1368"/>
                  </a:lnTo>
                  <a:lnTo>
                    <a:pt x="626" y="1370"/>
                  </a:lnTo>
                  <a:lnTo>
                    <a:pt x="622" y="1370"/>
                  </a:lnTo>
                  <a:lnTo>
                    <a:pt x="624" y="1372"/>
                  </a:lnTo>
                  <a:lnTo>
                    <a:pt x="628" y="1374"/>
                  </a:lnTo>
                  <a:lnTo>
                    <a:pt x="632" y="1376"/>
                  </a:lnTo>
                  <a:lnTo>
                    <a:pt x="644" y="1376"/>
                  </a:lnTo>
                  <a:lnTo>
                    <a:pt x="660" y="1378"/>
                  </a:lnTo>
                  <a:lnTo>
                    <a:pt x="666" y="1378"/>
                  </a:lnTo>
                  <a:lnTo>
                    <a:pt x="674" y="1382"/>
                  </a:lnTo>
                  <a:lnTo>
                    <a:pt x="682" y="1386"/>
                  </a:lnTo>
                  <a:lnTo>
                    <a:pt x="680" y="1386"/>
                  </a:lnTo>
                  <a:lnTo>
                    <a:pt x="672" y="1384"/>
                  </a:lnTo>
                  <a:lnTo>
                    <a:pt x="668" y="1384"/>
                  </a:lnTo>
                  <a:lnTo>
                    <a:pt x="664" y="1386"/>
                  </a:lnTo>
                  <a:lnTo>
                    <a:pt x="662" y="1386"/>
                  </a:lnTo>
                  <a:lnTo>
                    <a:pt x="660" y="1386"/>
                  </a:lnTo>
                  <a:lnTo>
                    <a:pt x="654" y="1382"/>
                  </a:lnTo>
                  <a:lnTo>
                    <a:pt x="648" y="1380"/>
                  </a:lnTo>
                  <a:lnTo>
                    <a:pt x="644" y="1378"/>
                  </a:lnTo>
                  <a:lnTo>
                    <a:pt x="638" y="1380"/>
                  </a:lnTo>
                  <a:lnTo>
                    <a:pt x="630" y="1384"/>
                  </a:lnTo>
                  <a:lnTo>
                    <a:pt x="624" y="1390"/>
                  </a:lnTo>
                  <a:lnTo>
                    <a:pt x="622" y="1394"/>
                  </a:lnTo>
                  <a:lnTo>
                    <a:pt x="624" y="1396"/>
                  </a:lnTo>
                  <a:lnTo>
                    <a:pt x="626" y="1398"/>
                  </a:lnTo>
                  <a:lnTo>
                    <a:pt x="632" y="1404"/>
                  </a:lnTo>
                  <a:lnTo>
                    <a:pt x="628" y="1406"/>
                  </a:lnTo>
                  <a:lnTo>
                    <a:pt x="622" y="1410"/>
                  </a:lnTo>
                  <a:lnTo>
                    <a:pt x="622" y="1412"/>
                  </a:lnTo>
                  <a:lnTo>
                    <a:pt x="624" y="1412"/>
                  </a:lnTo>
                  <a:lnTo>
                    <a:pt x="628" y="1416"/>
                  </a:lnTo>
                  <a:lnTo>
                    <a:pt x="626" y="1418"/>
                  </a:lnTo>
                  <a:lnTo>
                    <a:pt x="626" y="1420"/>
                  </a:lnTo>
                  <a:lnTo>
                    <a:pt x="624" y="1424"/>
                  </a:lnTo>
                  <a:lnTo>
                    <a:pt x="626" y="1426"/>
                  </a:lnTo>
                  <a:lnTo>
                    <a:pt x="628" y="1428"/>
                  </a:lnTo>
                  <a:lnTo>
                    <a:pt x="632" y="1430"/>
                  </a:lnTo>
                  <a:lnTo>
                    <a:pt x="636" y="1430"/>
                  </a:lnTo>
                  <a:lnTo>
                    <a:pt x="642" y="1430"/>
                  </a:lnTo>
                  <a:lnTo>
                    <a:pt x="648" y="1428"/>
                  </a:lnTo>
                  <a:lnTo>
                    <a:pt x="654" y="1424"/>
                  </a:lnTo>
                  <a:lnTo>
                    <a:pt x="660" y="1424"/>
                  </a:lnTo>
                  <a:lnTo>
                    <a:pt x="670" y="1426"/>
                  </a:lnTo>
                  <a:lnTo>
                    <a:pt x="678" y="1428"/>
                  </a:lnTo>
                  <a:lnTo>
                    <a:pt x="680" y="1426"/>
                  </a:lnTo>
                  <a:lnTo>
                    <a:pt x="684" y="1422"/>
                  </a:lnTo>
                  <a:lnTo>
                    <a:pt x="686" y="1420"/>
                  </a:lnTo>
                  <a:lnTo>
                    <a:pt x="688" y="1418"/>
                  </a:lnTo>
                  <a:lnTo>
                    <a:pt x="692" y="1420"/>
                  </a:lnTo>
                  <a:lnTo>
                    <a:pt x="700" y="1424"/>
                  </a:lnTo>
                  <a:lnTo>
                    <a:pt x="704" y="1426"/>
                  </a:lnTo>
                  <a:lnTo>
                    <a:pt x="710" y="1426"/>
                  </a:lnTo>
                  <a:lnTo>
                    <a:pt x="720" y="1424"/>
                  </a:lnTo>
                  <a:lnTo>
                    <a:pt x="726" y="1424"/>
                  </a:lnTo>
                  <a:lnTo>
                    <a:pt x="726" y="1426"/>
                  </a:lnTo>
                  <a:lnTo>
                    <a:pt x="724" y="1426"/>
                  </a:lnTo>
                  <a:lnTo>
                    <a:pt x="716" y="1430"/>
                  </a:lnTo>
                  <a:lnTo>
                    <a:pt x="710" y="1432"/>
                  </a:lnTo>
                  <a:lnTo>
                    <a:pt x="708" y="1434"/>
                  </a:lnTo>
                  <a:lnTo>
                    <a:pt x="708" y="1436"/>
                  </a:lnTo>
                  <a:lnTo>
                    <a:pt x="708" y="1438"/>
                  </a:lnTo>
                  <a:lnTo>
                    <a:pt x="708" y="1440"/>
                  </a:lnTo>
                  <a:lnTo>
                    <a:pt x="700" y="1434"/>
                  </a:lnTo>
                  <a:lnTo>
                    <a:pt x="694" y="1428"/>
                  </a:lnTo>
                  <a:lnTo>
                    <a:pt x="690" y="1428"/>
                  </a:lnTo>
                  <a:lnTo>
                    <a:pt x="688" y="1428"/>
                  </a:lnTo>
                  <a:lnTo>
                    <a:pt x="686" y="1430"/>
                  </a:lnTo>
                  <a:lnTo>
                    <a:pt x="682" y="1434"/>
                  </a:lnTo>
                  <a:lnTo>
                    <a:pt x="680" y="1434"/>
                  </a:lnTo>
                  <a:lnTo>
                    <a:pt x="676" y="1432"/>
                  </a:lnTo>
                  <a:lnTo>
                    <a:pt x="672" y="1430"/>
                  </a:lnTo>
                  <a:lnTo>
                    <a:pt x="666" y="1430"/>
                  </a:lnTo>
                  <a:lnTo>
                    <a:pt x="656" y="1432"/>
                  </a:lnTo>
                  <a:lnTo>
                    <a:pt x="646" y="1436"/>
                  </a:lnTo>
                  <a:lnTo>
                    <a:pt x="640" y="1436"/>
                  </a:lnTo>
                  <a:lnTo>
                    <a:pt x="636" y="1436"/>
                  </a:lnTo>
                  <a:lnTo>
                    <a:pt x="626" y="1434"/>
                  </a:lnTo>
                  <a:lnTo>
                    <a:pt x="624" y="1436"/>
                  </a:lnTo>
                  <a:lnTo>
                    <a:pt x="626" y="1442"/>
                  </a:lnTo>
                  <a:lnTo>
                    <a:pt x="626" y="1446"/>
                  </a:lnTo>
                  <a:lnTo>
                    <a:pt x="626" y="1448"/>
                  </a:lnTo>
                  <a:lnTo>
                    <a:pt x="632" y="1448"/>
                  </a:lnTo>
                  <a:lnTo>
                    <a:pt x="636" y="1448"/>
                  </a:lnTo>
                  <a:lnTo>
                    <a:pt x="636" y="1450"/>
                  </a:lnTo>
                  <a:lnTo>
                    <a:pt x="638" y="1454"/>
                  </a:lnTo>
                  <a:lnTo>
                    <a:pt x="636" y="1456"/>
                  </a:lnTo>
                  <a:lnTo>
                    <a:pt x="630" y="1454"/>
                  </a:lnTo>
                  <a:lnTo>
                    <a:pt x="626" y="1454"/>
                  </a:lnTo>
                  <a:lnTo>
                    <a:pt x="624" y="1454"/>
                  </a:lnTo>
                  <a:lnTo>
                    <a:pt x="626" y="1458"/>
                  </a:lnTo>
                  <a:lnTo>
                    <a:pt x="628" y="1460"/>
                  </a:lnTo>
                  <a:lnTo>
                    <a:pt x="630" y="1462"/>
                  </a:lnTo>
                  <a:lnTo>
                    <a:pt x="634" y="1462"/>
                  </a:lnTo>
                  <a:lnTo>
                    <a:pt x="638" y="1462"/>
                  </a:lnTo>
                  <a:lnTo>
                    <a:pt x="640" y="1464"/>
                  </a:lnTo>
                  <a:lnTo>
                    <a:pt x="638" y="1468"/>
                  </a:lnTo>
                  <a:lnTo>
                    <a:pt x="638" y="1472"/>
                  </a:lnTo>
                  <a:lnTo>
                    <a:pt x="636" y="1476"/>
                  </a:lnTo>
                  <a:lnTo>
                    <a:pt x="630" y="1478"/>
                  </a:lnTo>
                  <a:lnTo>
                    <a:pt x="626" y="1480"/>
                  </a:lnTo>
                  <a:lnTo>
                    <a:pt x="626" y="1482"/>
                  </a:lnTo>
                  <a:lnTo>
                    <a:pt x="636" y="1490"/>
                  </a:lnTo>
                  <a:lnTo>
                    <a:pt x="638" y="1492"/>
                  </a:lnTo>
                  <a:lnTo>
                    <a:pt x="642" y="1490"/>
                  </a:lnTo>
                  <a:lnTo>
                    <a:pt x="646" y="1488"/>
                  </a:lnTo>
                  <a:lnTo>
                    <a:pt x="648" y="1490"/>
                  </a:lnTo>
                  <a:lnTo>
                    <a:pt x="650" y="1494"/>
                  </a:lnTo>
                  <a:lnTo>
                    <a:pt x="652" y="1492"/>
                  </a:lnTo>
                  <a:lnTo>
                    <a:pt x="654" y="1492"/>
                  </a:lnTo>
                  <a:lnTo>
                    <a:pt x="654" y="1496"/>
                  </a:lnTo>
                  <a:lnTo>
                    <a:pt x="654" y="1500"/>
                  </a:lnTo>
                  <a:lnTo>
                    <a:pt x="654" y="1502"/>
                  </a:lnTo>
                  <a:lnTo>
                    <a:pt x="656" y="1502"/>
                  </a:lnTo>
                  <a:lnTo>
                    <a:pt x="658" y="1502"/>
                  </a:lnTo>
                  <a:lnTo>
                    <a:pt x="658" y="1500"/>
                  </a:lnTo>
                  <a:lnTo>
                    <a:pt x="660" y="1494"/>
                  </a:lnTo>
                  <a:lnTo>
                    <a:pt x="662" y="1488"/>
                  </a:lnTo>
                  <a:lnTo>
                    <a:pt x="662" y="1486"/>
                  </a:lnTo>
                  <a:lnTo>
                    <a:pt x="666" y="1486"/>
                  </a:lnTo>
                  <a:lnTo>
                    <a:pt x="668" y="1486"/>
                  </a:lnTo>
                  <a:lnTo>
                    <a:pt x="670" y="1488"/>
                  </a:lnTo>
                  <a:lnTo>
                    <a:pt x="666" y="1496"/>
                  </a:lnTo>
                  <a:lnTo>
                    <a:pt x="660" y="1504"/>
                  </a:lnTo>
                  <a:lnTo>
                    <a:pt x="654" y="1508"/>
                  </a:lnTo>
                  <a:lnTo>
                    <a:pt x="652" y="1510"/>
                  </a:lnTo>
                  <a:lnTo>
                    <a:pt x="650" y="1512"/>
                  </a:lnTo>
                  <a:lnTo>
                    <a:pt x="654" y="1514"/>
                  </a:lnTo>
                  <a:lnTo>
                    <a:pt x="658" y="1518"/>
                  </a:lnTo>
                  <a:lnTo>
                    <a:pt x="658" y="1520"/>
                  </a:lnTo>
                  <a:lnTo>
                    <a:pt x="656" y="1522"/>
                  </a:lnTo>
                  <a:lnTo>
                    <a:pt x="650" y="1524"/>
                  </a:lnTo>
                  <a:lnTo>
                    <a:pt x="648" y="1522"/>
                  </a:lnTo>
                  <a:lnTo>
                    <a:pt x="644" y="1522"/>
                  </a:lnTo>
                  <a:lnTo>
                    <a:pt x="636" y="1526"/>
                  </a:lnTo>
                  <a:lnTo>
                    <a:pt x="632" y="1530"/>
                  </a:lnTo>
                  <a:lnTo>
                    <a:pt x="632" y="1536"/>
                  </a:lnTo>
                  <a:lnTo>
                    <a:pt x="632" y="1540"/>
                  </a:lnTo>
                  <a:lnTo>
                    <a:pt x="634" y="1544"/>
                  </a:lnTo>
                  <a:lnTo>
                    <a:pt x="640" y="1548"/>
                  </a:lnTo>
                  <a:lnTo>
                    <a:pt x="644" y="1548"/>
                  </a:lnTo>
                  <a:lnTo>
                    <a:pt x="646" y="1548"/>
                  </a:lnTo>
                  <a:lnTo>
                    <a:pt x="646" y="1546"/>
                  </a:lnTo>
                  <a:lnTo>
                    <a:pt x="648" y="1546"/>
                  </a:lnTo>
                  <a:lnTo>
                    <a:pt x="650" y="1546"/>
                  </a:lnTo>
                  <a:lnTo>
                    <a:pt x="654" y="1548"/>
                  </a:lnTo>
                  <a:lnTo>
                    <a:pt x="656" y="1544"/>
                  </a:lnTo>
                  <a:lnTo>
                    <a:pt x="658" y="1542"/>
                  </a:lnTo>
                  <a:lnTo>
                    <a:pt x="660" y="1540"/>
                  </a:lnTo>
                  <a:lnTo>
                    <a:pt x="664" y="1542"/>
                  </a:lnTo>
                  <a:lnTo>
                    <a:pt x="666" y="1544"/>
                  </a:lnTo>
                  <a:lnTo>
                    <a:pt x="664" y="1548"/>
                  </a:lnTo>
                  <a:lnTo>
                    <a:pt x="662" y="1548"/>
                  </a:lnTo>
                  <a:lnTo>
                    <a:pt x="660" y="1550"/>
                  </a:lnTo>
                  <a:lnTo>
                    <a:pt x="660" y="1552"/>
                  </a:lnTo>
                  <a:lnTo>
                    <a:pt x="662" y="1554"/>
                  </a:lnTo>
                  <a:lnTo>
                    <a:pt x="664" y="1556"/>
                  </a:lnTo>
                  <a:lnTo>
                    <a:pt x="662" y="1558"/>
                  </a:lnTo>
                  <a:lnTo>
                    <a:pt x="660" y="1560"/>
                  </a:lnTo>
                  <a:lnTo>
                    <a:pt x="660" y="1562"/>
                  </a:lnTo>
                  <a:lnTo>
                    <a:pt x="662" y="1564"/>
                  </a:lnTo>
                  <a:lnTo>
                    <a:pt x="662" y="1568"/>
                  </a:lnTo>
                  <a:lnTo>
                    <a:pt x="658" y="1570"/>
                  </a:lnTo>
                  <a:lnTo>
                    <a:pt x="654" y="1572"/>
                  </a:lnTo>
                  <a:lnTo>
                    <a:pt x="652" y="1570"/>
                  </a:lnTo>
                  <a:lnTo>
                    <a:pt x="648" y="1568"/>
                  </a:lnTo>
                  <a:lnTo>
                    <a:pt x="646" y="1566"/>
                  </a:lnTo>
                  <a:lnTo>
                    <a:pt x="644" y="1576"/>
                  </a:lnTo>
                  <a:lnTo>
                    <a:pt x="642" y="1586"/>
                  </a:lnTo>
                  <a:lnTo>
                    <a:pt x="646" y="1592"/>
                  </a:lnTo>
                  <a:lnTo>
                    <a:pt x="652" y="1598"/>
                  </a:lnTo>
                  <a:lnTo>
                    <a:pt x="658" y="1600"/>
                  </a:lnTo>
                  <a:lnTo>
                    <a:pt x="662" y="1600"/>
                  </a:lnTo>
                  <a:lnTo>
                    <a:pt x="664" y="1604"/>
                  </a:lnTo>
                  <a:lnTo>
                    <a:pt x="668" y="1608"/>
                  </a:lnTo>
                  <a:lnTo>
                    <a:pt x="674" y="1612"/>
                  </a:lnTo>
                  <a:lnTo>
                    <a:pt x="688" y="1616"/>
                  </a:lnTo>
                  <a:lnTo>
                    <a:pt x="690" y="1618"/>
                  </a:lnTo>
                  <a:lnTo>
                    <a:pt x="688" y="1620"/>
                  </a:lnTo>
                  <a:lnTo>
                    <a:pt x="688" y="1624"/>
                  </a:lnTo>
                  <a:lnTo>
                    <a:pt x="690" y="1626"/>
                  </a:lnTo>
                  <a:lnTo>
                    <a:pt x="692" y="1628"/>
                  </a:lnTo>
                  <a:lnTo>
                    <a:pt x="694" y="1628"/>
                  </a:lnTo>
                  <a:lnTo>
                    <a:pt x="696" y="1626"/>
                  </a:lnTo>
                  <a:lnTo>
                    <a:pt x="700" y="1626"/>
                  </a:lnTo>
                  <a:lnTo>
                    <a:pt x="704" y="1630"/>
                  </a:lnTo>
                  <a:lnTo>
                    <a:pt x="706" y="1632"/>
                  </a:lnTo>
                  <a:lnTo>
                    <a:pt x="710" y="1630"/>
                  </a:lnTo>
                  <a:lnTo>
                    <a:pt x="720" y="1628"/>
                  </a:lnTo>
                  <a:lnTo>
                    <a:pt x="734" y="1628"/>
                  </a:lnTo>
                  <a:lnTo>
                    <a:pt x="746" y="1626"/>
                  </a:lnTo>
                  <a:lnTo>
                    <a:pt x="752" y="1624"/>
                  </a:lnTo>
                  <a:lnTo>
                    <a:pt x="756" y="1620"/>
                  </a:lnTo>
                  <a:lnTo>
                    <a:pt x="760" y="1618"/>
                  </a:lnTo>
                  <a:lnTo>
                    <a:pt x="766" y="1614"/>
                  </a:lnTo>
                  <a:lnTo>
                    <a:pt x="774" y="1608"/>
                  </a:lnTo>
                  <a:lnTo>
                    <a:pt x="780" y="1600"/>
                  </a:lnTo>
                  <a:lnTo>
                    <a:pt x="782" y="1596"/>
                  </a:lnTo>
                  <a:lnTo>
                    <a:pt x="784" y="1594"/>
                  </a:lnTo>
                  <a:lnTo>
                    <a:pt x="790" y="1592"/>
                  </a:lnTo>
                  <a:lnTo>
                    <a:pt x="792" y="1592"/>
                  </a:lnTo>
                  <a:lnTo>
                    <a:pt x="794" y="1588"/>
                  </a:lnTo>
                  <a:lnTo>
                    <a:pt x="794" y="1586"/>
                  </a:lnTo>
                  <a:lnTo>
                    <a:pt x="796" y="1586"/>
                  </a:lnTo>
                  <a:lnTo>
                    <a:pt x="800" y="1584"/>
                  </a:lnTo>
                  <a:lnTo>
                    <a:pt x="804" y="1582"/>
                  </a:lnTo>
                  <a:lnTo>
                    <a:pt x="800" y="1578"/>
                  </a:lnTo>
                  <a:lnTo>
                    <a:pt x="798" y="1576"/>
                  </a:lnTo>
                  <a:lnTo>
                    <a:pt x="802" y="1574"/>
                  </a:lnTo>
                  <a:lnTo>
                    <a:pt x="810" y="1572"/>
                  </a:lnTo>
                  <a:lnTo>
                    <a:pt x="812" y="1570"/>
                  </a:lnTo>
                  <a:lnTo>
                    <a:pt x="812" y="1566"/>
                  </a:lnTo>
                  <a:lnTo>
                    <a:pt x="812" y="1562"/>
                  </a:lnTo>
                  <a:lnTo>
                    <a:pt x="816" y="1564"/>
                  </a:lnTo>
                  <a:lnTo>
                    <a:pt x="820" y="1568"/>
                  </a:lnTo>
                  <a:lnTo>
                    <a:pt x="822" y="1570"/>
                  </a:lnTo>
                  <a:lnTo>
                    <a:pt x="824" y="1568"/>
                  </a:lnTo>
                  <a:lnTo>
                    <a:pt x="828" y="1566"/>
                  </a:lnTo>
                  <a:lnTo>
                    <a:pt x="834" y="1566"/>
                  </a:lnTo>
                  <a:lnTo>
                    <a:pt x="838" y="1564"/>
                  </a:lnTo>
                  <a:lnTo>
                    <a:pt x="838" y="1558"/>
                  </a:lnTo>
                  <a:lnTo>
                    <a:pt x="838" y="1554"/>
                  </a:lnTo>
                  <a:lnTo>
                    <a:pt x="840" y="1552"/>
                  </a:lnTo>
                  <a:lnTo>
                    <a:pt x="844" y="1550"/>
                  </a:lnTo>
                  <a:lnTo>
                    <a:pt x="846" y="1548"/>
                  </a:lnTo>
                  <a:lnTo>
                    <a:pt x="842" y="1540"/>
                  </a:lnTo>
                  <a:lnTo>
                    <a:pt x="840" y="1536"/>
                  </a:lnTo>
                  <a:lnTo>
                    <a:pt x="838" y="1532"/>
                  </a:lnTo>
                  <a:lnTo>
                    <a:pt x="840" y="1528"/>
                  </a:lnTo>
                  <a:lnTo>
                    <a:pt x="844" y="1532"/>
                  </a:lnTo>
                  <a:lnTo>
                    <a:pt x="846" y="1534"/>
                  </a:lnTo>
                  <a:lnTo>
                    <a:pt x="848" y="1534"/>
                  </a:lnTo>
                  <a:lnTo>
                    <a:pt x="850" y="1530"/>
                  </a:lnTo>
                  <a:lnTo>
                    <a:pt x="850" y="1528"/>
                  </a:lnTo>
                  <a:lnTo>
                    <a:pt x="852" y="1530"/>
                  </a:lnTo>
                  <a:lnTo>
                    <a:pt x="852" y="1536"/>
                  </a:lnTo>
                  <a:lnTo>
                    <a:pt x="850" y="1538"/>
                  </a:lnTo>
                  <a:lnTo>
                    <a:pt x="850" y="1540"/>
                  </a:lnTo>
                  <a:lnTo>
                    <a:pt x="852" y="1542"/>
                  </a:lnTo>
                  <a:lnTo>
                    <a:pt x="854" y="1548"/>
                  </a:lnTo>
                  <a:lnTo>
                    <a:pt x="854" y="1552"/>
                  </a:lnTo>
                  <a:lnTo>
                    <a:pt x="856" y="1554"/>
                  </a:lnTo>
                  <a:lnTo>
                    <a:pt x="862" y="1556"/>
                  </a:lnTo>
                  <a:lnTo>
                    <a:pt x="866" y="1556"/>
                  </a:lnTo>
                  <a:lnTo>
                    <a:pt x="866" y="1558"/>
                  </a:lnTo>
                  <a:lnTo>
                    <a:pt x="868" y="1558"/>
                  </a:lnTo>
                  <a:lnTo>
                    <a:pt x="876" y="1560"/>
                  </a:lnTo>
                  <a:lnTo>
                    <a:pt x="874" y="1564"/>
                  </a:lnTo>
                  <a:lnTo>
                    <a:pt x="872" y="1566"/>
                  </a:lnTo>
                  <a:lnTo>
                    <a:pt x="872" y="1570"/>
                  </a:lnTo>
                  <a:lnTo>
                    <a:pt x="874" y="1576"/>
                  </a:lnTo>
                  <a:lnTo>
                    <a:pt x="876" y="1584"/>
                  </a:lnTo>
                  <a:lnTo>
                    <a:pt x="876" y="1594"/>
                  </a:lnTo>
                  <a:lnTo>
                    <a:pt x="876" y="1602"/>
                  </a:lnTo>
                  <a:lnTo>
                    <a:pt x="876" y="1608"/>
                  </a:lnTo>
                  <a:lnTo>
                    <a:pt x="878" y="1612"/>
                  </a:lnTo>
                  <a:lnTo>
                    <a:pt x="882" y="1616"/>
                  </a:lnTo>
                  <a:lnTo>
                    <a:pt x="886" y="1616"/>
                  </a:lnTo>
                  <a:lnTo>
                    <a:pt x="890" y="1614"/>
                  </a:lnTo>
                  <a:lnTo>
                    <a:pt x="896" y="1610"/>
                  </a:lnTo>
                  <a:lnTo>
                    <a:pt x="898" y="1612"/>
                  </a:lnTo>
                  <a:lnTo>
                    <a:pt x="900" y="1614"/>
                  </a:lnTo>
                  <a:lnTo>
                    <a:pt x="902" y="1618"/>
                  </a:lnTo>
                  <a:lnTo>
                    <a:pt x="902" y="1622"/>
                  </a:lnTo>
                  <a:lnTo>
                    <a:pt x="900" y="1628"/>
                  </a:lnTo>
                  <a:lnTo>
                    <a:pt x="896" y="1638"/>
                  </a:lnTo>
                  <a:lnTo>
                    <a:pt x="898" y="1644"/>
                  </a:lnTo>
                  <a:lnTo>
                    <a:pt x="900" y="1652"/>
                  </a:lnTo>
                  <a:lnTo>
                    <a:pt x="906" y="1672"/>
                  </a:lnTo>
                  <a:lnTo>
                    <a:pt x="916" y="1694"/>
                  </a:lnTo>
                  <a:lnTo>
                    <a:pt x="928" y="1710"/>
                  </a:lnTo>
                  <a:lnTo>
                    <a:pt x="932" y="1716"/>
                  </a:lnTo>
                  <a:lnTo>
                    <a:pt x="936" y="1716"/>
                  </a:lnTo>
                  <a:lnTo>
                    <a:pt x="942" y="1716"/>
                  </a:lnTo>
                  <a:lnTo>
                    <a:pt x="944" y="1718"/>
                  </a:lnTo>
                  <a:lnTo>
                    <a:pt x="944" y="1720"/>
                  </a:lnTo>
                  <a:lnTo>
                    <a:pt x="942" y="1726"/>
                  </a:lnTo>
                  <a:lnTo>
                    <a:pt x="934" y="1728"/>
                  </a:lnTo>
                  <a:lnTo>
                    <a:pt x="932" y="1730"/>
                  </a:lnTo>
                  <a:lnTo>
                    <a:pt x="934" y="1732"/>
                  </a:lnTo>
                  <a:lnTo>
                    <a:pt x="936" y="1738"/>
                  </a:lnTo>
                  <a:lnTo>
                    <a:pt x="938" y="1742"/>
                  </a:lnTo>
                  <a:lnTo>
                    <a:pt x="932" y="1740"/>
                  </a:lnTo>
                  <a:lnTo>
                    <a:pt x="926" y="1740"/>
                  </a:lnTo>
                  <a:lnTo>
                    <a:pt x="934" y="1752"/>
                  </a:lnTo>
                  <a:lnTo>
                    <a:pt x="940" y="1760"/>
                  </a:lnTo>
                  <a:lnTo>
                    <a:pt x="944" y="1768"/>
                  </a:lnTo>
                  <a:lnTo>
                    <a:pt x="946" y="1778"/>
                  </a:lnTo>
                  <a:lnTo>
                    <a:pt x="946" y="1782"/>
                  </a:lnTo>
                  <a:lnTo>
                    <a:pt x="944" y="1786"/>
                  </a:lnTo>
                  <a:lnTo>
                    <a:pt x="940" y="1792"/>
                  </a:lnTo>
                  <a:lnTo>
                    <a:pt x="942" y="1796"/>
                  </a:lnTo>
                  <a:lnTo>
                    <a:pt x="946" y="1798"/>
                  </a:lnTo>
                  <a:lnTo>
                    <a:pt x="954" y="1798"/>
                  </a:lnTo>
                  <a:lnTo>
                    <a:pt x="972" y="1796"/>
                  </a:lnTo>
                  <a:lnTo>
                    <a:pt x="982" y="1794"/>
                  </a:lnTo>
                  <a:lnTo>
                    <a:pt x="990" y="1794"/>
                  </a:lnTo>
                  <a:lnTo>
                    <a:pt x="996" y="1794"/>
                  </a:lnTo>
                  <a:lnTo>
                    <a:pt x="998" y="1788"/>
                  </a:lnTo>
                  <a:lnTo>
                    <a:pt x="1000" y="1774"/>
                  </a:lnTo>
                  <a:lnTo>
                    <a:pt x="1000" y="1768"/>
                  </a:lnTo>
                  <a:lnTo>
                    <a:pt x="1002" y="1760"/>
                  </a:lnTo>
                  <a:lnTo>
                    <a:pt x="1004" y="1756"/>
                  </a:lnTo>
                  <a:lnTo>
                    <a:pt x="1010" y="1756"/>
                  </a:lnTo>
                  <a:lnTo>
                    <a:pt x="1018" y="1756"/>
                  </a:lnTo>
                  <a:lnTo>
                    <a:pt x="1018" y="1754"/>
                  </a:lnTo>
                  <a:lnTo>
                    <a:pt x="1018" y="1752"/>
                  </a:lnTo>
                  <a:lnTo>
                    <a:pt x="1020" y="1750"/>
                  </a:lnTo>
                  <a:lnTo>
                    <a:pt x="1024" y="1748"/>
                  </a:lnTo>
                  <a:lnTo>
                    <a:pt x="1034" y="1746"/>
                  </a:lnTo>
                  <a:lnTo>
                    <a:pt x="1042" y="1746"/>
                  </a:lnTo>
                  <a:lnTo>
                    <a:pt x="1050" y="1746"/>
                  </a:lnTo>
                  <a:lnTo>
                    <a:pt x="1058" y="1750"/>
                  </a:lnTo>
                  <a:lnTo>
                    <a:pt x="1062" y="1750"/>
                  </a:lnTo>
                  <a:lnTo>
                    <a:pt x="1064" y="1750"/>
                  </a:lnTo>
                  <a:lnTo>
                    <a:pt x="1070" y="1736"/>
                  </a:lnTo>
                  <a:lnTo>
                    <a:pt x="1076" y="1720"/>
                  </a:lnTo>
                  <a:lnTo>
                    <a:pt x="1082" y="1708"/>
                  </a:lnTo>
                  <a:lnTo>
                    <a:pt x="1086" y="1700"/>
                  </a:lnTo>
                  <a:lnTo>
                    <a:pt x="1088" y="1692"/>
                  </a:lnTo>
                  <a:lnTo>
                    <a:pt x="1088" y="1684"/>
                  </a:lnTo>
                  <a:lnTo>
                    <a:pt x="1090" y="1676"/>
                  </a:lnTo>
                  <a:lnTo>
                    <a:pt x="1092" y="1666"/>
                  </a:lnTo>
                  <a:lnTo>
                    <a:pt x="1092" y="1658"/>
                  </a:lnTo>
                  <a:lnTo>
                    <a:pt x="1090" y="1654"/>
                  </a:lnTo>
                  <a:lnTo>
                    <a:pt x="1092" y="1650"/>
                  </a:lnTo>
                  <a:lnTo>
                    <a:pt x="1094" y="1644"/>
                  </a:lnTo>
                  <a:lnTo>
                    <a:pt x="1098" y="1638"/>
                  </a:lnTo>
                  <a:lnTo>
                    <a:pt x="1098" y="1634"/>
                  </a:lnTo>
                  <a:lnTo>
                    <a:pt x="1098" y="1632"/>
                  </a:lnTo>
                  <a:lnTo>
                    <a:pt x="1096" y="1626"/>
                  </a:lnTo>
                  <a:lnTo>
                    <a:pt x="1098" y="1622"/>
                  </a:lnTo>
                  <a:lnTo>
                    <a:pt x="1100" y="1618"/>
                  </a:lnTo>
                  <a:lnTo>
                    <a:pt x="1098" y="1610"/>
                  </a:lnTo>
                  <a:lnTo>
                    <a:pt x="1096" y="1606"/>
                  </a:lnTo>
                  <a:lnTo>
                    <a:pt x="1096" y="1604"/>
                  </a:lnTo>
                  <a:lnTo>
                    <a:pt x="1098" y="1604"/>
                  </a:lnTo>
                  <a:lnTo>
                    <a:pt x="1100" y="1602"/>
                  </a:lnTo>
                  <a:lnTo>
                    <a:pt x="1102" y="1600"/>
                  </a:lnTo>
                  <a:lnTo>
                    <a:pt x="1100" y="1598"/>
                  </a:lnTo>
                  <a:lnTo>
                    <a:pt x="1100" y="1596"/>
                  </a:lnTo>
                  <a:lnTo>
                    <a:pt x="1102" y="1592"/>
                  </a:lnTo>
                  <a:lnTo>
                    <a:pt x="1112" y="1588"/>
                  </a:lnTo>
                  <a:lnTo>
                    <a:pt x="1124" y="1582"/>
                  </a:lnTo>
                  <a:lnTo>
                    <a:pt x="1130" y="1578"/>
                  </a:lnTo>
                  <a:lnTo>
                    <a:pt x="1132" y="1574"/>
                  </a:lnTo>
                  <a:lnTo>
                    <a:pt x="1134" y="1570"/>
                  </a:lnTo>
                  <a:lnTo>
                    <a:pt x="1134" y="1568"/>
                  </a:lnTo>
                  <a:lnTo>
                    <a:pt x="1138" y="1572"/>
                  </a:lnTo>
                  <a:lnTo>
                    <a:pt x="1142" y="1576"/>
                  </a:lnTo>
                  <a:lnTo>
                    <a:pt x="1144" y="1574"/>
                  </a:lnTo>
                  <a:lnTo>
                    <a:pt x="1146" y="1572"/>
                  </a:lnTo>
                  <a:lnTo>
                    <a:pt x="1152" y="1566"/>
                  </a:lnTo>
                  <a:lnTo>
                    <a:pt x="1158" y="1562"/>
                  </a:lnTo>
                  <a:lnTo>
                    <a:pt x="1164" y="1560"/>
                  </a:lnTo>
                  <a:lnTo>
                    <a:pt x="1164" y="1558"/>
                  </a:lnTo>
                  <a:lnTo>
                    <a:pt x="1164" y="1556"/>
                  </a:lnTo>
                  <a:lnTo>
                    <a:pt x="1166" y="1554"/>
                  </a:lnTo>
                  <a:lnTo>
                    <a:pt x="1170" y="1552"/>
                  </a:lnTo>
                  <a:lnTo>
                    <a:pt x="1172" y="1550"/>
                  </a:lnTo>
                  <a:lnTo>
                    <a:pt x="1172" y="1548"/>
                  </a:lnTo>
                  <a:lnTo>
                    <a:pt x="1172" y="1546"/>
                  </a:lnTo>
                  <a:lnTo>
                    <a:pt x="1170" y="1542"/>
                  </a:lnTo>
                  <a:lnTo>
                    <a:pt x="1168" y="1540"/>
                  </a:lnTo>
                  <a:lnTo>
                    <a:pt x="1164" y="1540"/>
                  </a:lnTo>
                  <a:lnTo>
                    <a:pt x="1152" y="1546"/>
                  </a:lnTo>
                  <a:lnTo>
                    <a:pt x="1144" y="1550"/>
                  </a:lnTo>
                  <a:lnTo>
                    <a:pt x="1136" y="1550"/>
                  </a:lnTo>
                  <a:lnTo>
                    <a:pt x="1128" y="1550"/>
                  </a:lnTo>
                  <a:lnTo>
                    <a:pt x="1122" y="1546"/>
                  </a:lnTo>
                  <a:lnTo>
                    <a:pt x="1112" y="1540"/>
                  </a:lnTo>
                  <a:lnTo>
                    <a:pt x="1104" y="1538"/>
                  </a:lnTo>
                  <a:lnTo>
                    <a:pt x="1094" y="1538"/>
                  </a:lnTo>
                  <a:lnTo>
                    <a:pt x="1086" y="1538"/>
                  </a:lnTo>
                  <a:lnTo>
                    <a:pt x="1076" y="1538"/>
                  </a:lnTo>
                  <a:lnTo>
                    <a:pt x="1084" y="1534"/>
                  </a:lnTo>
                  <a:lnTo>
                    <a:pt x="1092" y="1530"/>
                  </a:lnTo>
                  <a:lnTo>
                    <a:pt x="1098" y="1530"/>
                  </a:lnTo>
                  <a:lnTo>
                    <a:pt x="1110" y="1530"/>
                  </a:lnTo>
                  <a:lnTo>
                    <a:pt x="1118" y="1534"/>
                  </a:lnTo>
                  <a:lnTo>
                    <a:pt x="1122" y="1534"/>
                  </a:lnTo>
                  <a:lnTo>
                    <a:pt x="1124" y="1532"/>
                  </a:lnTo>
                  <a:lnTo>
                    <a:pt x="1126" y="1532"/>
                  </a:lnTo>
                  <a:lnTo>
                    <a:pt x="1128" y="1532"/>
                  </a:lnTo>
                  <a:lnTo>
                    <a:pt x="1134" y="1538"/>
                  </a:lnTo>
                  <a:lnTo>
                    <a:pt x="1142" y="1544"/>
                  </a:lnTo>
                  <a:lnTo>
                    <a:pt x="1146" y="1544"/>
                  </a:lnTo>
                  <a:lnTo>
                    <a:pt x="1150" y="1542"/>
                  </a:lnTo>
                  <a:lnTo>
                    <a:pt x="1178" y="1528"/>
                  </a:lnTo>
                  <a:lnTo>
                    <a:pt x="1190" y="1518"/>
                  </a:lnTo>
                  <a:lnTo>
                    <a:pt x="1192" y="1516"/>
                  </a:lnTo>
                  <a:lnTo>
                    <a:pt x="1192" y="1512"/>
                  </a:lnTo>
                  <a:lnTo>
                    <a:pt x="1184" y="1500"/>
                  </a:lnTo>
                  <a:lnTo>
                    <a:pt x="1178" y="1496"/>
                  </a:lnTo>
                  <a:lnTo>
                    <a:pt x="1172" y="1496"/>
                  </a:lnTo>
                  <a:lnTo>
                    <a:pt x="1168" y="1496"/>
                  </a:lnTo>
                  <a:lnTo>
                    <a:pt x="1168" y="1494"/>
                  </a:lnTo>
                  <a:lnTo>
                    <a:pt x="1168" y="1490"/>
                  </a:lnTo>
                  <a:lnTo>
                    <a:pt x="1170" y="1484"/>
                  </a:lnTo>
                  <a:lnTo>
                    <a:pt x="1168" y="1482"/>
                  </a:lnTo>
                  <a:lnTo>
                    <a:pt x="1164" y="1480"/>
                  </a:lnTo>
                  <a:lnTo>
                    <a:pt x="1158" y="1476"/>
                  </a:lnTo>
                  <a:lnTo>
                    <a:pt x="1154" y="1472"/>
                  </a:lnTo>
                  <a:lnTo>
                    <a:pt x="1148" y="1468"/>
                  </a:lnTo>
                  <a:lnTo>
                    <a:pt x="1144" y="1466"/>
                  </a:lnTo>
                  <a:lnTo>
                    <a:pt x="1138" y="1468"/>
                  </a:lnTo>
                  <a:lnTo>
                    <a:pt x="1132" y="1468"/>
                  </a:lnTo>
                  <a:lnTo>
                    <a:pt x="1132" y="1466"/>
                  </a:lnTo>
                  <a:lnTo>
                    <a:pt x="1132" y="1462"/>
                  </a:lnTo>
                  <a:lnTo>
                    <a:pt x="1130" y="1462"/>
                  </a:lnTo>
                  <a:lnTo>
                    <a:pt x="1126" y="1460"/>
                  </a:lnTo>
                  <a:lnTo>
                    <a:pt x="1124" y="1460"/>
                  </a:lnTo>
                  <a:lnTo>
                    <a:pt x="1122" y="1458"/>
                  </a:lnTo>
                  <a:lnTo>
                    <a:pt x="1118" y="1450"/>
                  </a:lnTo>
                  <a:lnTo>
                    <a:pt x="1116" y="1440"/>
                  </a:lnTo>
                  <a:lnTo>
                    <a:pt x="1116" y="1428"/>
                  </a:lnTo>
                  <a:lnTo>
                    <a:pt x="1116" y="1416"/>
                  </a:lnTo>
                  <a:lnTo>
                    <a:pt x="1116" y="1406"/>
                  </a:lnTo>
                  <a:lnTo>
                    <a:pt x="1120" y="1398"/>
                  </a:lnTo>
                  <a:lnTo>
                    <a:pt x="1120" y="1396"/>
                  </a:lnTo>
                  <a:lnTo>
                    <a:pt x="1124" y="1396"/>
                  </a:lnTo>
                  <a:lnTo>
                    <a:pt x="1126" y="1394"/>
                  </a:lnTo>
                  <a:lnTo>
                    <a:pt x="1128" y="1392"/>
                  </a:lnTo>
                  <a:lnTo>
                    <a:pt x="1126" y="1386"/>
                  </a:lnTo>
                  <a:lnTo>
                    <a:pt x="1126" y="1374"/>
                  </a:lnTo>
                  <a:lnTo>
                    <a:pt x="1126" y="1368"/>
                  </a:lnTo>
                  <a:lnTo>
                    <a:pt x="1128" y="1360"/>
                  </a:lnTo>
                  <a:lnTo>
                    <a:pt x="1132" y="1356"/>
                  </a:lnTo>
                  <a:lnTo>
                    <a:pt x="1132" y="1352"/>
                  </a:lnTo>
                  <a:lnTo>
                    <a:pt x="1130" y="1352"/>
                  </a:lnTo>
                  <a:lnTo>
                    <a:pt x="1128" y="1350"/>
                  </a:lnTo>
                  <a:lnTo>
                    <a:pt x="1124" y="1350"/>
                  </a:lnTo>
                  <a:lnTo>
                    <a:pt x="1122" y="1348"/>
                  </a:lnTo>
                  <a:lnTo>
                    <a:pt x="1122" y="1342"/>
                  </a:lnTo>
                  <a:lnTo>
                    <a:pt x="1122" y="1336"/>
                  </a:lnTo>
                  <a:lnTo>
                    <a:pt x="1124" y="1338"/>
                  </a:lnTo>
                  <a:lnTo>
                    <a:pt x="1130" y="1340"/>
                  </a:lnTo>
                  <a:lnTo>
                    <a:pt x="1136" y="1340"/>
                  </a:lnTo>
                  <a:lnTo>
                    <a:pt x="1142" y="1338"/>
                  </a:lnTo>
                  <a:lnTo>
                    <a:pt x="1148" y="1334"/>
                  </a:lnTo>
                  <a:lnTo>
                    <a:pt x="1148" y="1332"/>
                  </a:lnTo>
                  <a:lnTo>
                    <a:pt x="1148" y="1330"/>
                  </a:lnTo>
                  <a:lnTo>
                    <a:pt x="1146" y="1326"/>
                  </a:lnTo>
                  <a:lnTo>
                    <a:pt x="1144" y="1324"/>
                  </a:lnTo>
                  <a:lnTo>
                    <a:pt x="1142" y="1322"/>
                  </a:lnTo>
                  <a:lnTo>
                    <a:pt x="1144" y="1322"/>
                  </a:lnTo>
                  <a:lnTo>
                    <a:pt x="1152" y="1320"/>
                  </a:lnTo>
                  <a:lnTo>
                    <a:pt x="1160" y="1318"/>
                  </a:lnTo>
                  <a:lnTo>
                    <a:pt x="1166" y="1312"/>
                  </a:lnTo>
                  <a:lnTo>
                    <a:pt x="1170" y="1308"/>
                  </a:lnTo>
                  <a:lnTo>
                    <a:pt x="1172" y="1302"/>
                  </a:lnTo>
                  <a:lnTo>
                    <a:pt x="1178" y="1294"/>
                  </a:lnTo>
                  <a:lnTo>
                    <a:pt x="1180" y="1292"/>
                  </a:lnTo>
                  <a:lnTo>
                    <a:pt x="1186" y="1292"/>
                  </a:lnTo>
                  <a:lnTo>
                    <a:pt x="1190" y="1294"/>
                  </a:lnTo>
                  <a:lnTo>
                    <a:pt x="1194" y="1292"/>
                  </a:lnTo>
                  <a:lnTo>
                    <a:pt x="1196" y="1286"/>
                  </a:lnTo>
                  <a:lnTo>
                    <a:pt x="1200" y="1278"/>
                  </a:lnTo>
                  <a:lnTo>
                    <a:pt x="1204" y="1274"/>
                  </a:lnTo>
                  <a:lnTo>
                    <a:pt x="1208" y="1274"/>
                  </a:lnTo>
                  <a:lnTo>
                    <a:pt x="1214" y="1274"/>
                  </a:lnTo>
                  <a:lnTo>
                    <a:pt x="1218" y="1274"/>
                  </a:lnTo>
                  <a:lnTo>
                    <a:pt x="1222" y="1268"/>
                  </a:lnTo>
                  <a:lnTo>
                    <a:pt x="1226" y="1264"/>
                  </a:lnTo>
                  <a:lnTo>
                    <a:pt x="1228" y="1264"/>
                  </a:lnTo>
                  <a:lnTo>
                    <a:pt x="1232" y="1264"/>
                  </a:lnTo>
                  <a:lnTo>
                    <a:pt x="1236" y="1264"/>
                  </a:lnTo>
                  <a:lnTo>
                    <a:pt x="1238" y="1264"/>
                  </a:lnTo>
                  <a:lnTo>
                    <a:pt x="1240" y="1260"/>
                  </a:lnTo>
                  <a:lnTo>
                    <a:pt x="1244" y="1254"/>
                  </a:lnTo>
                  <a:lnTo>
                    <a:pt x="1246" y="1254"/>
                  </a:lnTo>
                  <a:lnTo>
                    <a:pt x="1250" y="1254"/>
                  </a:lnTo>
                  <a:lnTo>
                    <a:pt x="1254" y="1252"/>
                  </a:lnTo>
                  <a:lnTo>
                    <a:pt x="1258" y="1250"/>
                  </a:lnTo>
                  <a:lnTo>
                    <a:pt x="1262" y="1240"/>
                  </a:lnTo>
                  <a:lnTo>
                    <a:pt x="1268" y="1226"/>
                  </a:lnTo>
                  <a:lnTo>
                    <a:pt x="1274" y="1220"/>
                  </a:lnTo>
                  <a:lnTo>
                    <a:pt x="1284" y="1214"/>
                  </a:lnTo>
                  <a:lnTo>
                    <a:pt x="1290" y="1208"/>
                  </a:lnTo>
                  <a:lnTo>
                    <a:pt x="1292" y="1206"/>
                  </a:lnTo>
                  <a:lnTo>
                    <a:pt x="1292" y="1204"/>
                  </a:lnTo>
                  <a:lnTo>
                    <a:pt x="1290" y="1202"/>
                  </a:lnTo>
                  <a:lnTo>
                    <a:pt x="1284" y="1198"/>
                  </a:lnTo>
                  <a:lnTo>
                    <a:pt x="1280" y="1194"/>
                  </a:lnTo>
                  <a:lnTo>
                    <a:pt x="1276" y="1190"/>
                  </a:lnTo>
                  <a:lnTo>
                    <a:pt x="1276" y="1184"/>
                  </a:lnTo>
                  <a:lnTo>
                    <a:pt x="1276" y="1180"/>
                  </a:lnTo>
                  <a:lnTo>
                    <a:pt x="1282" y="1174"/>
                  </a:lnTo>
                  <a:lnTo>
                    <a:pt x="1288" y="1168"/>
                  </a:lnTo>
                  <a:lnTo>
                    <a:pt x="1290" y="1164"/>
                  </a:lnTo>
                  <a:lnTo>
                    <a:pt x="1292" y="1156"/>
                  </a:lnTo>
                  <a:lnTo>
                    <a:pt x="1292" y="1150"/>
                  </a:lnTo>
                  <a:lnTo>
                    <a:pt x="1294" y="1146"/>
                  </a:lnTo>
                  <a:lnTo>
                    <a:pt x="1298" y="1144"/>
                  </a:lnTo>
                  <a:lnTo>
                    <a:pt x="1300" y="1144"/>
                  </a:lnTo>
                  <a:lnTo>
                    <a:pt x="1306" y="1142"/>
                  </a:lnTo>
                  <a:lnTo>
                    <a:pt x="1310" y="1140"/>
                  </a:lnTo>
                  <a:lnTo>
                    <a:pt x="1310" y="1138"/>
                  </a:lnTo>
                  <a:lnTo>
                    <a:pt x="1314" y="1132"/>
                  </a:lnTo>
                  <a:lnTo>
                    <a:pt x="1320" y="1126"/>
                  </a:lnTo>
                  <a:lnTo>
                    <a:pt x="1338" y="1114"/>
                  </a:lnTo>
                  <a:lnTo>
                    <a:pt x="1340" y="1112"/>
                  </a:lnTo>
                  <a:lnTo>
                    <a:pt x="1344" y="1112"/>
                  </a:lnTo>
                  <a:lnTo>
                    <a:pt x="1346" y="1116"/>
                  </a:lnTo>
                  <a:lnTo>
                    <a:pt x="1348" y="1118"/>
                  </a:lnTo>
                  <a:lnTo>
                    <a:pt x="1350" y="1120"/>
                  </a:lnTo>
                  <a:lnTo>
                    <a:pt x="1354" y="1120"/>
                  </a:lnTo>
                  <a:lnTo>
                    <a:pt x="1358" y="1118"/>
                  </a:lnTo>
                  <a:lnTo>
                    <a:pt x="1364" y="1116"/>
                  </a:lnTo>
                  <a:lnTo>
                    <a:pt x="1368" y="1116"/>
                  </a:lnTo>
                  <a:lnTo>
                    <a:pt x="1378" y="1116"/>
                  </a:lnTo>
                  <a:lnTo>
                    <a:pt x="1386" y="1116"/>
                  </a:lnTo>
                  <a:lnTo>
                    <a:pt x="1392" y="1116"/>
                  </a:lnTo>
                  <a:lnTo>
                    <a:pt x="1396" y="1114"/>
                  </a:lnTo>
                  <a:lnTo>
                    <a:pt x="1408" y="1116"/>
                  </a:lnTo>
                  <a:lnTo>
                    <a:pt x="1414" y="1120"/>
                  </a:lnTo>
                  <a:lnTo>
                    <a:pt x="1418" y="1124"/>
                  </a:lnTo>
                  <a:lnTo>
                    <a:pt x="1428" y="1126"/>
                  </a:lnTo>
                  <a:lnTo>
                    <a:pt x="1438" y="1130"/>
                  </a:lnTo>
                  <a:lnTo>
                    <a:pt x="1440" y="1134"/>
                  </a:lnTo>
                  <a:lnTo>
                    <a:pt x="1442" y="1136"/>
                  </a:lnTo>
                  <a:lnTo>
                    <a:pt x="1442" y="1144"/>
                  </a:lnTo>
                  <a:lnTo>
                    <a:pt x="1440" y="1154"/>
                  </a:lnTo>
                  <a:lnTo>
                    <a:pt x="1440" y="1162"/>
                  </a:lnTo>
                  <a:lnTo>
                    <a:pt x="1442" y="1166"/>
                  </a:lnTo>
                  <a:lnTo>
                    <a:pt x="1446" y="1168"/>
                  </a:lnTo>
                  <a:lnTo>
                    <a:pt x="1444" y="1174"/>
                  </a:lnTo>
                  <a:lnTo>
                    <a:pt x="1442" y="1176"/>
                  </a:lnTo>
                  <a:lnTo>
                    <a:pt x="1440" y="1176"/>
                  </a:lnTo>
                  <a:lnTo>
                    <a:pt x="1434" y="1176"/>
                  </a:lnTo>
                  <a:lnTo>
                    <a:pt x="1422" y="1178"/>
                  </a:lnTo>
                  <a:lnTo>
                    <a:pt x="1416" y="1180"/>
                  </a:lnTo>
                  <a:lnTo>
                    <a:pt x="1412" y="1184"/>
                  </a:lnTo>
                  <a:lnTo>
                    <a:pt x="1406" y="1196"/>
                  </a:lnTo>
                  <a:lnTo>
                    <a:pt x="1398" y="1208"/>
                  </a:lnTo>
                  <a:lnTo>
                    <a:pt x="1390" y="1216"/>
                  </a:lnTo>
                  <a:lnTo>
                    <a:pt x="1382" y="1222"/>
                  </a:lnTo>
                  <a:lnTo>
                    <a:pt x="1372" y="1228"/>
                  </a:lnTo>
                  <a:lnTo>
                    <a:pt x="1368" y="1232"/>
                  </a:lnTo>
                  <a:lnTo>
                    <a:pt x="1366" y="1236"/>
                  </a:lnTo>
                  <a:lnTo>
                    <a:pt x="1366" y="1238"/>
                  </a:lnTo>
                  <a:lnTo>
                    <a:pt x="1366" y="1242"/>
                  </a:lnTo>
                  <a:lnTo>
                    <a:pt x="1358" y="1244"/>
                  </a:lnTo>
                  <a:lnTo>
                    <a:pt x="1354" y="1246"/>
                  </a:lnTo>
                  <a:lnTo>
                    <a:pt x="1350" y="1248"/>
                  </a:lnTo>
                  <a:lnTo>
                    <a:pt x="1346" y="1254"/>
                  </a:lnTo>
                  <a:lnTo>
                    <a:pt x="1344" y="1258"/>
                  </a:lnTo>
                  <a:lnTo>
                    <a:pt x="1342" y="1260"/>
                  </a:lnTo>
                  <a:lnTo>
                    <a:pt x="1338" y="1260"/>
                  </a:lnTo>
                  <a:lnTo>
                    <a:pt x="1334" y="1260"/>
                  </a:lnTo>
                  <a:lnTo>
                    <a:pt x="1332" y="1260"/>
                  </a:lnTo>
                  <a:lnTo>
                    <a:pt x="1328" y="1264"/>
                  </a:lnTo>
                  <a:lnTo>
                    <a:pt x="1326" y="1268"/>
                  </a:lnTo>
                  <a:lnTo>
                    <a:pt x="1324" y="1270"/>
                  </a:lnTo>
                  <a:lnTo>
                    <a:pt x="1322" y="1270"/>
                  </a:lnTo>
                  <a:lnTo>
                    <a:pt x="1320" y="1272"/>
                  </a:lnTo>
                  <a:lnTo>
                    <a:pt x="1318" y="1272"/>
                  </a:lnTo>
                  <a:lnTo>
                    <a:pt x="1318" y="1278"/>
                  </a:lnTo>
                  <a:lnTo>
                    <a:pt x="1318" y="1286"/>
                  </a:lnTo>
                  <a:lnTo>
                    <a:pt x="1318" y="1288"/>
                  </a:lnTo>
                  <a:lnTo>
                    <a:pt x="1314" y="1292"/>
                  </a:lnTo>
                  <a:lnTo>
                    <a:pt x="1310" y="1294"/>
                  </a:lnTo>
                  <a:lnTo>
                    <a:pt x="1308" y="1294"/>
                  </a:lnTo>
                  <a:lnTo>
                    <a:pt x="1300" y="1292"/>
                  </a:lnTo>
                  <a:lnTo>
                    <a:pt x="1294" y="1290"/>
                  </a:lnTo>
                  <a:lnTo>
                    <a:pt x="1292" y="1292"/>
                  </a:lnTo>
                  <a:lnTo>
                    <a:pt x="1290" y="1296"/>
                  </a:lnTo>
                  <a:lnTo>
                    <a:pt x="1290" y="1300"/>
                  </a:lnTo>
                  <a:lnTo>
                    <a:pt x="1286" y="1304"/>
                  </a:lnTo>
                  <a:lnTo>
                    <a:pt x="1278" y="1314"/>
                  </a:lnTo>
                  <a:lnTo>
                    <a:pt x="1276" y="1322"/>
                  </a:lnTo>
                  <a:lnTo>
                    <a:pt x="1274" y="1328"/>
                  </a:lnTo>
                  <a:lnTo>
                    <a:pt x="1274" y="1338"/>
                  </a:lnTo>
                  <a:lnTo>
                    <a:pt x="1278" y="1346"/>
                  </a:lnTo>
                  <a:lnTo>
                    <a:pt x="1282" y="1354"/>
                  </a:lnTo>
                  <a:lnTo>
                    <a:pt x="1282" y="1360"/>
                  </a:lnTo>
                  <a:lnTo>
                    <a:pt x="1282" y="1364"/>
                  </a:lnTo>
                  <a:lnTo>
                    <a:pt x="1280" y="1366"/>
                  </a:lnTo>
                  <a:lnTo>
                    <a:pt x="1278" y="1368"/>
                  </a:lnTo>
                  <a:lnTo>
                    <a:pt x="1278" y="1372"/>
                  </a:lnTo>
                  <a:lnTo>
                    <a:pt x="1280" y="1378"/>
                  </a:lnTo>
                  <a:lnTo>
                    <a:pt x="1288" y="1388"/>
                  </a:lnTo>
                  <a:lnTo>
                    <a:pt x="1292" y="1394"/>
                  </a:lnTo>
                  <a:lnTo>
                    <a:pt x="1294" y="1396"/>
                  </a:lnTo>
                  <a:lnTo>
                    <a:pt x="1294" y="1398"/>
                  </a:lnTo>
                  <a:lnTo>
                    <a:pt x="1292" y="1400"/>
                  </a:lnTo>
                  <a:lnTo>
                    <a:pt x="1288" y="1402"/>
                  </a:lnTo>
                  <a:lnTo>
                    <a:pt x="1286" y="1404"/>
                  </a:lnTo>
                  <a:lnTo>
                    <a:pt x="1286" y="1406"/>
                  </a:lnTo>
                  <a:lnTo>
                    <a:pt x="1288" y="1416"/>
                  </a:lnTo>
                  <a:lnTo>
                    <a:pt x="1288" y="1424"/>
                  </a:lnTo>
                  <a:lnTo>
                    <a:pt x="1282" y="1444"/>
                  </a:lnTo>
                  <a:lnTo>
                    <a:pt x="1280" y="1456"/>
                  </a:lnTo>
                  <a:lnTo>
                    <a:pt x="1280" y="1462"/>
                  </a:lnTo>
                  <a:lnTo>
                    <a:pt x="1282" y="1464"/>
                  </a:lnTo>
                  <a:lnTo>
                    <a:pt x="1286" y="1466"/>
                  </a:lnTo>
                  <a:lnTo>
                    <a:pt x="1298" y="1470"/>
                  </a:lnTo>
                  <a:lnTo>
                    <a:pt x="1322" y="1476"/>
                  </a:lnTo>
                  <a:lnTo>
                    <a:pt x="1328" y="1478"/>
                  </a:lnTo>
                  <a:lnTo>
                    <a:pt x="1330" y="1480"/>
                  </a:lnTo>
                  <a:lnTo>
                    <a:pt x="1328" y="1484"/>
                  </a:lnTo>
                  <a:lnTo>
                    <a:pt x="1328" y="1492"/>
                  </a:lnTo>
                  <a:lnTo>
                    <a:pt x="1328" y="1500"/>
                  </a:lnTo>
                  <a:lnTo>
                    <a:pt x="1330" y="1504"/>
                  </a:lnTo>
                  <a:lnTo>
                    <a:pt x="1334" y="1504"/>
                  </a:lnTo>
                  <a:lnTo>
                    <a:pt x="1336" y="1504"/>
                  </a:lnTo>
                  <a:lnTo>
                    <a:pt x="1340" y="1500"/>
                  </a:lnTo>
                  <a:lnTo>
                    <a:pt x="1346" y="1494"/>
                  </a:lnTo>
                  <a:lnTo>
                    <a:pt x="1352" y="1494"/>
                  </a:lnTo>
                  <a:lnTo>
                    <a:pt x="1354" y="1496"/>
                  </a:lnTo>
                  <a:lnTo>
                    <a:pt x="1354" y="1498"/>
                  </a:lnTo>
                  <a:lnTo>
                    <a:pt x="1354" y="1500"/>
                  </a:lnTo>
                  <a:lnTo>
                    <a:pt x="1352" y="1506"/>
                  </a:lnTo>
                  <a:lnTo>
                    <a:pt x="1346" y="1512"/>
                  </a:lnTo>
                  <a:lnTo>
                    <a:pt x="1346" y="1516"/>
                  </a:lnTo>
                  <a:lnTo>
                    <a:pt x="1352" y="1514"/>
                  </a:lnTo>
                  <a:lnTo>
                    <a:pt x="1366" y="1508"/>
                  </a:lnTo>
                  <a:lnTo>
                    <a:pt x="1376" y="1504"/>
                  </a:lnTo>
                  <a:lnTo>
                    <a:pt x="1390" y="1504"/>
                  </a:lnTo>
                  <a:lnTo>
                    <a:pt x="1408" y="1500"/>
                  </a:lnTo>
                  <a:lnTo>
                    <a:pt x="1436" y="1488"/>
                  </a:lnTo>
                  <a:lnTo>
                    <a:pt x="1448" y="1484"/>
                  </a:lnTo>
                  <a:lnTo>
                    <a:pt x="1454" y="1484"/>
                  </a:lnTo>
                  <a:lnTo>
                    <a:pt x="1458" y="1484"/>
                  </a:lnTo>
                  <a:lnTo>
                    <a:pt x="1462" y="1484"/>
                  </a:lnTo>
                  <a:lnTo>
                    <a:pt x="1466" y="1486"/>
                  </a:lnTo>
                  <a:lnTo>
                    <a:pt x="1470" y="1482"/>
                  </a:lnTo>
                  <a:lnTo>
                    <a:pt x="1476" y="1476"/>
                  </a:lnTo>
                  <a:lnTo>
                    <a:pt x="1478" y="1476"/>
                  </a:lnTo>
                  <a:lnTo>
                    <a:pt x="1484" y="1478"/>
                  </a:lnTo>
                  <a:lnTo>
                    <a:pt x="1490" y="1476"/>
                  </a:lnTo>
                  <a:lnTo>
                    <a:pt x="1498" y="1474"/>
                  </a:lnTo>
                  <a:lnTo>
                    <a:pt x="1506" y="1472"/>
                  </a:lnTo>
                  <a:lnTo>
                    <a:pt x="1512" y="1470"/>
                  </a:lnTo>
                  <a:lnTo>
                    <a:pt x="1522" y="1470"/>
                  </a:lnTo>
                  <a:lnTo>
                    <a:pt x="1532" y="1470"/>
                  </a:lnTo>
                  <a:lnTo>
                    <a:pt x="1538" y="1470"/>
                  </a:lnTo>
                  <a:lnTo>
                    <a:pt x="1546" y="1466"/>
                  </a:lnTo>
                  <a:lnTo>
                    <a:pt x="1550" y="1468"/>
                  </a:lnTo>
                  <a:lnTo>
                    <a:pt x="1556" y="1468"/>
                  </a:lnTo>
                  <a:lnTo>
                    <a:pt x="1566" y="1462"/>
                  </a:lnTo>
                  <a:lnTo>
                    <a:pt x="1574" y="1456"/>
                  </a:lnTo>
                  <a:lnTo>
                    <a:pt x="1578" y="1454"/>
                  </a:lnTo>
                  <a:lnTo>
                    <a:pt x="1580" y="1456"/>
                  </a:lnTo>
                  <a:lnTo>
                    <a:pt x="1582" y="1458"/>
                  </a:lnTo>
                  <a:lnTo>
                    <a:pt x="1578" y="1458"/>
                  </a:lnTo>
                  <a:lnTo>
                    <a:pt x="1576" y="1462"/>
                  </a:lnTo>
                  <a:lnTo>
                    <a:pt x="1578" y="1466"/>
                  </a:lnTo>
                  <a:lnTo>
                    <a:pt x="1580" y="1470"/>
                  </a:lnTo>
                  <a:lnTo>
                    <a:pt x="1578" y="1472"/>
                  </a:lnTo>
                  <a:lnTo>
                    <a:pt x="1572" y="1470"/>
                  </a:lnTo>
                  <a:lnTo>
                    <a:pt x="1568" y="1468"/>
                  </a:lnTo>
                  <a:lnTo>
                    <a:pt x="1572" y="1474"/>
                  </a:lnTo>
                  <a:lnTo>
                    <a:pt x="1578" y="1480"/>
                  </a:lnTo>
                  <a:lnTo>
                    <a:pt x="1582" y="1480"/>
                  </a:lnTo>
                  <a:lnTo>
                    <a:pt x="1584" y="1482"/>
                  </a:lnTo>
                  <a:lnTo>
                    <a:pt x="1588" y="1486"/>
                  </a:lnTo>
                  <a:lnTo>
                    <a:pt x="1592" y="1490"/>
                  </a:lnTo>
                  <a:lnTo>
                    <a:pt x="1596" y="1490"/>
                  </a:lnTo>
                  <a:lnTo>
                    <a:pt x="1608" y="1490"/>
                  </a:lnTo>
                  <a:lnTo>
                    <a:pt x="1618" y="1490"/>
                  </a:lnTo>
                  <a:lnTo>
                    <a:pt x="1622" y="1492"/>
                  </a:lnTo>
                  <a:lnTo>
                    <a:pt x="1626" y="1494"/>
                  </a:lnTo>
                  <a:lnTo>
                    <a:pt x="1628" y="1498"/>
                  </a:lnTo>
                  <a:lnTo>
                    <a:pt x="1632" y="1500"/>
                  </a:lnTo>
                  <a:lnTo>
                    <a:pt x="1638" y="1502"/>
                  </a:lnTo>
                  <a:lnTo>
                    <a:pt x="1642" y="1504"/>
                  </a:lnTo>
                  <a:lnTo>
                    <a:pt x="1642" y="1508"/>
                  </a:lnTo>
                  <a:lnTo>
                    <a:pt x="1638" y="1510"/>
                  </a:lnTo>
                  <a:lnTo>
                    <a:pt x="1634" y="1510"/>
                  </a:lnTo>
                  <a:lnTo>
                    <a:pt x="1610" y="1504"/>
                  </a:lnTo>
                  <a:lnTo>
                    <a:pt x="1602" y="1502"/>
                  </a:lnTo>
                  <a:lnTo>
                    <a:pt x="1596" y="1504"/>
                  </a:lnTo>
                  <a:lnTo>
                    <a:pt x="1594" y="1506"/>
                  </a:lnTo>
                  <a:lnTo>
                    <a:pt x="1592" y="1510"/>
                  </a:lnTo>
                  <a:lnTo>
                    <a:pt x="1590" y="1512"/>
                  </a:lnTo>
                  <a:lnTo>
                    <a:pt x="1588" y="1516"/>
                  </a:lnTo>
                  <a:lnTo>
                    <a:pt x="1584" y="1516"/>
                  </a:lnTo>
                  <a:lnTo>
                    <a:pt x="1578" y="1514"/>
                  </a:lnTo>
                  <a:lnTo>
                    <a:pt x="1574" y="1512"/>
                  </a:lnTo>
                  <a:lnTo>
                    <a:pt x="1570" y="1514"/>
                  </a:lnTo>
                  <a:lnTo>
                    <a:pt x="1568" y="1516"/>
                  </a:lnTo>
                  <a:lnTo>
                    <a:pt x="1568" y="1518"/>
                  </a:lnTo>
                  <a:lnTo>
                    <a:pt x="1568" y="1522"/>
                  </a:lnTo>
                  <a:lnTo>
                    <a:pt x="1568" y="1524"/>
                  </a:lnTo>
                  <a:lnTo>
                    <a:pt x="1564" y="1524"/>
                  </a:lnTo>
                  <a:lnTo>
                    <a:pt x="1560" y="1520"/>
                  </a:lnTo>
                  <a:lnTo>
                    <a:pt x="1556" y="1518"/>
                  </a:lnTo>
                  <a:lnTo>
                    <a:pt x="1552" y="1516"/>
                  </a:lnTo>
                  <a:lnTo>
                    <a:pt x="1552" y="1518"/>
                  </a:lnTo>
                  <a:lnTo>
                    <a:pt x="1552" y="1520"/>
                  </a:lnTo>
                  <a:lnTo>
                    <a:pt x="1554" y="1530"/>
                  </a:lnTo>
                  <a:lnTo>
                    <a:pt x="1554" y="1534"/>
                  </a:lnTo>
                  <a:lnTo>
                    <a:pt x="1552" y="1536"/>
                  </a:lnTo>
                  <a:lnTo>
                    <a:pt x="1540" y="1540"/>
                  </a:lnTo>
                  <a:lnTo>
                    <a:pt x="1530" y="1542"/>
                  </a:lnTo>
                  <a:lnTo>
                    <a:pt x="1518" y="1540"/>
                  </a:lnTo>
                  <a:lnTo>
                    <a:pt x="1508" y="1536"/>
                  </a:lnTo>
                  <a:lnTo>
                    <a:pt x="1498" y="1532"/>
                  </a:lnTo>
                  <a:lnTo>
                    <a:pt x="1488" y="1530"/>
                  </a:lnTo>
                  <a:lnTo>
                    <a:pt x="1476" y="1528"/>
                  </a:lnTo>
                  <a:lnTo>
                    <a:pt x="1460" y="1526"/>
                  </a:lnTo>
                  <a:lnTo>
                    <a:pt x="1454" y="1524"/>
                  </a:lnTo>
                  <a:lnTo>
                    <a:pt x="1450" y="1524"/>
                  </a:lnTo>
                  <a:lnTo>
                    <a:pt x="1448" y="1526"/>
                  </a:lnTo>
                  <a:lnTo>
                    <a:pt x="1448" y="1528"/>
                  </a:lnTo>
                  <a:lnTo>
                    <a:pt x="1446" y="1532"/>
                  </a:lnTo>
                  <a:lnTo>
                    <a:pt x="1442" y="1534"/>
                  </a:lnTo>
                  <a:lnTo>
                    <a:pt x="1436" y="1534"/>
                  </a:lnTo>
                  <a:lnTo>
                    <a:pt x="1422" y="1534"/>
                  </a:lnTo>
                  <a:lnTo>
                    <a:pt x="1408" y="1534"/>
                  </a:lnTo>
                  <a:lnTo>
                    <a:pt x="1398" y="1538"/>
                  </a:lnTo>
                  <a:lnTo>
                    <a:pt x="1394" y="1542"/>
                  </a:lnTo>
                  <a:lnTo>
                    <a:pt x="1392" y="1544"/>
                  </a:lnTo>
                  <a:lnTo>
                    <a:pt x="1390" y="1548"/>
                  </a:lnTo>
                  <a:lnTo>
                    <a:pt x="1388" y="1550"/>
                  </a:lnTo>
                  <a:lnTo>
                    <a:pt x="1380" y="1552"/>
                  </a:lnTo>
                  <a:lnTo>
                    <a:pt x="1374" y="1554"/>
                  </a:lnTo>
                  <a:lnTo>
                    <a:pt x="1372" y="1558"/>
                  </a:lnTo>
                  <a:lnTo>
                    <a:pt x="1370" y="1562"/>
                  </a:lnTo>
                  <a:lnTo>
                    <a:pt x="1368" y="1572"/>
                  </a:lnTo>
                  <a:lnTo>
                    <a:pt x="1368" y="1580"/>
                  </a:lnTo>
                  <a:lnTo>
                    <a:pt x="1370" y="1588"/>
                  </a:lnTo>
                  <a:lnTo>
                    <a:pt x="1372" y="1594"/>
                  </a:lnTo>
                  <a:lnTo>
                    <a:pt x="1378" y="1604"/>
                  </a:lnTo>
                  <a:lnTo>
                    <a:pt x="1382" y="1610"/>
                  </a:lnTo>
                  <a:lnTo>
                    <a:pt x="1386" y="1614"/>
                  </a:lnTo>
                  <a:lnTo>
                    <a:pt x="1390" y="1614"/>
                  </a:lnTo>
                  <a:lnTo>
                    <a:pt x="1396" y="1614"/>
                  </a:lnTo>
                  <a:lnTo>
                    <a:pt x="1402" y="1610"/>
                  </a:lnTo>
                  <a:lnTo>
                    <a:pt x="1410" y="1606"/>
                  </a:lnTo>
                  <a:lnTo>
                    <a:pt x="1410" y="1608"/>
                  </a:lnTo>
                  <a:lnTo>
                    <a:pt x="1410" y="1610"/>
                  </a:lnTo>
                  <a:lnTo>
                    <a:pt x="1402" y="1640"/>
                  </a:lnTo>
                  <a:lnTo>
                    <a:pt x="1402" y="1646"/>
                  </a:lnTo>
                  <a:lnTo>
                    <a:pt x="1404" y="1654"/>
                  </a:lnTo>
                  <a:lnTo>
                    <a:pt x="1406" y="1668"/>
                  </a:lnTo>
                  <a:lnTo>
                    <a:pt x="1408" y="1676"/>
                  </a:lnTo>
                  <a:lnTo>
                    <a:pt x="1406" y="1682"/>
                  </a:lnTo>
                  <a:lnTo>
                    <a:pt x="1402" y="1686"/>
                  </a:lnTo>
                  <a:lnTo>
                    <a:pt x="1392" y="1692"/>
                  </a:lnTo>
                  <a:lnTo>
                    <a:pt x="1380" y="1694"/>
                  </a:lnTo>
                  <a:lnTo>
                    <a:pt x="1370" y="1694"/>
                  </a:lnTo>
                  <a:lnTo>
                    <a:pt x="1364" y="1690"/>
                  </a:lnTo>
                  <a:lnTo>
                    <a:pt x="1360" y="1684"/>
                  </a:lnTo>
                  <a:lnTo>
                    <a:pt x="1354" y="1672"/>
                  </a:lnTo>
                  <a:lnTo>
                    <a:pt x="1348" y="1666"/>
                  </a:lnTo>
                  <a:lnTo>
                    <a:pt x="1342" y="1662"/>
                  </a:lnTo>
                  <a:lnTo>
                    <a:pt x="1336" y="1660"/>
                  </a:lnTo>
                  <a:lnTo>
                    <a:pt x="1334" y="1656"/>
                  </a:lnTo>
                  <a:lnTo>
                    <a:pt x="1332" y="1652"/>
                  </a:lnTo>
                  <a:lnTo>
                    <a:pt x="1332" y="1650"/>
                  </a:lnTo>
                  <a:lnTo>
                    <a:pt x="1332" y="1648"/>
                  </a:lnTo>
                  <a:lnTo>
                    <a:pt x="1324" y="1648"/>
                  </a:lnTo>
                  <a:lnTo>
                    <a:pt x="1302" y="1656"/>
                  </a:lnTo>
                  <a:lnTo>
                    <a:pt x="1294" y="1660"/>
                  </a:lnTo>
                  <a:lnTo>
                    <a:pt x="1292" y="1664"/>
                  </a:lnTo>
                  <a:lnTo>
                    <a:pt x="1286" y="1674"/>
                  </a:lnTo>
                  <a:lnTo>
                    <a:pt x="1284" y="1678"/>
                  </a:lnTo>
                  <a:lnTo>
                    <a:pt x="1286" y="1684"/>
                  </a:lnTo>
                  <a:lnTo>
                    <a:pt x="1286" y="1688"/>
                  </a:lnTo>
                  <a:lnTo>
                    <a:pt x="1286" y="1690"/>
                  </a:lnTo>
                  <a:lnTo>
                    <a:pt x="1280" y="1694"/>
                  </a:lnTo>
                  <a:lnTo>
                    <a:pt x="1274" y="1700"/>
                  </a:lnTo>
                  <a:lnTo>
                    <a:pt x="1272" y="1704"/>
                  </a:lnTo>
                  <a:lnTo>
                    <a:pt x="1270" y="1710"/>
                  </a:lnTo>
                  <a:lnTo>
                    <a:pt x="1266" y="1720"/>
                  </a:lnTo>
                  <a:lnTo>
                    <a:pt x="1266" y="1732"/>
                  </a:lnTo>
                  <a:lnTo>
                    <a:pt x="1268" y="1752"/>
                  </a:lnTo>
                  <a:lnTo>
                    <a:pt x="1268" y="1766"/>
                  </a:lnTo>
                  <a:lnTo>
                    <a:pt x="1270" y="1772"/>
                  </a:lnTo>
                  <a:lnTo>
                    <a:pt x="1274" y="1776"/>
                  </a:lnTo>
                  <a:lnTo>
                    <a:pt x="1278" y="1782"/>
                  </a:lnTo>
                  <a:lnTo>
                    <a:pt x="1280" y="1790"/>
                  </a:lnTo>
                  <a:lnTo>
                    <a:pt x="1280" y="1804"/>
                  </a:lnTo>
                  <a:lnTo>
                    <a:pt x="1278" y="1806"/>
                  </a:lnTo>
                  <a:lnTo>
                    <a:pt x="1276" y="1808"/>
                  </a:lnTo>
                  <a:lnTo>
                    <a:pt x="1276" y="1816"/>
                  </a:lnTo>
                  <a:lnTo>
                    <a:pt x="1278" y="1818"/>
                  </a:lnTo>
                  <a:lnTo>
                    <a:pt x="1276" y="1822"/>
                  </a:lnTo>
                  <a:lnTo>
                    <a:pt x="1270" y="1824"/>
                  </a:lnTo>
                  <a:lnTo>
                    <a:pt x="1264" y="1826"/>
                  </a:lnTo>
                  <a:lnTo>
                    <a:pt x="1258" y="1824"/>
                  </a:lnTo>
                  <a:lnTo>
                    <a:pt x="1256" y="1824"/>
                  </a:lnTo>
                  <a:lnTo>
                    <a:pt x="1256" y="1822"/>
                  </a:lnTo>
                  <a:lnTo>
                    <a:pt x="1258" y="1816"/>
                  </a:lnTo>
                  <a:lnTo>
                    <a:pt x="1268" y="1804"/>
                  </a:lnTo>
                  <a:lnTo>
                    <a:pt x="1270" y="1800"/>
                  </a:lnTo>
                  <a:lnTo>
                    <a:pt x="1268" y="1800"/>
                  </a:lnTo>
                  <a:lnTo>
                    <a:pt x="1256" y="1814"/>
                  </a:lnTo>
                  <a:lnTo>
                    <a:pt x="1248" y="1820"/>
                  </a:lnTo>
                  <a:lnTo>
                    <a:pt x="1246" y="1822"/>
                  </a:lnTo>
                  <a:lnTo>
                    <a:pt x="1240" y="1820"/>
                  </a:lnTo>
                  <a:lnTo>
                    <a:pt x="1232" y="1820"/>
                  </a:lnTo>
                  <a:lnTo>
                    <a:pt x="1226" y="1822"/>
                  </a:lnTo>
                  <a:lnTo>
                    <a:pt x="1224" y="1824"/>
                  </a:lnTo>
                  <a:lnTo>
                    <a:pt x="1224" y="1830"/>
                  </a:lnTo>
                  <a:lnTo>
                    <a:pt x="1224" y="1836"/>
                  </a:lnTo>
                  <a:lnTo>
                    <a:pt x="1224" y="1840"/>
                  </a:lnTo>
                  <a:lnTo>
                    <a:pt x="1220" y="1846"/>
                  </a:lnTo>
                  <a:lnTo>
                    <a:pt x="1214" y="1852"/>
                  </a:lnTo>
                  <a:lnTo>
                    <a:pt x="1202" y="1858"/>
                  </a:lnTo>
                  <a:lnTo>
                    <a:pt x="1188" y="1860"/>
                  </a:lnTo>
                  <a:lnTo>
                    <a:pt x="1182" y="1858"/>
                  </a:lnTo>
                  <a:lnTo>
                    <a:pt x="1176" y="1856"/>
                  </a:lnTo>
                  <a:lnTo>
                    <a:pt x="1172" y="1854"/>
                  </a:lnTo>
                  <a:lnTo>
                    <a:pt x="1170" y="1848"/>
                  </a:lnTo>
                  <a:lnTo>
                    <a:pt x="1166" y="1836"/>
                  </a:lnTo>
                  <a:lnTo>
                    <a:pt x="1172" y="1840"/>
                  </a:lnTo>
                  <a:lnTo>
                    <a:pt x="1180" y="1844"/>
                  </a:lnTo>
                  <a:lnTo>
                    <a:pt x="1184" y="1844"/>
                  </a:lnTo>
                  <a:lnTo>
                    <a:pt x="1184" y="1842"/>
                  </a:lnTo>
                  <a:lnTo>
                    <a:pt x="1180" y="1840"/>
                  </a:lnTo>
                  <a:lnTo>
                    <a:pt x="1168" y="1832"/>
                  </a:lnTo>
                  <a:lnTo>
                    <a:pt x="1160" y="1828"/>
                  </a:lnTo>
                  <a:lnTo>
                    <a:pt x="1152" y="1828"/>
                  </a:lnTo>
                  <a:lnTo>
                    <a:pt x="1136" y="1832"/>
                  </a:lnTo>
                  <a:lnTo>
                    <a:pt x="1118" y="1836"/>
                  </a:lnTo>
                  <a:lnTo>
                    <a:pt x="1112" y="1838"/>
                  </a:lnTo>
                  <a:lnTo>
                    <a:pt x="1110" y="1840"/>
                  </a:lnTo>
                  <a:lnTo>
                    <a:pt x="1098" y="1844"/>
                  </a:lnTo>
                  <a:lnTo>
                    <a:pt x="1090" y="1848"/>
                  </a:lnTo>
                  <a:lnTo>
                    <a:pt x="1086" y="1850"/>
                  </a:lnTo>
                  <a:lnTo>
                    <a:pt x="1082" y="1856"/>
                  </a:lnTo>
                  <a:lnTo>
                    <a:pt x="1080" y="1858"/>
                  </a:lnTo>
                  <a:lnTo>
                    <a:pt x="1074" y="1862"/>
                  </a:lnTo>
                  <a:lnTo>
                    <a:pt x="1066" y="1864"/>
                  </a:lnTo>
                  <a:lnTo>
                    <a:pt x="1054" y="1868"/>
                  </a:lnTo>
                  <a:lnTo>
                    <a:pt x="1034" y="1874"/>
                  </a:lnTo>
                  <a:lnTo>
                    <a:pt x="1020" y="1880"/>
                  </a:lnTo>
                  <a:lnTo>
                    <a:pt x="1008" y="1884"/>
                  </a:lnTo>
                  <a:lnTo>
                    <a:pt x="1002" y="1884"/>
                  </a:lnTo>
                  <a:lnTo>
                    <a:pt x="996" y="1884"/>
                  </a:lnTo>
                  <a:lnTo>
                    <a:pt x="992" y="1882"/>
                  </a:lnTo>
                  <a:lnTo>
                    <a:pt x="986" y="1878"/>
                  </a:lnTo>
                  <a:lnTo>
                    <a:pt x="980" y="1870"/>
                  </a:lnTo>
                  <a:lnTo>
                    <a:pt x="978" y="1870"/>
                  </a:lnTo>
                  <a:lnTo>
                    <a:pt x="980" y="1874"/>
                  </a:lnTo>
                  <a:lnTo>
                    <a:pt x="984" y="1884"/>
                  </a:lnTo>
                  <a:lnTo>
                    <a:pt x="984" y="1886"/>
                  </a:lnTo>
                  <a:lnTo>
                    <a:pt x="984" y="1888"/>
                  </a:lnTo>
                  <a:lnTo>
                    <a:pt x="982" y="1888"/>
                  </a:lnTo>
                  <a:lnTo>
                    <a:pt x="982" y="1890"/>
                  </a:lnTo>
                  <a:lnTo>
                    <a:pt x="984" y="1890"/>
                  </a:lnTo>
                  <a:lnTo>
                    <a:pt x="988" y="1890"/>
                  </a:lnTo>
                  <a:lnTo>
                    <a:pt x="992" y="1888"/>
                  </a:lnTo>
                  <a:lnTo>
                    <a:pt x="996" y="1890"/>
                  </a:lnTo>
                  <a:lnTo>
                    <a:pt x="998" y="1892"/>
                  </a:lnTo>
                  <a:lnTo>
                    <a:pt x="1002" y="1892"/>
                  </a:lnTo>
                  <a:lnTo>
                    <a:pt x="1004" y="1890"/>
                  </a:lnTo>
                  <a:lnTo>
                    <a:pt x="1008" y="1890"/>
                  </a:lnTo>
                  <a:lnTo>
                    <a:pt x="1010" y="1894"/>
                  </a:lnTo>
                  <a:lnTo>
                    <a:pt x="1010" y="1900"/>
                  </a:lnTo>
                  <a:lnTo>
                    <a:pt x="1010" y="1902"/>
                  </a:lnTo>
                  <a:lnTo>
                    <a:pt x="1008" y="1902"/>
                  </a:lnTo>
                  <a:lnTo>
                    <a:pt x="1004" y="1900"/>
                  </a:lnTo>
                  <a:lnTo>
                    <a:pt x="998" y="1898"/>
                  </a:lnTo>
                  <a:lnTo>
                    <a:pt x="996" y="1898"/>
                  </a:lnTo>
                  <a:lnTo>
                    <a:pt x="986" y="1896"/>
                  </a:lnTo>
                  <a:lnTo>
                    <a:pt x="980" y="1892"/>
                  </a:lnTo>
                  <a:lnTo>
                    <a:pt x="980" y="1890"/>
                  </a:lnTo>
                  <a:lnTo>
                    <a:pt x="980" y="1886"/>
                  </a:lnTo>
                  <a:lnTo>
                    <a:pt x="980" y="1884"/>
                  </a:lnTo>
                  <a:lnTo>
                    <a:pt x="978" y="1882"/>
                  </a:lnTo>
                  <a:lnTo>
                    <a:pt x="976" y="1878"/>
                  </a:lnTo>
                  <a:lnTo>
                    <a:pt x="976" y="1872"/>
                  </a:lnTo>
                  <a:lnTo>
                    <a:pt x="976" y="1870"/>
                  </a:lnTo>
                  <a:lnTo>
                    <a:pt x="974" y="1870"/>
                  </a:lnTo>
                  <a:lnTo>
                    <a:pt x="970" y="1872"/>
                  </a:lnTo>
                  <a:lnTo>
                    <a:pt x="962" y="1872"/>
                  </a:lnTo>
                  <a:lnTo>
                    <a:pt x="958" y="1870"/>
                  </a:lnTo>
                  <a:lnTo>
                    <a:pt x="954" y="1868"/>
                  </a:lnTo>
                  <a:lnTo>
                    <a:pt x="950" y="1860"/>
                  </a:lnTo>
                  <a:lnTo>
                    <a:pt x="948" y="1856"/>
                  </a:lnTo>
                  <a:lnTo>
                    <a:pt x="946" y="1854"/>
                  </a:lnTo>
                  <a:lnTo>
                    <a:pt x="944" y="1854"/>
                  </a:lnTo>
                  <a:lnTo>
                    <a:pt x="938" y="1854"/>
                  </a:lnTo>
                  <a:lnTo>
                    <a:pt x="932" y="1852"/>
                  </a:lnTo>
                  <a:lnTo>
                    <a:pt x="930" y="1850"/>
                  </a:lnTo>
                  <a:lnTo>
                    <a:pt x="926" y="1850"/>
                  </a:lnTo>
                  <a:lnTo>
                    <a:pt x="924" y="1854"/>
                  </a:lnTo>
                  <a:lnTo>
                    <a:pt x="920" y="1862"/>
                  </a:lnTo>
                  <a:lnTo>
                    <a:pt x="912" y="1868"/>
                  </a:lnTo>
                  <a:lnTo>
                    <a:pt x="908" y="1870"/>
                  </a:lnTo>
                  <a:lnTo>
                    <a:pt x="900" y="1870"/>
                  </a:lnTo>
                  <a:lnTo>
                    <a:pt x="894" y="1872"/>
                  </a:lnTo>
                  <a:lnTo>
                    <a:pt x="890" y="1874"/>
                  </a:lnTo>
                  <a:lnTo>
                    <a:pt x="886" y="1880"/>
                  </a:lnTo>
                  <a:lnTo>
                    <a:pt x="884" y="1884"/>
                  </a:lnTo>
                  <a:lnTo>
                    <a:pt x="882" y="1884"/>
                  </a:lnTo>
                  <a:lnTo>
                    <a:pt x="878" y="1882"/>
                  </a:lnTo>
                  <a:lnTo>
                    <a:pt x="874" y="1880"/>
                  </a:lnTo>
                  <a:lnTo>
                    <a:pt x="870" y="1880"/>
                  </a:lnTo>
                  <a:lnTo>
                    <a:pt x="864" y="1882"/>
                  </a:lnTo>
                  <a:lnTo>
                    <a:pt x="860" y="1882"/>
                  </a:lnTo>
                  <a:lnTo>
                    <a:pt x="858" y="1882"/>
                  </a:lnTo>
                  <a:lnTo>
                    <a:pt x="856" y="1880"/>
                  </a:lnTo>
                  <a:lnTo>
                    <a:pt x="856" y="1878"/>
                  </a:lnTo>
                  <a:lnTo>
                    <a:pt x="858" y="1876"/>
                  </a:lnTo>
                  <a:lnTo>
                    <a:pt x="864" y="1872"/>
                  </a:lnTo>
                  <a:lnTo>
                    <a:pt x="870" y="1870"/>
                  </a:lnTo>
                  <a:lnTo>
                    <a:pt x="870" y="1868"/>
                  </a:lnTo>
                  <a:lnTo>
                    <a:pt x="870" y="1864"/>
                  </a:lnTo>
                  <a:lnTo>
                    <a:pt x="870" y="1862"/>
                  </a:lnTo>
                  <a:lnTo>
                    <a:pt x="870" y="1858"/>
                  </a:lnTo>
                  <a:lnTo>
                    <a:pt x="870" y="1856"/>
                  </a:lnTo>
                  <a:lnTo>
                    <a:pt x="862" y="1858"/>
                  </a:lnTo>
                  <a:lnTo>
                    <a:pt x="856" y="1860"/>
                  </a:lnTo>
                  <a:lnTo>
                    <a:pt x="852" y="1860"/>
                  </a:lnTo>
                  <a:lnTo>
                    <a:pt x="848" y="1860"/>
                  </a:lnTo>
                  <a:lnTo>
                    <a:pt x="846" y="1858"/>
                  </a:lnTo>
                  <a:lnTo>
                    <a:pt x="842" y="1854"/>
                  </a:lnTo>
                  <a:lnTo>
                    <a:pt x="840" y="1854"/>
                  </a:lnTo>
                  <a:lnTo>
                    <a:pt x="838" y="1854"/>
                  </a:lnTo>
                  <a:lnTo>
                    <a:pt x="834" y="1856"/>
                  </a:lnTo>
                  <a:lnTo>
                    <a:pt x="832" y="1854"/>
                  </a:lnTo>
                  <a:lnTo>
                    <a:pt x="830" y="1852"/>
                  </a:lnTo>
                  <a:lnTo>
                    <a:pt x="826" y="1850"/>
                  </a:lnTo>
                  <a:lnTo>
                    <a:pt x="822" y="1850"/>
                  </a:lnTo>
                  <a:lnTo>
                    <a:pt x="824" y="1848"/>
                  </a:lnTo>
                  <a:lnTo>
                    <a:pt x="826" y="1844"/>
                  </a:lnTo>
                  <a:lnTo>
                    <a:pt x="828" y="1842"/>
                  </a:lnTo>
                  <a:lnTo>
                    <a:pt x="826" y="1838"/>
                  </a:lnTo>
                  <a:lnTo>
                    <a:pt x="824" y="1834"/>
                  </a:lnTo>
                  <a:lnTo>
                    <a:pt x="822" y="1832"/>
                  </a:lnTo>
                  <a:lnTo>
                    <a:pt x="820" y="1834"/>
                  </a:lnTo>
                  <a:lnTo>
                    <a:pt x="816" y="1832"/>
                  </a:lnTo>
                  <a:lnTo>
                    <a:pt x="812" y="1830"/>
                  </a:lnTo>
                  <a:lnTo>
                    <a:pt x="808" y="1830"/>
                  </a:lnTo>
                  <a:lnTo>
                    <a:pt x="806" y="1832"/>
                  </a:lnTo>
                  <a:lnTo>
                    <a:pt x="802" y="1830"/>
                  </a:lnTo>
                  <a:lnTo>
                    <a:pt x="808" y="1826"/>
                  </a:lnTo>
                  <a:lnTo>
                    <a:pt x="810" y="1824"/>
                  </a:lnTo>
                  <a:lnTo>
                    <a:pt x="810" y="1826"/>
                  </a:lnTo>
                  <a:lnTo>
                    <a:pt x="812" y="1828"/>
                  </a:lnTo>
                  <a:lnTo>
                    <a:pt x="816" y="1828"/>
                  </a:lnTo>
                  <a:lnTo>
                    <a:pt x="818" y="1826"/>
                  </a:lnTo>
                  <a:lnTo>
                    <a:pt x="820" y="1826"/>
                  </a:lnTo>
                  <a:lnTo>
                    <a:pt x="824" y="1828"/>
                  </a:lnTo>
                  <a:lnTo>
                    <a:pt x="826" y="1826"/>
                  </a:lnTo>
                  <a:lnTo>
                    <a:pt x="828" y="1824"/>
                  </a:lnTo>
                  <a:lnTo>
                    <a:pt x="828" y="1822"/>
                  </a:lnTo>
                  <a:lnTo>
                    <a:pt x="822" y="1818"/>
                  </a:lnTo>
                  <a:lnTo>
                    <a:pt x="816" y="1814"/>
                  </a:lnTo>
                  <a:lnTo>
                    <a:pt x="812" y="1816"/>
                  </a:lnTo>
                  <a:lnTo>
                    <a:pt x="810" y="1818"/>
                  </a:lnTo>
                  <a:lnTo>
                    <a:pt x="806" y="1814"/>
                  </a:lnTo>
                  <a:lnTo>
                    <a:pt x="806" y="1812"/>
                  </a:lnTo>
                  <a:lnTo>
                    <a:pt x="806" y="1810"/>
                  </a:lnTo>
                  <a:lnTo>
                    <a:pt x="810" y="1808"/>
                  </a:lnTo>
                  <a:lnTo>
                    <a:pt x="812" y="1804"/>
                  </a:lnTo>
                  <a:lnTo>
                    <a:pt x="814" y="1804"/>
                  </a:lnTo>
                  <a:lnTo>
                    <a:pt x="812" y="1802"/>
                  </a:lnTo>
                  <a:lnTo>
                    <a:pt x="810" y="1798"/>
                  </a:lnTo>
                  <a:lnTo>
                    <a:pt x="810" y="1794"/>
                  </a:lnTo>
                  <a:lnTo>
                    <a:pt x="810" y="1792"/>
                  </a:lnTo>
                  <a:lnTo>
                    <a:pt x="808" y="1790"/>
                  </a:lnTo>
                  <a:lnTo>
                    <a:pt x="808" y="1788"/>
                  </a:lnTo>
                  <a:lnTo>
                    <a:pt x="808" y="1786"/>
                  </a:lnTo>
                  <a:lnTo>
                    <a:pt x="814" y="1784"/>
                  </a:lnTo>
                  <a:lnTo>
                    <a:pt x="818" y="1782"/>
                  </a:lnTo>
                  <a:lnTo>
                    <a:pt x="818" y="1780"/>
                  </a:lnTo>
                  <a:lnTo>
                    <a:pt x="818" y="1778"/>
                  </a:lnTo>
                  <a:lnTo>
                    <a:pt x="818" y="1776"/>
                  </a:lnTo>
                  <a:lnTo>
                    <a:pt x="822" y="1776"/>
                  </a:lnTo>
                  <a:lnTo>
                    <a:pt x="826" y="1774"/>
                  </a:lnTo>
                  <a:lnTo>
                    <a:pt x="826" y="1772"/>
                  </a:lnTo>
                  <a:lnTo>
                    <a:pt x="824" y="1768"/>
                  </a:lnTo>
                  <a:lnTo>
                    <a:pt x="820" y="1764"/>
                  </a:lnTo>
                  <a:lnTo>
                    <a:pt x="824" y="1766"/>
                  </a:lnTo>
                  <a:lnTo>
                    <a:pt x="828" y="1768"/>
                  </a:lnTo>
                  <a:lnTo>
                    <a:pt x="832" y="1768"/>
                  </a:lnTo>
                  <a:lnTo>
                    <a:pt x="834" y="1766"/>
                  </a:lnTo>
                  <a:lnTo>
                    <a:pt x="834" y="1764"/>
                  </a:lnTo>
                  <a:lnTo>
                    <a:pt x="834" y="1760"/>
                  </a:lnTo>
                  <a:lnTo>
                    <a:pt x="834" y="1750"/>
                  </a:lnTo>
                  <a:lnTo>
                    <a:pt x="836" y="1742"/>
                  </a:lnTo>
                  <a:lnTo>
                    <a:pt x="836" y="1740"/>
                  </a:lnTo>
                  <a:lnTo>
                    <a:pt x="840" y="1738"/>
                  </a:lnTo>
                  <a:lnTo>
                    <a:pt x="844" y="1738"/>
                  </a:lnTo>
                  <a:lnTo>
                    <a:pt x="844" y="1742"/>
                  </a:lnTo>
                  <a:lnTo>
                    <a:pt x="842" y="1744"/>
                  </a:lnTo>
                  <a:lnTo>
                    <a:pt x="842" y="1746"/>
                  </a:lnTo>
                  <a:lnTo>
                    <a:pt x="844" y="1748"/>
                  </a:lnTo>
                  <a:lnTo>
                    <a:pt x="848" y="1750"/>
                  </a:lnTo>
                  <a:lnTo>
                    <a:pt x="848" y="1748"/>
                  </a:lnTo>
                  <a:lnTo>
                    <a:pt x="850" y="1746"/>
                  </a:lnTo>
                  <a:lnTo>
                    <a:pt x="852" y="1746"/>
                  </a:lnTo>
                  <a:lnTo>
                    <a:pt x="854" y="1748"/>
                  </a:lnTo>
                  <a:lnTo>
                    <a:pt x="856" y="1746"/>
                  </a:lnTo>
                  <a:lnTo>
                    <a:pt x="858" y="1744"/>
                  </a:lnTo>
                  <a:lnTo>
                    <a:pt x="864" y="1732"/>
                  </a:lnTo>
                  <a:lnTo>
                    <a:pt x="864" y="1730"/>
                  </a:lnTo>
                  <a:lnTo>
                    <a:pt x="864" y="1728"/>
                  </a:lnTo>
                  <a:lnTo>
                    <a:pt x="858" y="1726"/>
                  </a:lnTo>
                  <a:lnTo>
                    <a:pt x="844" y="1724"/>
                  </a:lnTo>
                  <a:lnTo>
                    <a:pt x="840" y="1722"/>
                  </a:lnTo>
                  <a:lnTo>
                    <a:pt x="838" y="1722"/>
                  </a:lnTo>
                  <a:lnTo>
                    <a:pt x="840" y="1718"/>
                  </a:lnTo>
                  <a:lnTo>
                    <a:pt x="842" y="1714"/>
                  </a:lnTo>
                  <a:lnTo>
                    <a:pt x="840" y="1710"/>
                  </a:lnTo>
                  <a:lnTo>
                    <a:pt x="838" y="1706"/>
                  </a:lnTo>
                  <a:lnTo>
                    <a:pt x="838" y="1700"/>
                  </a:lnTo>
                  <a:lnTo>
                    <a:pt x="840" y="1690"/>
                  </a:lnTo>
                  <a:lnTo>
                    <a:pt x="842" y="1686"/>
                  </a:lnTo>
                  <a:lnTo>
                    <a:pt x="844" y="1684"/>
                  </a:lnTo>
                  <a:lnTo>
                    <a:pt x="846" y="1680"/>
                  </a:lnTo>
                  <a:lnTo>
                    <a:pt x="848" y="1676"/>
                  </a:lnTo>
                  <a:lnTo>
                    <a:pt x="848" y="1670"/>
                  </a:lnTo>
                  <a:lnTo>
                    <a:pt x="846" y="1662"/>
                  </a:lnTo>
                  <a:lnTo>
                    <a:pt x="844" y="1658"/>
                  </a:lnTo>
                  <a:lnTo>
                    <a:pt x="844" y="1656"/>
                  </a:lnTo>
                  <a:lnTo>
                    <a:pt x="846" y="1652"/>
                  </a:lnTo>
                  <a:lnTo>
                    <a:pt x="850" y="1648"/>
                  </a:lnTo>
                  <a:lnTo>
                    <a:pt x="850" y="1646"/>
                  </a:lnTo>
                  <a:lnTo>
                    <a:pt x="846" y="1646"/>
                  </a:lnTo>
                  <a:lnTo>
                    <a:pt x="844" y="1650"/>
                  </a:lnTo>
                  <a:lnTo>
                    <a:pt x="838" y="1654"/>
                  </a:lnTo>
                  <a:lnTo>
                    <a:pt x="830" y="1656"/>
                  </a:lnTo>
                  <a:lnTo>
                    <a:pt x="824" y="1658"/>
                  </a:lnTo>
                  <a:lnTo>
                    <a:pt x="822" y="1660"/>
                  </a:lnTo>
                  <a:lnTo>
                    <a:pt x="814" y="1672"/>
                  </a:lnTo>
                  <a:lnTo>
                    <a:pt x="810" y="1676"/>
                  </a:lnTo>
                  <a:lnTo>
                    <a:pt x="804" y="1680"/>
                  </a:lnTo>
                  <a:lnTo>
                    <a:pt x="796" y="1684"/>
                  </a:lnTo>
                  <a:lnTo>
                    <a:pt x="786" y="1686"/>
                  </a:lnTo>
                  <a:lnTo>
                    <a:pt x="776" y="1686"/>
                  </a:lnTo>
                  <a:lnTo>
                    <a:pt x="768" y="1690"/>
                  </a:lnTo>
                  <a:lnTo>
                    <a:pt x="762" y="1694"/>
                  </a:lnTo>
                  <a:lnTo>
                    <a:pt x="758" y="1700"/>
                  </a:lnTo>
                  <a:lnTo>
                    <a:pt x="754" y="1708"/>
                  </a:lnTo>
                  <a:lnTo>
                    <a:pt x="752" y="1718"/>
                  </a:lnTo>
                  <a:lnTo>
                    <a:pt x="748" y="1736"/>
                  </a:lnTo>
                  <a:lnTo>
                    <a:pt x="748" y="1752"/>
                  </a:lnTo>
                  <a:lnTo>
                    <a:pt x="750" y="1762"/>
                  </a:lnTo>
                  <a:lnTo>
                    <a:pt x="752" y="1770"/>
                  </a:lnTo>
                  <a:lnTo>
                    <a:pt x="750" y="1778"/>
                  </a:lnTo>
                  <a:lnTo>
                    <a:pt x="746" y="1784"/>
                  </a:lnTo>
                  <a:lnTo>
                    <a:pt x="748" y="1786"/>
                  </a:lnTo>
                  <a:lnTo>
                    <a:pt x="750" y="1786"/>
                  </a:lnTo>
                  <a:lnTo>
                    <a:pt x="754" y="1790"/>
                  </a:lnTo>
                  <a:lnTo>
                    <a:pt x="758" y="1792"/>
                  </a:lnTo>
                  <a:lnTo>
                    <a:pt x="758" y="1790"/>
                  </a:lnTo>
                  <a:lnTo>
                    <a:pt x="758" y="1788"/>
                  </a:lnTo>
                  <a:lnTo>
                    <a:pt x="762" y="1790"/>
                  </a:lnTo>
                  <a:lnTo>
                    <a:pt x="764" y="1792"/>
                  </a:lnTo>
                  <a:lnTo>
                    <a:pt x="768" y="1792"/>
                  </a:lnTo>
                  <a:lnTo>
                    <a:pt x="772" y="1796"/>
                  </a:lnTo>
                  <a:lnTo>
                    <a:pt x="772" y="1804"/>
                  </a:lnTo>
                  <a:lnTo>
                    <a:pt x="770" y="1810"/>
                  </a:lnTo>
                  <a:lnTo>
                    <a:pt x="768" y="1808"/>
                  </a:lnTo>
                  <a:lnTo>
                    <a:pt x="766" y="1806"/>
                  </a:lnTo>
                  <a:lnTo>
                    <a:pt x="764" y="1806"/>
                  </a:lnTo>
                  <a:lnTo>
                    <a:pt x="764" y="1810"/>
                  </a:lnTo>
                  <a:lnTo>
                    <a:pt x="764" y="1814"/>
                  </a:lnTo>
                  <a:lnTo>
                    <a:pt x="768" y="1812"/>
                  </a:lnTo>
                  <a:lnTo>
                    <a:pt x="770" y="1812"/>
                  </a:lnTo>
                  <a:lnTo>
                    <a:pt x="770" y="1814"/>
                  </a:lnTo>
                  <a:lnTo>
                    <a:pt x="770" y="1826"/>
                  </a:lnTo>
                  <a:lnTo>
                    <a:pt x="770" y="1830"/>
                  </a:lnTo>
                  <a:lnTo>
                    <a:pt x="774" y="1836"/>
                  </a:lnTo>
                  <a:lnTo>
                    <a:pt x="784" y="1848"/>
                  </a:lnTo>
                  <a:lnTo>
                    <a:pt x="786" y="1850"/>
                  </a:lnTo>
                  <a:lnTo>
                    <a:pt x="786" y="1852"/>
                  </a:lnTo>
                  <a:lnTo>
                    <a:pt x="782" y="1854"/>
                  </a:lnTo>
                  <a:lnTo>
                    <a:pt x="774" y="1856"/>
                  </a:lnTo>
                  <a:lnTo>
                    <a:pt x="772" y="1858"/>
                  </a:lnTo>
                  <a:lnTo>
                    <a:pt x="770" y="1860"/>
                  </a:lnTo>
                  <a:lnTo>
                    <a:pt x="770" y="1864"/>
                  </a:lnTo>
                  <a:lnTo>
                    <a:pt x="776" y="1864"/>
                  </a:lnTo>
                  <a:lnTo>
                    <a:pt x="780" y="1862"/>
                  </a:lnTo>
                  <a:lnTo>
                    <a:pt x="780" y="1864"/>
                  </a:lnTo>
                  <a:lnTo>
                    <a:pt x="778" y="1866"/>
                  </a:lnTo>
                  <a:lnTo>
                    <a:pt x="778" y="1870"/>
                  </a:lnTo>
                  <a:lnTo>
                    <a:pt x="778" y="1872"/>
                  </a:lnTo>
                  <a:lnTo>
                    <a:pt x="782" y="1874"/>
                  </a:lnTo>
                  <a:lnTo>
                    <a:pt x="786" y="1876"/>
                  </a:lnTo>
                  <a:lnTo>
                    <a:pt x="784" y="1878"/>
                  </a:lnTo>
                  <a:lnTo>
                    <a:pt x="780" y="1880"/>
                  </a:lnTo>
                  <a:lnTo>
                    <a:pt x="780" y="1882"/>
                  </a:lnTo>
                  <a:lnTo>
                    <a:pt x="782" y="1886"/>
                  </a:lnTo>
                  <a:lnTo>
                    <a:pt x="790" y="1886"/>
                  </a:lnTo>
                  <a:lnTo>
                    <a:pt x="798" y="1890"/>
                  </a:lnTo>
                  <a:lnTo>
                    <a:pt x="804" y="1894"/>
                  </a:lnTo>
                  <a:lnTo>
                    <a:pt x="804" y="1898"/>
                  </a:lnTo>
                  <a:lnTo>
                    <a:pt x="800" y="1896"/>
                  </a:lnTo>
                  <a:lnTo>
                    <a:pt x="794" y="1892"/>
                  </a:lnTo>
                  <a:lnTo>
                    <a:pt x="786" y="1890"/>
                  </a:lnTo>
                  <a:lnTo>
                    <a:pt x="780" y="1890"/>
                  </a:lnTo>
                  <a:lnTo>
                    <a:pt x="772" y="1888"/>
                  </a:lnTo>
                  <a:lnTo>
                    <a:pt x="770" y="1888"/>
                  </a:lnTo>
                  <a:lnTo>
                    <a:pt x="768" y="1890"/>
                  </a:lnTo>
                  <a:lnTo>
                    <a:pt x="768" y="1900"/>
                  </a:lnTo>
                  <a:lnTo>
                    <a:pt x="770" y="1910"/>
                  </a:lnTo>
                  <a:lnTo>
                    <a:pt x="768" y="1916"/>
                  </a:lnTo>
                  <a:lnTo>
                    <a:pt x="766" y="1918"/>
                  </a:lnTo>
                  <a:lnTo>
                    <a:pt x="764" y="1920"/>
                  </a:lnTo>
                  <a:lnTo>
                    <a:pt x="764" y="1918"/>
                  </a:lnTo>
                  <a:lnTo>
                    <a:pt x="764" y="1914"/>
                  </a:lnTo>
                  <a:lnTo>
                    <a:pt x="764" y="1908"/>
                  </a:lnTo>
                  <a:lnTo>
                    <a:pt x="764" y="1906"/>
                  </a:lnTo>
                  <a:lnTo>
                    <a:pt x="762" y="1904"/>
                  </a:lnTo>
                  <a:lnTo>
                    <a:pt x="758" y="1904"/>
                  </a:lnTo>
                  <a:lnTo>
                    <a:pt x="756" y="1906"/>
                  </a:lnTo>
                  <a:lnTo>
                    <a:pt x="756" y="1912"/>
                  </a:lnTo>
                  <a:lnTo>
                    <a:pt x="754" y="1916"/>
                  </a:lnTo>
                  <a:lnTo>
                    <a:pt x="750" y="1914"/>
                  </a:lnTo>
                  <a:lnTo>
                    <a:pt x="748" y="1912"/>
                  </a:lnTo>
                  <a:lnTo>
                    <a:pt x="748" y="1910"/>
                  </a:lnTo>
                  <a:lnTo>
                    <a:pt x="750" y="1904"/>
                  </a:lnTo>
                  <a:lnTo>
                    <a:pt x="748" y="1902"/>
                  </a:lnTo>
                  <a:lnTo>
                    <a:pt x="746" y="1900"/>
                  </a:lnTo>
                  <a:lnTo>
                    <a:pt x="742" y="1898"/>
                  </a:lnTo>
                  <a:lnTo>
                    <a:pt x="734" y="1898"/>
                  </a:lnTo>
                  <a:lnTo>
                    <a:pt x="720" y="1898"/>
                  </a:lnTo>
                  <a:lnTo>
                    <a:pt x="714" y="1900"/>
                  </a:lnTo>
                  <a:lnTo>
                    <a:pt x="710" y="1906"/>
                  </a:lnTo>
                  <a:lnTo>
                    <a:pt x="708" y="1914"/>
                  </a:lnTo>
                  <a:lnTo>
                    <a:pt x="706" y="1916"/>
                  </a:lnTo>
                  <a:lnTo>
                    <a:pt x="706" y="1920"/>
                  </a:lnTo>
                  <a:lnTo>
                    <a:pt x="710" y="1922"/>
                  </a:lnTo>
                  <a:lnTo>
                    <a:pt x="714" y="1922"/>
                  </a:lnTo>
                  <a:lnTo>
                    <a:pt x="714" y="1924"/>
                  </a:lnTo>
                  <a:lnTo>
                    <a:pt x="712" y="1926"/>
                  </a:lnTo>
                  <a:lnTo>
                    <a:pt x="708" y="1926"/>
                  </a:lnTo>
                  <a:lnTo>
                    <a:pt x="706" y="1926"/>
                  </a:lnTo>
                  <a:lnTo>
                    <a:pt x="700" y="1918"/>
                  </a:lnTo>
                  <a:lnTo>
                    <a:pt x="696" y="1914"/>
                  </a:lnTo>
                  <a:lnTo>
                    <a:pt x="688" y="1914"/>
                  </a:lnTo>
                  <a:lnTo>
                    <a:pt x="664" y="1918"/>
                  </a:lnTo>
                  <a:lnTo>
                    <a:pt x="654" y="1920"/>
                  </a:lnTo>
                  <a:lnTo>
                    <a:pt x="646" y="1924"/>
                  </a:lnTo>
                  <a:lnTo>
                    <a:pt x="640" y="1926"/>
                  </a:lnTo>
                  <a:lnTo>
                    <a:pt x="636" y="1930"/>
                  </a:lnTo>
                  <a:lnTo>
                    <a:pt x="634" y="1934"/>
                  </a:lnTo>
                  <a:lnTo>
                    <a:pt x="634" y="1938"/>
                  </a:lnTo>
                  <a:lnTo>
                    <a:pt x="634" y="1940"/>
                  </a:lnTo>
                  <a:lnTo>
                    <a:pt x="636" y="1940"/>
                  </a:lnTo>
                  <a:lnTo>
                    <a:pt x="638" y="1940"/>
                  </a:lnTo>
                  <a:lnTo>
                    <a:pt x="640" y="1942"/>
                  </a:lnTo>
                  <a:lnTo>
                    <a:pt x="640" y="1946"/>
                  </a:lnTo>
                  <a:lnTo>
                    <a:pt x="640" y="1950"/>
                  </a:lnTo>
                  <a:lnTo>
                    <a:pt x="642" y="1950"/>
                  </a:lnTo>
                  <a:lnTo>
                    <a:pt x="644" y="1952"/>
                  </a:lnTo>
                  <a:lnTo>
                    <a:pt x="646" y="1952"/>
                  </a:lnTo>
                  <a:lnTo>
                    <a:pt x="646" y="1954"/>
                  </a:lnTo>
                  <a:lnTo>
                    <a:pt x="646" y="1958"/>
                  </a:lnTo>
                  <a:lnTo>
                    <a:pt x="646" y="1962"/>
                  </a:lnTo>
                  <a:lnTo>
                    <a:pt x="648" y="1964"/>
                  </a:lnTo>
                  <a:lnTo>
                    <a:pt x="650" y="1966"/>
                  </a:lnTo>
                  <a:lnTo>
                    <a:pt x="654" y="1968"/>
                  </a:lnTo>
                  <a:lnTo>
                    <a:pt x="656" y="1972"/>
                  </a:lnTo>
                  <a:lnTo>
                    <a:pt x="654" y="1976"/>
                  </a:lnTo>
                  <a:lnTo>
                    <a:pt x="652" y="1980"/>
                  </a:lnTo>
                  <a:lnTo>
                    <a:pt x="648" y="1984"/>
                  </a:lnTo>
                  <a:lnTo>
                    <a:pt x="644" y="1986"/>
                  </a:lnTo>
                  <a:lnTo>
                    <a:pt x="638" y="1988"/>
                  </a:lnTo>
                  <a:lnTo>
                    <a:pt x="634" y="1986"/>
                  </a:lnTo>
                  <a:lnTo>
                    <a:pt x="628" y="1980"/>
                  </a:lnTo>
                  <a:lnTo>
                    <a:pt x="624" y="1974"/>
                  </a:lnTo>
                  <a:lnTo>
                    <a:pt x="624" y="1970"/>
                  </a:lnTo>
                  <a:lnTo>
                    <a:pt x="624" y="1968"/>
                  </a:lnTo>
                  <a:lnTo>
                    <a:pt x="626" y="1966"/>
                  </a:lnTo>
                  <a:lnTo>
                    <a:pt x="630" y="1964"/>
                  </a:lnTo>
                  <a:lnTo>
                    <a:pt x="634" y="1960"/>
                  </a:lnTo>
                  <a:lnTo>
                    <a:pt x="632" y="1958"/>
                  </a:lnTo>
                  <a:lnTo>
                    <a:pt x="628" y="1956"/>
                  </a:lnTo>
                  <a:lnTo>
                    <a:pt x="626" y="1952"/>
                  </a:lnTo>
                  <a:lnTo>
                    <a:pt x="626" y="1946"/>
                  </a:lnTo>
                  <a:lnTo>
                    <a:pt x="630" y="1942"/>
                  </a:lnTo>
                  <a:lnTo>
                    <a:pt x="630" y="1940"/>
                  </a:lnTo>
                  <a:lnTo>
                    <a:pt x="628" y="1940"/>
                  </a:lnTo>
                  <a:lnTo>
                    <a:pt x="618" y="1946"/>
                  </a:lnTo>
                  <a:lnTo>
                    <a:pt x="614" y="1944"/>
                  </a:lnTo>
                  <a:lnTo>
                    <a:pt x="612" y="1946"/>
                  </a:lnTo>
                  <a:lnTo>
                    <a:pt x="610" y="1954"/>
                  </a:lnTo>
                  <a:lnTo>
                    <a:pt x="606" y="1968"/>
                  </a:lnTo>
                  <a:lnTo>
                    <a:pt x="604" y="1978"/>
                  </a:lnTo>
                  <a:lnTo>
                    <a:pt x="600" y="1986"/>
                  </a:lnTo>
                  <a:lnTo>
                    <a:pt x="592" y="2000"/>
                  </a:lnTo>
                  <a:lnTo>
                    <a:pt x="588" y="2004"/>
                  </a:lnTo>
                  <a:lnTo>
                    <a:pt x="586" y="2004"/>
                  </a:lnTo>
                  <a:lnTo>
                    <a:pt x="586" y="2008"/>
                  </a:lnTo>
                  <a:lnTo>
                    <a:pt x="586" y="2010"/>
                  </a:lnTo>
                  <a:lnTo>
                    <a:pt x="584" y="2012"/>
                  </a:lnTo>
                  <a:lnTo>
                    <a:pt x="578" y="2014"/>
                  </a:lnTo>
                  <a:lnTo>
                    <a:pt x="572" y="2016"/>
                  </a:lnTo>
                  <a:lnTo>
                    <a:pt x="570" y="2018"/>
                  </a:lnTo>
                  <a:lnTo>
                    <a:pt x="572" y="2020"/>
                  </a:lnTo>
                  <a:lnTo>
                    <a:pt x="578" y="2024"/>
                  </a:lnTo>
                  <a:lnTo>
                    <a:pt x="586" y="2024"/>
                  </a:lnTo>
                  <a:lnTo>
                    <a:pt x="590" y="2026"/>
                  </a:lnTo>
                  <a:lnTo>
                    <a:pt x="584" y="2030"/>
                  </a:lnTo>
                  <a:lnTo>
                    <a:pt x="570" y="2026"/>
                  </a:lnTo>
                  <a:lnTo>
                    <a:pt x="564" y="2026"/>
                  </a:lnTo>
                  <a:lnTo>
                    <a:pt x="562" y="2028"/>
                  </a:lnTo>
                  <a:lnTo>
                    <a:pt x="562" y="2030"/>
                  </a:lnTo>
                  <a:lnTo>
                    <a:pt x="562" y="2032"/>
                  </a:lnTo>
                  <a:lnTo>
                    <a:pt x="568" y="2034"/>
                  </a:lnTo>
                  <a:lnTo>
                    <a:pt x="574" y="2036"/>
                  </a:lnTo>
                  <a:lnTo>
                    <a:pt x="580" y="2036"/>
                  </a:lnTo>
                  <a:lnTo>
                    <a:pt x="586" y="2036"/>
                  </a:lnTo>
                  <a:lnTo>
                    <a:pt x="588" y="2036"/>
                  </a:lnTo>
                  <a:lnTo>
                    <a:pt x="588" y="2038"/>
                  </a:lnTo>
                  <a:lnTo>
                    <a:pt x="588" y="2040"/>
                  </a:lnTo>
                  <a:lnTo>
                    <a:pt x="580" y="2042"/>
                  </a:lnTo>
                  <a:lnTo>
                    <a:pt x="576" y="2042"/>
                  </a:lnTo>
                  <a:lnTo>
                    <a:pt x="572" y="2042"/>
                  </a:lnTo>
                  <a:lnTo>
                    <a:pt x="566" y="2038"/>
                  </a:lnTo>
                  <a:lnTo>
                    <a:pt x="564" y="2038"/>
                  </a:lnTo>
                  <a:lnTo>
                    <a:pt x="558" y="2040"/>
                  </a:lnTo>
                  <a:lnTo>
                    <a:pt x="550" y="2044"/>
                  </a:lnTo>
                  <a:lnTo>
                    <a:pt x="540" y="2048"/>
                  </a:lnTo>
                  <a:lnTo>
                    <a:pt x="532" y="2054"/>
                  </a:lnTo>
                  <a:lnTo>
                    <a:pt x="524" y="2058"/>
                  </a:lnTo>
                  <a:lnTo>
                    <a:pt x="504" y="2060"/>
                  </a:lnTo>
                  <a:lnTo>
                    <a:pt x="492" y="2064"/>
                  </a:lnTo>
                  <a:lnTo>
                    <a:pt x="488" y="2068"/>
                  </a:lnTo>
                  <a:lnTo>
                    <a:pt x="486" y="2070"/>
                  </a:lnTo>
                  <a:lnTo>
                    <a:pt x="484" y="2074"/>
                  </a:lnTo>
                  <a:lnTo>
                    <a:pt x="484" y="2078"/>
                  </a:lnTo>
                  <a:lnTo>
                    <a:pt x="486" y="2086"/>
                  </a:lnTo>
                  <a:lnTo>
                    <a:pt x="484" y="2090"/>
                  </a:lnTo>
                  <a:lnTo>
                    <a:pt x="484" y="2094"/>
                  </a:lnTo>
                  <a:lnTo>
                    <a:pt x="486" y="2098"/>
                  </a:lnTo>
                  <a:lnTo>
                    <a:pt x="486" y="2100"/>
                  </a:lnTo>
                  <a:lnTo>
                    <a:pt x="484" y="2100"/>
                  </a:lnTo>
                  <a:lnTo>
                    <a:pt x="484" y="2102"/>
                  </a:lnTo>
                  <a:lnTo>
                    <a:pt x="486" y="2106"/>
                  </a:lnTo>
                  <a:lnTo>
                    <a:pt x="488" y="2108"/>
                  </a:lnTo>
                  <a:lnTo>
                    <a:pt x="486" y="2110"/>
                  </a:lnTo>
                  <a:lnTo>
                    <a:pt x="482" y="2112"/>
                  </a:lnTo>
                  <a:lnTo>
                    <a:pt x="480" y="2114"/>
                  </a:lnTo>
                  <a:lnTo>
                    <a:pt x="478" y="2118"/>
                  </a:lnTo>
                  <a:lnTo>
                    <a:pt x="472" y="2120"/>
                  </a:lnTo>
                  <a:lnTo>
                    <a:pt x="444" y="2132"/>
                  </a:lnTo>
                  <a:lnTo>
                    <a:pt x="434" y="2136"/>
                  </a:lnTo>
                  <a:lnTo>
                    <a:pt x="428" y="2140"/>
                  </a:lnTo>
                  <a:lnTo>
                    <a:pt x="426" y="2144"/>
                  </a:lnTo>
                  <a:lnTo>
                    <a:pt x="426" y="2146"/>
                  </a:lnTo>
                  <a:lnTo>
                    <a:pt x="426" y="2150"/>
                  </a:lnTo>
                  <a:lnTo>
                    <a:pt x="428" y="2152"/>
                  </a:lnTo>
                  <a:lnTo>
                    <a:pt x="432" y="2154"/>
                  </a:lnTo>
                  <a:lnTo>
                    <a:pt x="434" y="2154"/>
                  </a:lnTo>
                  <a:lnTo>
                    <a:pt x="432" y="2156"/>
                  </a:lnTo>
                  <a:lnTo>
                    <a:pt x="420" y="2162"/>
                  </a:lnTo>
                  <a:lnTo>
                    <a:pt x="416" y="2164"/>
                  </a:lnTo>
                  <a:lnTo>
                    <a:pt x="412" y="2164"/>
                  </a:lnTo>
                  <a:lnTo>
                    <a:pt x="402" y="2162"/>
                  </a:lnTo>
                  <a:lnTo>
                    <a:pt x="392" y="2158"/>
                  </a:lnTo>
                  <a:lnTo>
                    <a:pt x="384" y="2158"/>
                  </a:lnTo>
                  <a:lnTo>
                    <a:pt x="376" y="2160"/>
                  </a:lnTo>
                  <a:lnTo>
                    <a:pt x="374" y="2160"/>
                  </a:lnTo>
                  <a:lnTo>
                    <a:pt x="372" y="2156"/>
                  </a:lnTo>
                  <a:lnTo>
                    <a:pt x="372" y="2148"/>
                  </a:lnTo>
                  <a:lnTo>
                    <a:pt x="370" y="2142"/>
                  </a:lnTo>
                  <a:lnTo>
                    <a:pt x="368" y="2140"/>
                  </a:lnTo>
                  <a:lnTo>
                    <a:pt x="364" y="2140"/>
                  </a:lnTo>
                  <a:lnTo>
                    <a:pt x="356" y="2140"/>
                  </a:lnTo>
                  <a:lnTo>
                    <a:pt x="348" y="2140"/>
                  </a:lnTo>
                  <a:lnTo>
                    <a:pt x="346" y="2138"/>
                  </a:lnTo>
                  <a:lnTo>
                    <a:pt x="346" y="2142"/>
                  </a:lnTo>
                  <a:lnTo>
                    <a:pt x="348" y="2148"/>
                  </a:lnTo>
                  <a:lnTo>
                    <a:pt x="348" y="2152"/>
                  </a:lnTo>
                  <a:lnTo>
                    <a:pt x="348" y="2156"/>
                  </a:lnTo>
                  <a:lnTo>
                    <a:pt x="352" y="2160"/>
                  </a:lnTo>
                  <a:lnTo>
                    <a:pt x="356" y="2164"/>
                  </a:lnTo>
                  <a:lnTo>
                    <a:pt x="358" y="2172"/>
                  </a:lnTo>
                  <a:lnTo>
                    <a:pt x="360" y="2180"/>
                  </a:lnTo>
                  <a:lnTo>
                    <a:pt x="360" y="2188"/>
                  </a:lnTo>
                  <a:lnTo>
                    <a:pt x="360" y="2192"/>
                  </a:lnTo>
                  <a:lnTo>
                    <a:pt x="360" y="2194"/>
                  </a:lnTo>
                  <a:lnTo>
                    <a:pt x="362" y="2200"/>
                  </a:lnTo>
                  <a:lnTo>
                    <a:pt x="364" y="2202"/>
                  </a:lnTo>
                  <a:lnTo>
                    <a:pt x="358" y="2204"/>
                  </a:lnTo>
                  <a:lnTo>
                    <a:pt x="352" y="2204"/>
                  </a:lnTo>
                  <a:lnTo>
                    <a:pt x="350" y="2202"/>
                  </a:lnTo>
                  <a:lnTo>
                    <a:pt x="348" y="2198"/>
                  </a:lnTo>
                  <a:lnTo>
                    <a:pt x="346" y="2198"/>
                  </a:lnTo>
                  <a:lnTo>
                    <a:pt x="344" y="2198"/>
                  </a:lnTo>
                  <a:lnTo>
                    <a:pt x="344" y="2200"/>
                  </a:lnTo>
                  <a:lnTo>
                    <a:pt x="342" y="2202"/>
                  </a:lnTo>
                  <a:lnTo>
                    <a:pt x="338" y="2202"/>
                  </a:lnTo>
                  <a:lnTo>
                    <a:pt x="334" y="2202"/>
                  </a:lnTo>
                  <a:lnTo>
                    <a:pt x="332" y="2200"/>
                  </a:lnTo>
                  <a:lnTo>
                    <a:pt x="330" y="2198"/>
                  </a:lnTo>
                  <a:lnTo>
                    <a:pt x="326" y="2200"/>
                  </a:lnTo>
                  <a:lnTo>
                    <a:pt x="318" y="2206"/>
                  </a:lnTo>
                  <a:lnTo>
                    <a:pt x="314" y="2208"/>
                  </a:lnTo>
                  <a:lnTo>
                    <a:pt x="310" y="2206"/>
                  </a:lnTo>
                  <a:lnTo>
                    <a:pt x="302" y="2192"/>
                  </a:lnTo>
                  <a:lnTo>
                    <a:pt x="298" y="2186"/>
                  </a:lnTo>
                  <a:lnTo>
                    <a:pt x="296" y="2186"/>
                  </a:lnTo>
                  <a:lnTo>
                    <a:pt x="292" y="2188"/>
                  </a:lnTo>
                  <a:lnTo>
                    <a:pt x="286" y="2190"/>
                  </a:lnTo>
                  <a:lnTo>
                    <a:pt x="282" y="2190"/>
                  </a:lnTo>
                  <a:lnTo>
                    <a:pt x="280" y="2190"/>
                  </a:lnTo>
                  <a:lnTo>
                    <a:pt x="278" y="2194"/>
                  </a:lnTo>
                  <a:lnTo>
                    <a:pt x="278" y="2198"/>
                  </a:lnTo>
                  <a:lnTo>
                    <a:pt x="276" y="2200"/>
                  </a:lnTo>
                  <a:lnTo>
                    <a:pt x="270" y="2200"/>
                  </a:lnTo>
                  <a:lnTo>
                    <a:pt x="264" y="2198"/>
                  </a:lnTo>
                  <a:lnTo>
                    <a:pt x="260" y="2196"/>
                  </a:lnTo>
                  <a:lnTo>
                    <a:pt x="258" y="2198"/>
                  </a:lnTo>
                  <a:lnTo>
                    <a:pt x="250" y="2200"/>
                  </a:lnTo>
                  <a:lnTo>
                    <a:pt x="240" y="2202"/>
                  </a:lnTo>
                  <a:lnTo>
                    <a:pt x="234" y="2206"/>
                  </a:lnTo>
                  <a:lnTo>
                    <a:pt x="230" y="2212"/>
                  </a:lnTo>
                  <a:lnTo>
                    <a:pt x="230" y="2216"/>
                  </a:lnTo>
                  <a:lnTo>
                    <a:pt x="232" y="2218"/>
                  </a:lnTo>
                  <a:lnTo>
                    <a:pt x="236" y="2218"/>
                  </a:lnTo>
                  <a:lnTo>
                    <a:pt x="240" y="2218"/>
                  </a:lnTo>
                  <a:lnTo>
                    <a:pt x="244" y="2218"/>
                  </a:lnTo>
                  <a:lnTo>
                    <a:pt x="246" y="2220"/>
                  </a:lnTo>
                  <a:lnTo>
                    <a:pt x="242" y="2220"/>
                  </a:lnTo>
                  <a:lnTo>
                    <a:pt x="238" y="2222"/>
                  </a:lnTo>
                  <a:lnTo>
                    <a:pt x="238" y="2224"/>
                  </a:lnTo>
                  <a:lnTo>
                    <a:pt x="236" y="2226"/>
                  </a:lnTo>
                  <a:lnTo>
                    <a:pt x="238" y="2228"/>
                  </a:lnTo>
                  <a:lnTo>
                    <a:pt x="242" y="2228"/>
                  </a:lnTo>
                  <a:lnTo>
                    <a:pt x="246" y="2228"/>
                  </a:lnTo>
                  <a:lnTo>
                    <a:pt x="250" y="2230"/>
                  </a:lnTo>
                  <a:lnTo>
                    <a:pt x="246" y="2232"/>
                  </a:lnTo>
                  <a:lnTo>
                    <a:pt x="240" y="2234"/>
                  </a:lnTo>
                  <a:lnTo>
                    <a:pt x="234" y="2234"/>
                  </a:lnTo>
                  <a:lnTo>
                    <a:pt x="234" y="2236"/>
                  </a:lnTo>
                  <a:lnTo>
                    <a:pt x="236" y="2238"/>
                  </a:lnTo>
                  <a:lnTo>
                    <a:pt x="242" y="2244"/>
                  </a:lnTo>
                  <a:lnTo>
                    <a:pt x="244" y="2248"/>
                  </a:lnTo>
                  <a:lnTo>
                    <a:pt x="248" y="2250"/>
                  </a:lnTo>
                  <a:lnTo>
                    <a:pt x="252" y="2250"/>
                  </a:lnTo>
                  <a:lnTo>
                    <a:pt x="258" y="2248"/>
                  </a:lnTo>
                  <a:lnTo>
                    <a:pt x="264" y="2248"/>
                  </a:lnTo>
                  <a:lnTo>
                    <a:pt x="280" y="2254"/>
                  </a:lnTo>
                  <a:lnTo>
                    <a:pt x="286" y="2258"/>
                  </a:lnTo>
                  <a:lnTo>
                    <a:pt x="292" y="2260"/>
                  </a:lnTo>
                  <a:lnTo>
                    <a:pt x="296" y="2262"/>
                  </a:lnTo>
                  <a:lnTo>
                    <a:pt x="302" y="2262"/>
                  </a:lnTo>
                  <a:lnTo>
                    <a:pt x="306" y="2262"/>
                  </a:lnTo>
                  <a:lnTo>
                    <a:pt x="306" y="2266"/>
                  </a:lnTo>
                  <a:lnTo>
                    <a:pt x="306" y="2268"/>
                  </a:lnTo>
                  <a:lnTo>
                    <a:pt x="314" y="2268"/>
                  </a:lnTo>
                  <a:lnTo>
                    <a:pt x="318" y="2268"/>
                  </a:lnTo>
                  <a:lnTo>
                    <a:pt x="322" y="2268"/>
                  </a:lnTo>
                  <a:lnTo>
                    <a:pt x="324" y="2270"/>
                  </a:lnTo>
                  <a:lnTo>
                    <a:pt x="322" y="2272"/>
                  </a:lnTo>
                  <a:lnTo>
                    <a:pt x="320" y="2276"/>
                  </a:lnTo>
                  <a:lnTo>
                    <a:pt x="320" y="2280"/>
                  </a:lnTo>
                  <a:lnTo>
                    <a:pt x="322" y="2282"/>
                  </a:lnTo>
                  <a:lnTo>
                    <a:pt x="330" y="2282"/>
                  </a:lnTo>
                  <a:lnTo>
                    <a:pt x="334" y="2282"/>
                  </a:lnTo>
                  <a:lnTo>
                    <a:pt x="334" y="2286"/>
                  </a:lnTo>
                  <a:lnTo>
                    <a:pt x="332" y="2290"/>
                  </a:lnTo>
                  <a:lnTo>
                    <a:pt x="334" y="2290"/>
                  </a:lnTo>
                  <a:lnTo>
                    <a:pt x="336" y="2292"/>
                  </a:lnTo>
                  <a:lnTo>
                    <a:pt x="340" y="2292"/>
                  </a:lnTo>
                  <a:lnTo>
                    <a:pt x="342" y="2294"/>
                  </a:lnTo>
                  <a:lnTo>
                    <a:pt x="342" y="2298"/>
                  </a:lnTo>
                  <a:lnTo>
                    <a:pt x="338" y="2300"/>
                  </a:lnTo>
                  <a:lnTo>
                    <a:pt x="336" y="2302"/>
                  </a:lnTo>
                  <a:lnTo>
                    <a:pt x="336" y="2306"/>
                  </a:lnTo>
                  <a:lnTo>
                    <a:pt x="340" y="2314"/>
                  </a:lnTo>
                  <a:lnTo>
                    <a:pt x="348" y="2324"/>
                  </a:lnTo>
                  <a:lnTo>
                    <a:pt x="358" y="2332"/>
                  </a:lnTo>
                  <a:lnTo>
                    <a:pt x="368" y="2336"/>
                  </a:lnTo>
                  <a:lnTo>
                    <a:pt x="374" y="2338"/>
                  </a:lnTo>
                  <a:lnTo>
                    <a:pt x="376" y="2338"/>
                  </a:lnTo>
                  <a:lnTo>
                    <a:pt x="374" y="2342"/>
                  </a:lnTo>
                  <a:lnTo>
                    <a:pt x="374" y="2346"/>
                  </a:lnTo>
                  <a:lnTo>
                    <a:pt x="376" y="2348"/>
                  </a:lnTo>
                  <a:lnTo>
                    <a:pt x="378" y="2352"/>
                  </a:lnTo>
                  <a:lnTo>
                    <a:pt x="378" y="2360"/>
                  </a:lnTo>
                  <a:lnTo>
                    <a:pt x="376" y="2364"/>
                  </a:lnTo>
                  <a:lnTo>
                    <a:pt x="374" y="2366"/>
                  </a:lnTo>
                  <a:lnTo>
                    <a:pt x="370" y="2368"/>
                  </a:lnTo>
                  <a:lnTo>
                    <a:pt x="370" y="2370"/>
                  </a:lnTo>
                  <a:lnTo>
                    <a:pt x="378" y="2376"/>
                  </a:lnTo>
                  <a:lnTo>
                    <a:pt x="388" y="2382"/>
                  </a:lnTo>
                  <a:lnTo>
                    <a:pt x="392" y="2388"/>
                  </a:lnTo>
                  <a:lnTo>
                    <a:pt x="394" y="2396"/>
                  </a:lnTo>
                  <a:lnTo>
                    <a:pt x="394" y="2402"/>
                  </a:lnTo>
                  <a:lnTo>
                    <a:pt x="394" y="2404"/>
                  </a:lnTo>
                  <a:lnTo>
                    <a:pt x="392" y="2398"/>
                  </a:lnTo>
                  <a:lnTo>
                    <a:pt x="388" y="2388"/>
                  </a:lnTo>
                  <a:lnTo>
                    <a:pt x="384" y="2384"/>
                  </a:lnTo>
                  <a:lnTo>
                    <a:pt x="380" y="2382"/>
                  </a:lnTo>
                  <a:lnTo>
                    <a:pt x="378" y="2390"/>
                  </a:lnTo>
                  <a:lnTo>
                    <a:pt x="372" y="2410"/>
                  </a:lnTo>
                  <a:lnTo>
                    <a:pt x="370" y="2426"/>
                  </a:lnTo>
                  <a:lnTo>
                    <a:pt x="372" y="2428"/>
                  </a:lnTo>
                  <a:lnTo>
                    <a:pt x="374" y="2426"/>
                  </a:lnTo>
                  <a:lnTo>
                    <a:pt x="376" y="2426"/>
                  </a:lnTo>
                  <a:lnTo>
                    <a:pt x="378" y="2426"/>
                  </a:lnTo>
                  <a:lnTo>
                    <a:pt x="378" y="2430"/>
                  </a:lnTo>
                  <a:lnTo>
                    <a:pt x="376" y="2432"/>
                  </a:lnTo>
                  <a:lnTo>
                    <a:pt x="374" y="2432"/>
                  </a:lnTo>
                  <a:lnTo>
                    <a:pt x="372" y="2436"/>
                  </a:lnTo>
                  <a:lnTo>
                    <a:pt x="370" y="2460"/>
                  </a:lnTo>
                  <a:lnTo>
                    <a:pt x="366" y="2480"/>
                  </a:lnTo>
                  <a:lnTo>
                    <a:pt x="362" y="2492"/>
                  </a:lnTo>
                  <a:lnTo>
                    <a:pt x="358" y="2500"/>
                  </a:lnTo>
                  <a:lnTo>
                    <a:pt x="352" y="2502"/>
                  </a:lnTo>
                  <a:lnTo>
                    <a:pt x="342" y="2506"/>
                  </a:lnTo>
                  <a:lnTo>
                    <a:pt x="334" y="2506"/>
                  </a:lnTo>
                  <a:lnTo>
                    <a:pt x="326" y="2504"/>
                  </a:lnTo>
                  <a:lnTo>
                    <a:pt x="314" y="2500"/>
                  </a:lnTo>
                  <a:lnTo>
                    <a:pt x="308" y="2500"/>
                  </a:lnTo>
                  <a:lnTo>
                    <a:pt x="300" y="2502"/>
                  </a:lnTo>
                  <a:lnTo>
                    <a:pt x="286" y="2498"/>
                  </a:lnTo>
                  <a:lnTo>
                    <a:pt x="278" y="2496"/>
                  </a:lnTo>
                  <a:lnTo>
                    <a:pt x="270" y="2496"/>
                  </a:lnTo>
                  <a:lnTo>
                    <a:pt x="252" y="2498"/>
                  </a:lnTo>
                  <a:lnTo>
                    <a:pt x="232" y="2498"/>
                  </a:lnTo>
                  <a:lnTo>
                    <a:pt x="220" y="2498"/>
                  </a:lnTo>
                  <a:lnTo>
                    <a:pt x="206" y="2494"/>
                  </a:lnTo>
                  <a:lnTo>
                    <a:pt x="192" y="2490"/>
                  </a:lnTo>
                  <a:lnTo>
                    <a:pt x="182" y="2490"/>
                  </a:lnTo>
                  <a:lnTo>
                    <a:pt x="172" y="2492"/>
                  </a:lnTo>
                  <a:lnTo>
                    <a:pt x="154" y="2492"/>
                  </a:lnTo>
                  <a:lnTo>
                    <a:pt x="142" y="2492"/>
                  </a:lnTo>
                  <a:lnTo>
                    <a:pt x="134" y="2490"/>
                  </a:lnTo>
                  <a:lnTo>
                    <a:pt x="120" y="2486"/>
                  </a:lnTo>
                  <a:lnTo>
                    <a:pt x="110" y="2482"/>
                  </a:lnTo>
                  <a:lnTo>
                    <a:pt x="104" y="2484"/>
                  </a:lnTo>
                  <a:lnTo>
                    <a:pt x="98" y="2486"/>
                  </a:lnTo>
                  <a:lnTo>
                    <a:pt x="92" y="2490"/>
                  </a:lnTo>
                  <a:lnTo>
                    <a:pt x="88" y="2492"/>
                  </a:lnTo>
                  <a:lnTo>
                    <a:pt x="86" y="2500"/>
                  </a:lnTo>
                  <a:lnTo>
                    <a:pt x="86" y="2504"/>
                  </a:lnTo>
                  <a:lnTo>
                    <a:pt x="82" y="2506"/>
                  </a:lnTo>
                  <a:lnTo>
                    <a:pt x="78" y="2506"/>
                  </a:lnTo>
                  <a:lnTo>
                    <a:pt x="72" y="2506"/>
                  </a:lnTo>
                  <a:lnTo>
                    <a:pt x="66" y="2508"/>
                  </a:lnTo>
                  <a:lnTo>
                    <a:pt x="54" y="2516"/>
                  </a:lnTo>
                  <a:lnTo>
                    <a:pt x="50" y="2520"/>
                  </a:lnTo>
                  <a:lnTo>
                    <a:pt x="48" y="2524"/>
                  </a:lnTo>
                  <a:lnTo>
                    <a:pt x="48" y="2528"/>
                  </a:lnTo>
                  <a:lnTo>
                    <a:pt x="50" y="2530"/>
                  </a:lnTo>
                  <a:lnTo>
                    <a:pt x="54" y="2534"/>
                  </a:lnTo>
                  <a:lnTo>
                    <a:pt x="56" y="2540"/>
                  </a:lnTo>
                  <a:lnTo>
                    <a:pt x="58" y="2546"/>
                  </a:lnTo>
                  <a:lnTo>
                    <a:pt x="60" y="2552"/>
                  </a:lnTo>
                  <a:lnTo>
                    <a:pt x="64" y="2560"/>
                  </a:lnTo>
                  <a:lnTo>
                    <a:pt x="64" y="2570"/>
                  </a:lnTo>
                  <a:lnTo>
                    <a:pt x="64" y="2578"/>
                  </a:lnTo>
                  <a:lnTo>
                    <a:pt x="66" y="2588"/>
                  </a:lnTo>
                  <a:lnTo>
                    <a:pt x="64" y="2594"/>
                  </a:lnTo>
                  <a:lnTo>
                    <a:pt x="66" y="2596"/>
                  </a:lnTo>
                  <a:lnTo>
                    <a:pt x="68" y="2600"/>
                  </a:lnTo>
                  <a:lnTo>
                    <a:pt x="66" y="2602"/>
                  </a:lnTo>
                  <a:lnTo>
                    <a:pt x="66" y="2606"/>
                  </a:lnTo>
                  <a:lnTo>
                    <a:pt x="66" y="2612"/>
                  </a:lnTo>
                  <a:lnTo>
                    <a:pt x="74" y="2628"/>
                  </a:lnTo>
                  <a:lnTo>
                    <a:pt x="74" y="2632"/>
                  </a:lnTo>
                  <a:lnTo>
                    <a:pt x="74" y="2640"/>
                  </a:lnTo>
                  <a:lnTo>
                    <a:pt x="70" y="2654"/>
                  </a:lnTo>
                  <a:lnTo>
                    <a:pt x="66" y="2670"/>
                  </a:lnTo>
                  <a:lnTo>
                    <a:pt x="64" y="2680"/>
                  </a:lnTo>
                  <a:lnTo>
                    <a:pt x="66" y="2684"/>
                  </a:lnTo>
                  <a:lnTo>
                    <a:pt x="64" y="2688"/>
                  </a:lnTo>
                  <a:lnTo>
                    <a:pt x="60" y="2694"/>
                  </a:lnTo>
                  <a:lnTo>
                    <a:pt x="56" y="2708"/>
                  </a:lnTo>
                  <a:lnTo>
                    <a:pt x="54" y="2716"/>
                  </a:lnTo>
                  <a:lnTo>
                    <a:pt x="50" y="2720"/>
                  </a:lnTo>
                  <a:lnTo>
                    <a:pt x="46" y="2724"/>
                  </a:lnTo>
                  <a:lnTo>
                    <a:pt x="44" y="2726"/>
                  </a:lnTo>
                  <a:lnTo>
                    <a:pt x="44" y="2730"/>
                  </a:lnTo>
                  <a:lnTo>
                    <a:pt x="44" y="2734"/>
                  </a:lnTo>
                  <a:lnTo>
                    <a:pt x="44" y="2740"/>
                  </a:lnTo>
                  <a:lnTo>
                    <a:pt x="40" y="2750"/>
                  </a:lnTo>
                  <a:lnTo>
                    <a:pt x="38" y="2756"/>
                  </a:lnTo>
                  <a:lnTo>
                    <a:pt x="38" y="2760"/>
                  </a:lnTo>
                  <a:lnTo>
                    <a:pt x="40" y="2762"/>
                  </a:lnTo>
                  <a:lnTo>
                    <a:pt x="44" y="2764"/>
                  </a:lnTo>
                  <a:lnTo>
                    <a:pt x="52" y="2764"/>
                  </a:lnTo>
                  <a:lnTo>
                    <a:pt x="50" y="2766"/>
                  </a:lnTo>
                  <a:lnTo>
                    <a:pt x="50" y="2770"/>
                  </a:lnTo>
                  <a:lnTo>
                    <a:pt x="50" y="2772"/>
                  </a:lnTo>
                  <a:lnTo>
                    <a:pt x="50" y="2776"/>
                  </a:lnTo>
                  <a:lnTo>
                    <a:pt x="50" y="2778"/>
                  </a:lnTo>
                  <a:lnTo>
                    <a:pt x="52" y="2778"/>
                  </a:lnTo>
                  <a:lnTo>
                    <a:pt x="58" y="2776"/>
                  </a:lnTo>
                  <a:lnTo>
                    <a:pt x="64" y="2778"/>
                  </a:lnTo>
                  <a:lnTo>
                    <a:pt x="66" y="2780"/>
                  </a:lnTo>
                  <a:lnTo>
                    <a:pt x="66" y="2782"/>
                  </a:lnTo>
                  <a:lnTo>
                    <a:pt x="68" y="2788"/>
                  </a:lnTo>
                  <a:lnTo>
                    <a:pt x="66" y="2794"/>
                  </a:lnTo>
                  <a:lnTo>
                    <a:pt x="64" y="2804"/>
                  </a:lnTo>
                  <a:lnTo>
                    <a:pt x="66" y="2810"/>
                  </a:lnTo>
                  <a:lnTo>
                    <a:pt x="66" y="2820"/>
                  </a:lnTo>
                  <a:lnTo>
                    <a:pt x="62" y="2842"/>
                  </a:lnTo>
                  <a:lnTo>
                    <a:pt x="60" y="2856"/>
                  </a:lnTo>
                  <a:lnTo>
                    <a:pt x="62" y="2856"/>
                  </a:lnTo>
                  <a:lnTo>
                    <a:pt x="64" y="2856"/>
                  </a:lnTo>
                  <a:lnTo>
                    <a:pt x="68" y="2852"/>
                  </a:lnTo>
                  <a:lnTo>
                    <a:pt x="72" y="2850"/>
                  </a:lnTo>
                  <a:lnTo>
                    <a:pt x="80" y="2850"/>
                  </a:lnTo>
                  <a:lnTo>
                    <a:pt x="92" y="2854"/>
                  </a:lnTo>
                  <a:lnTo>
                    <a:pt x="104" y="2858"/>
                  </a:lnTo>
                  <a:lnTo>
                    <a:pt x="110" y="2856"/>
                  </a:lnTo>
                  <a:lnTo>
                    <a:pt x="114" y="2852"/>
                  </a:lnTo>
                  <a:lnTo>
                    <a:pt x="124" y="2846"/>
                  </a:lnTo>
                  <a:lnTo>
                    <a:pt x="130" y="2844"/>
                  </a:lnTo>
                  <a:lnTo>
                    <a:pt x="136" y="2844"/>
                  </a:lnTo>
                  <a:lnTo>
                    <a:pt x="142" y="2846"/>
                  </a:lnTo>
                  <a:lnTo>
                    <a:pt x="148" y="2850"/>
                  </a:lnTo>
                  <a:lnTo>
                    <a:pt x="158" y="2858"/>
                  </a:lnTo>
                  <a:lnTo>
                    <a:pt x="160" y="2862"/>
                  </a:lnTo>
                  <a:lnTo>
                    <a:pt x="162" y="2866"/>
                  </a:lnTo>
                  <a:lnTo>
                    <a:pt x="162" y="2874"/>
                  </a:lnTo>
                  <a:lnTo>
                    <a:pt x="166" y="2882"/>
                  </a:lnTo>
                  <a:lnTo>
                    <a:pt x="174" y="2892"/>
                  </a:lnTo>
                  <a:lnTo>
                    <a:pt x="182" y="2902"/>
                  </a:lnTo>
                  <a:lnTo>
                    <a:pt x="190" y="2908"/>
                  </a:lnTo>
                  <a:lnTo>
                    <a:pt x="196" y="2910"/>
                  </a:lnTo>
                  <a:lnTo>
                    <a:pt x="198" y="2910"/>
                  </a:lnTo>
                  <a:lnTo>
                    <a:pt x="202" y="2906"/>
                  </a:lnTo>
                  <a:lnTo>
                    <a:pt x="206" y="2902"/>
                  </a:lnTo>
                  <a:lnTo>
                    <a:pt x="208" y="2898"/>
                  </a:lnTo>
                  <a:lnTo>
                    <a:pt x="212" y="2892"/>
                  </a:lnTo>
                  <a:lnTo>
                    <a:pt x="214" y="2888"/>
                  </a:lnTo>
                  <a:lnTo>
                    <a:pt x="218" y="2886"/>
                  </a:lnTo>
                  <a:lnTo>
                    <a:pt x="228" y="2884"/>
                  </a:lnTo>
                  <a:lnTo>
                    <a:pt x="236" y="2884"/>
                  </a:lnTo>
                  <a:lnTo>
                    <a:pt x="238" y="2882"/>
                  </a:lnTo>
                  <a:lnTo>
                    <a:pt x="240" y="2880"/>
                  </a:lnTo>
                  <a:lnTo>
                    <a:pt x="246" y="2874"/>
                  </a:lnTo>
                  <a:lnTo>
                    <a:pt x="254" y="2868"/>
                  </a:lnTo>
                  <a:lnTo>
                    <a:pt x="264" y="2868"/>
                  </a:lnTo>
                  <a:lnTo>
                    <a:pt x="270" y="2868"/>
                  </a:lnTo>
                  <a:lnTo>
                    <a:pt x="276" y="2870"/>
                  </a:lnTo>
                  <a:lnTo>
                    <a:pt x="284" y="2872"/>
                  </a:lnTo>
                  <a:lnTo>
                    <a:pt x="292" y="2874"/>
                  </a:lnTo>
                  <a:lnTo>
                    <a:pt x="310" y="2870"/>
                  </a:lnTo>
                  <a:lnTo>
                    <a:pt x="322" y="2868"/>
                  </a:lnTo>
                  <a:lnTo>
                    <a:pt x="328" y="2866"/>
                  </a:lnTo>
                  <a:lnTo>
                    <a:pt x="332" y="2868"/>
                  </a:lnTo>
                  <a:lnTo>
                    <a:pt x="336" y="2870"/>
                  </a:lnTo>
                  <a:lnTo>
                    <a:pt x="340" y="2866"/>
                  </a:lnTo>
                  <a:lnTo>
                    <a:pt x="346" y="2852"/>
                  </a:lnTo>
                  <a:lnTo>
                    <a:pt x="350" y="2844"/>
                  </a:lnTo>
                  <a:lnTo>
                    <a:pt x="356" y="2836"/>
                  </a:lnTo>
                  <a:lnTo>
                    <a:pt x="364" y="2830"/>
                  </a:lnTo>
                  <a:lnTo>
                    <a:pt x="374" y="2828"/>
                  </a:lnTo>
                  <a:lnTo>
                    <a:pt x="390" y="2826"/>
                  </a:lnTo>
                  <a:lnTo>
                    <a:pt x="392" y="2824"/>
                  </a:lnTo>
                  <a:lnTo>
                    <a:pt x="390" y="2818"/>
                  </a:lnTo>
                  <a:lnTo>
                    <a:pt x="392" y="2808"/>
                  </a:lnTo>
                  <a:lnTo>
                    <a:pt x="396" y="2798"/>
                  </a:lnTo>
                  <a:lnTo>
                    <a:pt x="402" y="2788"/>
                  </a:lnTo>
                  <a:lnTo>
                    <a:pt x="410" y="2780"/>
                  </a:lnTo>
                  <a:lnTo>
                    <a:pt x="424" y="2768"/>
                  </a:lnTo>
                  <a:lnTo>
                    <a:pt x="428" y="2764"/>
                  </a:lnTo>
                  <a:lnTo>
                    <a:pt x="430" y="2760"/>
                  </a:lnTo>
                  <a:lnTo>
                    <a:pt x="428" y="2756"/>
                  </a:lnTo>
                  <a:lnTo>
                    <a:pt x="422" y="2752"/>
                  </a:lnTo>
                  <a:lnTo>
                    <a:pt x="416" y="2746"/>
                  </a:lnTo>
                  <a:lnTo>
                    <a:pt x="412" y="2740"/>
                  </a:lnTo>
                  <a:lnTo>
                    <a:pt x="410" y="2734"/>
                  </a:lnTo>
                  <a:lnTo>
                    <a:pt x="410" y="2724"/>
                  </a:lnTo>
                  <a:lnTo>
                    <a:pt x="412" y="2714"/>
                  </a:lnTo>
                  <a:lnTo>
                    <a:pt x="418" y="2702"/>
                  </a:lnTo>
                  <a:lnTo>
                    <a:pt x="424" y="2690"/>
                  </a:lnTo>
                  <a:lnTo>
                    <a:pt x="438" y="2670"/>
                  </a:lnTo>
                  <a:lnTo>
                    <a:pt x="446" y="2664"/>
                  </a:lnTo>
                  <a:lnTo>
                    <a:pt x="450" y="2660"/>
                  </a:lnTo>
                  <a:lnTo>
                    <a:pt x="460" y="2656"/>
                  </a:lnTo>
                  <a:lnTo>
                    <a:pt x="460" y="2654"/>
                  </a:lnTo>
                  <a:lnTo>
                    <a:pt x="460" y="2652"/>
                  </a:lnTo>
                  <a:lnTo>
                    <a:pt x="454" y="2648"/>
                  </a:lnTo>
                  <a:lnTo>
                    <a:pt x="454" y="2646"/>
                  </a:lnTo>
                  <a:lnTo>
                    <a:pt x="454" y="2642"/>
                  </a:lnTo>
                  <a:lnTo>
                    <a:pt x="458" y="2638"/>
                  </a:lnTo>
                  <a:lnTo>
                    <a:pt x="466" y="2634"/>
                  </a:lnTo>
                  <a:lnTo>
                    <a:pt x="484" y="2628"/>
                  </a:lnTo>
                  <a:lnTo>
                    <a:pt x="502" y="2624"/>
                  </a:lnTo>
                  <a:lnTo>
                    <a:pt x="508" y="2620"/>
                  </a:lnTo>
                  <a:lnTo>
                    <a:pt x="510" y="2616"/>
                  </a:lnTo>
                  <a:lnTo>
                    <a:pt x="514" y="2612"/>
                  </a:lnTo>
                  <a:lnTo>
                    <a:pt x="520" y="2608"/>
                  </a:lnTo>
                  <a:lnTo>
                    <a:pt x="536" y="2600"/>
                  </a:lnTo>
                  <a:lnTo>
                    <a:pt x="544" y="2596"/>
                  </a:lnTo>
                  <a:lnTo>
                    <a:pt x="550" y="2590"/>
                  </a:lnTo>
                  <a:lnTo>
                    <a:pt x="552" y="2584"/>
                  </a:lnTo>
                  <a:lnTo>
                    <a:pt x="552" y="2580"/>
                  </a:lnTo>
                  <a:lnTo>
                    <a:pt x="550" y="2576"/>
                  </a:lnTo>
                  <a:lnTo>
                    <a:pt x="550" y="2572"/>
                  </a:lnTo>
                  <a:lnTo>
                    <a:pt x="550" y="2570"/>
                  </a:lnTo>
                  <a:lnTo>
                    <a:pt x="554" y="2566"/>
                  </a:lnTo>
                  <a:lnTo>
                    <a:pt x="556" y="2566"/>
                  </a:lnTo>
                  <a:lnTo>
                    <a:pt x="556" y="2562"/>
                  </a:lnTo>
                  <a:lnTo>
                    <a:pt x="554" y="2560"/>
                  </a:lnTo>
                  <a:lnTo>
                    <a:pt x="548" y="2554"/>
                  </a:lnTo>
                  <a:lnTo>
                    <a:pt x="548" y="2542"/>
                  </a:lnTo>
                  <a:lnTo>
                    <a:pt x="548" y="2536"/>
                  </a:lnTo>
                  <a:lnTo>
                    <a:pt x="548" y="2532"/>
                  </a:lnTo>
                  <a:lnTo>
                    <a:pt x="548" y="2524"/>
                  </a:lnTo>
                  <a:lnTo>
                    <a:pt x="548" y="2518"/>
                  </a:lnTo>
                  <a:lnTo>
                    <a:pt x="550" y="2514"/>
                  </a:lnTo>
                  <a:lnTo>
                    <a:pt x="556" y="2510"/>
                  </a:lnTo>
                  <a:lnTo>
                    <a:pt x="564" y="2508"/>
                  </a:lnTo>
                  <a:lnTo>
                    <a:pt x="572" y="2502"/>
                  </a:lnTo>
                  <a:lnTo>
                    <a:pt x="584" y="2494"/>
                  </a:lnTo>
                  <a:lnTo>
                    <a:pt x="586" y="2494"/>
                  </a:lnTo>
                  <a:lnTo>
                    <a:pt x="588" y="2494"/>
                  </a:lnTo>
                  <a:lnTo>
                    <a:pt x="590" y="2498"/>
                  </a:lnTo>
                  <a:lnTo>
                    <a:pt x="592" y="2500"/>
                  </a:lnTo>
                  <a:lnTo>
                    <a:pt x="598" y="2502"/>
                  </a:lnTo>
                  <a:lnTo>
                    <a:pt x="604" y="2502"/>
                  </a:lnTo>
                  <a:lnTo>
                    <a:pt x="608" y="2504"/>
                  </a:lnTo>
                  <a:lnTo>
                    <a:pt x="610" y="2506"/>
                  </a:lnTo>
                  <a:lnTo>
                    <a:pt x="616" y="2506"/>
                  </a:lnTo>
                  <a:lnTo>
                    <a:pt x="626" y="2504"/>
                  </a:lnTo>
                  <a:lnTo>
                    <a:pt x="630" y="2504"/>
                  </a:lnTo>
                  <a:lnTo>
                    <a:pt x="634" y="2506"/>
                  </a:lnTo>
                  <a:lnTo>
                    <a:pt x="640" y="2512"/>
                  </a:lnTo>
                  <a:lnTo>
                    <a:pt x="644" y="2516"/>
                  </a:lnTo>
                  <a:lnTo>
                    <a:pt x="646" y="2516"/>
                  </a:lnTo>
                  <a:lnTo>
                    <a:pt x="650" y="2514"/>
                  </a:lnTo>
                  <a:lnTo>
                    <a:pt x="654" y="2516"/>
                  </a:lnTo>
                  <a:lnTo>
                    <a:pt x="656" y="2518"/>
                  </a:lnTo>
                  <a:lnTo>
                    <a:pt x="660" y="2520"/>
                  </a:lnTo>
                  <a:lnTo>
                    <a:pt x="664" y="2520"/>
                  </a:lnTo>
                  <a:lnTo>
                    <a:pt x="678" y="2518"/>
                  </a:lnTo>
                  <a:lnTo>
                    <a:pt x="690" y="2512"/>
                  </a:lnTo>
                  <a:lnTo>
                    <a:pt x="692" y="2508"/>
                  </a:lnTo>
                  <a:lnTo>
                    <a:pt x="694" y="2506"/>
                  </a:lnTo>
                  <a:lnTo>
                    <a:pt x="694" y="2502"/>
                  </a:lnTo>
                  <a:lnTo>
                    <a:pt x="696" y="2500"/>
                  </a:lnTo>
                  <a:lnTo>
                    <a:pt x="704" y="2494"/>
                  </a:lnTo>
                  <a:lnTo>
                    <a:pt x="726" y="2482"/>
                  </a:lnTo>
                  <a:lnTo>
                    <a:pt x="738" y="2476"/>
                  </a:lnTo>
                  <a:lnTo>
                    <a:pt x="748" y="2472"/>
                  </a:lnTo>
                  <a:lnTo>
                    <a:pt x="754" y="2466"/>
                  </a:lnTo>
                  <a:lnTo>
                    <a:pt x="758" y="2462"/>
                  </a:lnTo>
                  <a:lnTo>
                    <a:pt x="762" y="2452"/>
                  </a:lnTo>
                  <a:lnTo>
                    <a:pt x="766" y="2448"/>
                  </a:lnTo>
                  <a:lnTo>
                    <a:pt x="774" y="2444"/>
                  </a:lnTo>
                  <a:lnTo>
                    <a:pt x="780" y="2444"/>
                  </a:lnTo>
                  <a:lnTo>
                    <a:pt x="786" y="2444"/>
                  </a:lnTo>
                  <a:lnTo>
                    <a:pt x="792" y="2448"/>
                  </a:lnTo>
                  <a:lnTo>
                    <a:pt x="798" y="2454"/>
                  </a:lnTo>
                  <a:lnTo>
                    <a:pt x="808" y="2462"/>
                  </a:lnTo>
                  <a:lnTo>
                    <a:pt x="814" y="2466"/>
                  </a:lnTo>
                  <a:lnTo>
                    <a:pt x="820" y="2466"/>
                  </a:lnTo>
                  <a:lnTo>
                    <a:pt x="826" y="2466"/>
                  </a:lnTo>
                  <a:lnTo>
                    <a:pt x="830" y="2468"/>
                  </a:lnTo>
                  <a:lnTo>
                    <a:pt x="832" y="2474"/>
                  </a:lnTo>
                  <a:lnTo>
                    <a:pt x="834" y="2480"/>
                  </a:lnTo>
                  <a:lnTo>
                    <a:pt x="836" y="2494"/>
                  </a:lnTo>
                  <a:lnTo>
                    <a:pt x="838" y="2500"/>
                  </a:lnTo>
                  <a:lnTo>
                    <a:pt x="842" y="2504"/>
                  </a:lnTo>
                  <a:lnTo>
                    <a:pt x="844" y="2508"/>
                  </a:lnTo>
                  <a:lnTo>
                    <a:pt x="846" y="2512"/>
                  </a:lnTo>
                  <a:lnTo>
                    <a:pt x="846" y="2518"/>
                  </a:lnTo>
                  <a:lnTo>
                    <a:pt x="846" y="2522"/>
                  </a:lnTo>
                  <a:lnTo>
                    <a:pt x="846" y="2526"/>
                  </a:lnTo>
                  <a:lnTo>
                    <a:pt x="848" y="2530"/>
                  </a:lnTo>
                  <a:lnTo>
                    <a:pt x="854" y="2536"/>
                  </a:lnTo>
                  <a:lnTo>
                    <a:pt x="870" y="2546"/>
                  </a:lnTo>
                  <a:lnTo>
                    <a:pt x="872" y="2550"/>
                  </a:lnTo>
                  <a:lnTo>
                    <a:pt x="872" y="2556"/>
                  </a:lnTo>
                  <a:lnTo>
                    <a:pt x="872" y="2560"/>
                  </a:lnTo>
                  <a:lnTo>
                    <a:pt x="874" y="2562"/>
                  </a:lnTo>
                  <a:lnTo>
                    <a:pt x="882" y="2564"/>
                  </a:lnTo>
                  <a:lnTo>
                    <a:pt x="890" y="2566"/>
                  </a:lnTo>
                  <a:lnTo>
                    <a:pt x="894" y="2570"/>
                  </a:lnTo>
                  <a:lnTo>
                    <a:pt x="898" y="2576"/>
                  </a:lnTo>
                  <a:lnTo>
                    <a:pt x="902" y="2584"/>
                  </a:lnTo>
                  <a:lnTo>
                    <a:pt x="906" y="2586"/>
                  </a:lnTo>
                  <a:lnTo>
                    <a:pt x="910" y="2588"/>
                  </a:lnTo>
                  <a:lnTo>
                    <a:pt x="920" y="2598"/>
                  </a:lnTo>
                  <a:lnTo>
                    <a:pt x="932" y="2612"/>
                  </a:lnTo>
                  <a:lnTo>
                    <a:pt x="944" y="2620"/>
                  </a:lnTo>
                  <a:lnTo>
                    <a:pt x="956" y="2624"/>
                  </a:lnTo>
                  <a:lnTo>
                    <a:pt x="970" y="2624"/>
                  </a:lnTo>
                  <a:lnTo>
                    <a:pt x="974" y="2626"/>
                  </a:lnTo>
                  <a:lnTo>
                    <a:pt x="978" y="2628"/>
                  </a:lnTo>
                  <a:lnTo>
                    <a:pt x="982" y="2638"/>
                  </a:lnTo>
                  <a:lnTo>
                    <a:pt x="988" y="2646"/>
                  </a:lnTo>
                  <a:lnTo>
                    <a:pt x="990" y="2650"/>
                  </a:lnTo>
                  <a:lnTo>
                    <a:pt x="996" y="2650"/>
                  </a:lnTo>
                  <a:lnTo>
                    <a:pt x="1002" y="2650"/>
                  </a:lnTo>
                  <a:lnTo>
                    <a:pt x="1004" y="2650"/>
                  </a:lnTo>
                  <a:lnTo>
                    <a:pt x="1004" y="2656"/>
                  </a:lnTo>
                  <a:lnTo>
                    <a:pt x="1002" y="2658"/>
                  </a:lnTo>
                  <a:lnTo>
                    <a:pt x="1004" y="2658"/>
                  </a:lnTo>
                  <a:lnTo>
                    <a:pt x="1006" y="2660"/>
                  </a:lnTo>
                  <a:lnTo>
                    <a:pt x="1012" y="2658"/>
                  </a:lnTo>
                  <a:lnTo>
                    <a:pt x="1018" y="2658"/>
                  </a:lnTo>
                  <a:lnTo>
                    <a:pt x="1020" y="2660"/>
                  </a:lnTo>
                  <a:lnTo>
                    <a:pt x="1022" y="2662"/>
                  </a:lnTo>
                  <a:lnTo>
                    <a:pt x="1022" y="2666"/>
                  </a:lnTo>
                  <a:lnTo>
                    <a:pt x="1022" y="2674"/>
                  </a:lnTo>
                  <a:lnTo>
                    <a:pt x="1024" y="2680"/>
                  </a:lnTo>
                  <a:lnTo>
                    <a:pt x="1030" y="2684"/>
                  </a:lnTo>
                  <a:lnTo>
                    <a:pt x="1040" y="2690"/>
                  </a:lnTo>
                  <a:lnTo>
                    <a:pt x="1050" y="2694"/>
                  </a:lnTo>
                  <a:lnTo>
                    <a:pt x="1054" y="2698"/>
                  </a:lnTo>
                  <a:lnTo>
                    <a:pt x="1058" y="2702"/>
                  </a:lnTo>
                  <a:lnTo>
                    <a:pt x="1062" y="2710"/>
                  </a:lnTo>
                  <a:lnTo>
                    <a:pt x="1066" y="2720"/>
                  </a:lnTo>
                  <a:lnTo>
                    <a:pt x="1070" y="2740"/>
                  </a:lnTo>
                  <a:lnTo>
                    <a:pt x="1072" y="2752"/>
                  </a:lnTo>
                  <a:lnTo>
                    <a:pt x="1072" y="2758"/>
                  </a:lnTo>
                  <a:lnTo>
                    <a:pt x="1066" y="2762"/>
                  </a:lnTo>
                  <a:lnTo>
                    <a:pt x="1064" y="2768"/>
                  </a:lnTo>
                  <a:lnTo>
                    <a:pt x="1064" y="2772"/>
                  </a:lnTo>
                  <a:lnTo>
                    <a:pt x="1062" y="2776"/>
                  </a:lnTo>
                  <a:lnTo>
                    <a:pt x="1060" y="2784"/>
                  </a:lnTo>
                  <a:lnTo>
                    <a:pt x="1054" y="2790"/>
                  </a:lnTo>
                  <a:lnTo>
                    <a:pt x="1052" y="2796"/>
                  </a:lnTo>
                  <a:lnTo>
                    <a:pt x="1054" y="2802"/>
                  </a:lnTo>
                  <a:lnTo>
                    <a:pt x="1058" y="2806"/>
                  </a:lnTo>
                  <a:lnTo>
                    <a:pt x="1064" y="2808"/>
                  </a:lnTo>
                  <a:lnTo>
                    <a:pt x="1068" y="2808"/>
                  </a:lnTo>
                  <a:lnTo>
                    <a:pt x="1070" y="2806"/>
                  </a:lnTo>
                  <a:lnTo>
                    <a:pt x="1072" y="2804"/>
                  </a:lnTo>
                  <a:lnTo>
                    <a:pt x="1076" y="2794"/>
                  </a:lnTo>
                  <a:lnTo>
                    <a:pt x="1084" y="2784"/>
                  </a:lnTo>
                  <a:lnTo>
                    <a:pt x="1088" y="2780"/>
                  </a:lnTo>
                  <a:lnTo>
                    <a:pt x="1090" y="2776"/>
                  </a:lnTo>
                  <a:lnTo>
                    <a:pt x="1092" y="2768"/>
                  </a:lnTo>
                  <a:lnTo>
                    <a:pt x="1096" y="2760"/>
                  </a:lnTo>
                  <a:lnTo>
                    <a:pt x="1098" y="2756"/>
                  </a:lnTo>
                  <a:lnTo>
                    <a:pt x="1104" y="2752"/>
                  </a:lnTo>
                  <a:lnTo>
                    <a:pt x="1110" y="2748"/>
                  </a:lnTo>
                  <a:lnTo>
                    <a:pt x="1114" y="2742"/>
                  </a:lnTo>
                  <a:lnTo>
                    <a:pt x="1116" y="2738"/>
                  </a:lnTo>
                  <a:lnTo>
                    <a:pt x="1114" y="2732"/>
                  </a:lnTo>
                  <a:lnTo>
                    <a:pt x="1112" y="2726"/>
                  </a:lnTo>
                  <a:lnTo>
                    <a:pt x="1108" y="2722"/>
                  </a:lnTo>
                  <a:lnTo>
                    <a:pt x="1104" y="2718"/>
                  </a:lnTo>
                  <a:lnTo>
                    <a:pt x="1098" y="2716"/>
                  </a:lnTo>
                  <a:lnTo>
                    <a:pt x="1090" y="2712"/>
                  </a:lnTo>
                  <a:lnTo>
                    <a:pt x="1086" y="2708"/>
                  </a:lnTo>
                  <a:lnTo>
                    <a:pt x="1086" y="2704"/>
                  </a:lnTo>
                  <a:lnTo>
                    <a:pt x="1090" y="2698"/>
                  </a:lnTo>
                  <a:lnTo>
                    <a:pt x="1092" y="2692"/>
                  </a:lnTo>
                  <a:lnTo>
                    <a:pt x="1094" y="2684"/>
                  </a:lnTo>
                  <a:lnTo>
                    <a:pt x="1096" y="2676"/>
                  </a:lnTo>
                  <a:lnTo>
                    <a:pt x="1100" y="2672"/>
                  </a:lnTo>
                  <a:lnTo>
                    <a:pt x="1104" y="2670"/>
                  </a:lnTo>
                  <a:lnTo>
                    <a:pt x="1112" y="2666"/>
                  </a:lnTo>
                  <a:lnTo>
                    <a:pt x="1116" y="2668"/>
                  </a:lnTo>
                  <a:lnTo>
                    <a:pt x="1124" y="2670"/>
                  </a:lnTo>
                  <a:lnTo>
                    <a:pt x="1134" y="2672"/>
                  </a:lnTo>
                  <a:lnTo>
                    <a:pt x="1140" y="2674"/>
                  </a:lnTo>
                  <a:lnTo>
                    <a:pt x="1144" y="2678"/>
                  </a:lnTo>
                  <a:lnTo>
                    <a:pt x="1148" y="2688"/>
                  </a:lnTo>
                  <a:lnTo>
                    <a:pt x="1150" y="2696"/>
                  </a:lnTo>
                  <a:lnTo>
                    <a:pt x="1154" y="2700"/>
                  </a:lnTo>
                  <a:lnTo>
                    <a:pt x="1158" y="2702"/>
                  </a:lnTo>
                  <a:lnTo>
                    <a:pt x="1166" y="2702"/>
                  </a:lnTo>
                  <a:lnTo>
                    <a:pt x="1166" y="2700"/>
                  </a:lnTo>
                  <a:lnTo>
                    <a:pt x="1166" y="2696"/>
                  </a:lnTo>
                  <a:lnTo>
                    <a:pt x="1168" y="2688"/>
                  </a:lnTo>
                  <a:lnTo>
                    <a:pt x="1168" y="2684"/>
                  </a:lnTo>
                  <a:lnTo>
                    <a:pt x="1168" y="2678"/>
                  </a:lnTo>
                  <a:lnTo>
                    <a:pt x="1166" y="2674"/>
                  </a:lnTo>
                  <a:lnTo>
                    <a:pt x="1162" y="2670"/>
                  </a:lnTo>
                  <a:lnTo>
                    <a:pt x="1152" y="2662"/>
                  </a:lnTo>
                  <a:lnTo>
                    <a:pt x="1142" y="2654"/>
                  </a:lnTo>
                  <a:lnTo>
                    <a:pt x="1126" y="2646"/>
                  </a:lnTo>
                  <a:lnTo>
                    <a:pt x="1120" y="2642"/>
                  </a:lnTo>
                  <a:lnTo>
                    <a:pt x="1114" y="2636"/>
                  </a:lnTo>
                  <a:lnTo>
                    <a:pt x="1110" y="2632"/>
                  </a:lnTo>
                  <a:lnTo>
                    <a:pt x="1102" y="2628"/>
                  </a:lnTo>
                  <a:lnTo>
                    <a:pt x="1082" y="2620"/>
                  </a:lnTo>
                  <a:lnTo>
                    <a:pt x="1074" y="2616"/>
                  </a:lnTo>
                  <a:lnTo>
                    <a:pt x="1068" y="2610"/>
                  </a:lnTo>
                  <a:lnTo>
                    <a:pt x="1066" y="2606"/>
                  </a:lnTo>
                  <a:lnTo>
                    <a:pt x="1066" y="2602"/>
                  </a:lnTo>
                  <a:lnTo>
                    <a:pt x="1070" y="2600"/>
                  </a:lnTo>
                  <a:lnTo>
                    <a:pt x="1074" y="2594"/>
                  </a:lnTo>
                  <a:lnTo>
                    <a:pt x="1076" y="2592"/>
                  </a:lnTo>
                  <a:lnTo>
                    <a:pt x="1074" y="2590"/>
                  </a:lnTo>
                  <a:lnTo>
                    <a:pt x="1068" y="2588"/>
                  </a:lnTo>
                  <a:lnTo>
                    <a:pt x="1060" y="2586"/>
                  </a:lnTo>
                  <a:lnTo>
                    <a:pt x="1036" y="2584"/>
                  </a:lnTo>
                  <a:lnTo>
                    <a:pt x="1026" y="2580"/>
                  </a:lnTo>
                  <a:lnTo>
                    <a:pt x="1016" y="2576"/>
                  </a:lnTo>
                  <a:lnTo>
                    <a:pt x="1002" y="2560"/>
                  </a:lnTo>
                  <a:lnTo>
                    <a:pt x="990" y="2544"/>
                  </a:lnTo>
                  <a:lnTo>
                    <a:pt x="984" y="2530"/>
                  </a:lnTo>
                  <a:lnTo>
                    <a:pt x="978" y="2518"/>
                  </a:lnTo>
                  <a:lnTo>
                    <a:pt x="974" y="2498"/>
                  </a:lnTo>
                  <a:lnTo>
                    <a:pt x="970" y="2492"/>
                  </a:lnTo>
                  <a:lnTo>
                    <a:pt x="966" y="2490"/>
                  </a:lnTo>
                  <a:lnTo>
                    <a:pt x="958" y="2488"/>
                  </a:lnTo>
                  <a:lnTo>
                    <a:pt x="950" y="2484"/>
                  </a:lnTo>
                  <a:lnTo>
                    <a:pt x="944" y="2476"/>
                  </a:lnTo>
                  <a:lnTo>
                    <a:pt x="934" y="2468"/>
                  </a:lnTo>
                  <a:lnTo>
                    <a:pt x="928" y="2462"/>
                  </a:lnTo>
                  <a:lnTo>
                    <a:pt x="922" y="2456"/>
                  </a:lnTo>
                  <a:lnTo>
                    <a:pt x="920" y="2448"/>
                  </a:lnTo>
                  <a:lnTo>
                    <a:pt x="918" y="2442"/>
                  </a:lnTo>
                  <a:lnTo>
                    <a:pt x="916" y="2434"/>
                  </a:lnTo>
                  <a:lnTo>
                    <a:pt x="918" y="2428"/>
                  </a:lnTo>
                  <a:lnTo>
                    <a:pt x="920" y="2424"/>
                  </a:lnTo>
                  <a:lnTo>
                    <a:pt x="922" y="2422"/>
                  </a:lnTo>
                  <a:lnTo>
                    <a:pt x="926" y="2420"/>
                  </a:lnTo>
                  <a:lnTo>
                    <a:pt x="928" y="2418"/>
                  </a:lnTo>
                  <a:lnTo>
                    <a:pt x="926" y="2414"/>
                  </a:lnTo>
                  <a:lnTo>
                    <a:pt x="918" y="2400"/>
                  </a:lnTo>
                  <a:lnTo>
                    <a:pt x="914" y="2394"/>
                  </a:lnTo>
                  <a:lnTo>
                    <a:pt x="916" y="2388"/>
                  </a:lnTo>
                  <a:lnTo>
                    <a:pt x="920" y="2384"/>
                  </a:lnTo>
                  <a:lnTo>
                    <a:pt x="924" y="2386"/>
                  </a:lnTo>
                  <a:lnTo>
                    <a:pt x="926" y="2388"/>
                  </a:lnTo>
                  <a:lnTo>
                    <a:pt x="930" y="2388"/>
                  </a:lnTo>
                  <a:lnTo>
                    <a:pt x="934" y="2384"/>
                  </a:lnTo>
                  <a:lnTo>
                    <a:pt x="940" y="2378"/>
                  </a:lnTo>
                  <a:lnTo>
                    <a:pt x="950" y="2372"/>
                  </a:lnTo>
                  <a:lnTo>
                    <a:pt x="956" y="2370"/>
                  </a:lnTo>
                  <a:lnTo>
                    <a:pt x="958" y="2372"/>
                  </a:lnTo>
                  <a:lnTo>
                    <a:pt x="960" y="2374"/>
                  </a:lnTo>
                  <a:lnTo>
                    <a:pt x="966" y="2374"/>
                  </a:lnTo>
                  <a:lnTo>
                    <a:pt x="972" y="2372"/>
                  </a:lnTo>
                  <a:lnTo>
                    <a:pt x="974" y="2374"/>
                  </a:lnTo>
                  <a:lnTo>
                    <a:pt x="974" y="2378"/>
                  </a:lnTo>
                  <a:lnTo>
                    <a:pt x="974" y="2380"/>
                  </a:lnTo>
                  <a:lnTo>
                    <a:pt x="972" y="2382"/>
                  </a:lnTo>
                  <a:lnTo>
                    <a:pt x="970" y="2382"/>
                  </a:lnTo>
                  <a:lnTo>
                    <a:pt x="968" y="2384"/>
                  </a:lnTo>
                  <a:lnTo>
                    <a:pt x="968" y="2386"/>
                  </a:lnTo>
                  <a:lnTo>
                    <a:pt x="970" y="2398"/>
                  </a:lnTo>
                  <a:lnTo>
                    <a:pt x="976" y="2414"/>
                  </a:lnTo>
                  <a:lnTo>
                    <a:pt x="982" y="2426"/>
                  </a:lnTo>
                  <a:lnTo>
                    <a:pt x="986" y="2428"/>
                  </a:lnTo>
                  <a:lnTo>
                    <a:pt x="988" y="2424"/>
                  </a:lnTo>
                  <a:lnTo>
                    <a:pt x="994" y="2402"/>
                  </a:lnTo>
                  <a:lnTo>
                    <a:pt x="996" y="2398"/>
                  </a:lnTo>
                  <a:lnTo>
                    <a:pt x="1000" y="2394"/>
                  </a:lnTo>
                  <a:lnTo>
                    <a:pt x="1004" y="2394"/>
                  </a:lnTo>
                  <a:lnTo>
                    <a:pt x="1008" y="2398"/>
                  </a:lnTo>
                  <a:lnTo>
                    <a:pt x="1016" y="2404"/>
                  </a:lnTo>
                  <a:lnTo>
                    <a:pt x="1020" y="2410"/>
                  </a:lnTo>
                  <a:lnTo>
                    <a:pt x="1022" y="2414"/>
                  </a:lnTo>
                  <a:lnTo>
                    <a:pt x="1022" y="2420"/>
                  </a:lnTo>
                  <a:lnTo>
                    <a:pt x="1024" y="2428"/>
                  </a:lnTo>
                  <a:lnTo>
                    <a:pt x="1026" y="2434"/>
                  </a:lnTo>
                  <a:lnTo>
                    <a:pt x="1030" y="2440"/>
                  </a:lnTo>
                  <a:lnTo>
                    <a:pt x="1034" y="2446"/>
                  </a:lnTo>
                  <a:lnTo>
                    <a:pt x="1036" y="2450"/>
                  </a:lnTo>
                  <a:lnTo>
                    <a:pt x="1036" y="2452"/>
                  </a:lnTo>
                  <a:lnTo>
                    <a:pt x="1034" y="2454"/>
                  </a:lnTo>
                  <a:lnTo>
                    <a:pt x="1034" y="2456"/>
                  </a:lnTo>
                  <a:lnTo>
                    <a:pt x="1034" y="2460"/>
                  </a:lnTo>
                  <a:lnTo>
                    <a:pt x="1038" y="2464"/>
                  </a:lnTo>
                  <a:lnTo>
                    <a:pt x="1046" y="2472"/>
                  </a:lnTo>
                  <a:lnTo>
                    <a:pt x="1056" y="2480"/>
                  </a:lnTo>
                  <a:lnTo>
                    <a:pt x="1062" y="2486"/>
                  </a:lnTo>
                  <a:lnTo>
                    <a:pt x="1066" y="2494"/>
                  </a:lnTo>
                  <a:lnTo>
                    <a:pt x="1066" y="2496"/>
                  </a:lnTo>
                  <a:lnTo>
                    <a:pt x="1068" y="2496"/>
                  </a:lnTo>
                  <a:lnTo>
                    <a:pt x="1076" y="2496"/>
                  </a:lnTo>
                  <a:lnTo>
                    <a:pt x="1084" y="2496"/>
                  </a:lnTo>
                  <a:lnTo>
                    <a:pt x="1090" y="2498"/>
                  </a:lnTo>
                  <a:lnTo>
                    <a:pt x="1102" y="2504"/>
                  </a:lnTo>
                  <a:lnTo>
                    <a:pt x="1114" y="2516"/>
                  </a:lnTo>
                  <a:lnTo>
                    <a:pt x="1128" y="2528"/>
                  </a:lnTo>
                  <a:lnTo>
                    <a:pt x="1114" y="2524"/>
                  </a:lnTo>
                  <a:lnTo>
                    <a:pt x="1110" y="2524"/>
                  </a:lnTo>
                  <a:lnTo>
                    <a:pt x="1110" y="2526"/>
                  </a:lnTo>
                  <a:lnTo>
                    <a:pt x="1116" y="2530"/>
                  </a:lnTo>
                  <a:lnTo>
                    <a:pt x="1134" y="2536"/>
                  </a:lnTo>
                  <a:lnTo>
                    <a:pt x="1144" y="2540"/>
                  </a:lnTo>
                  <a:lnTo>
                    <a:pt x="1152" y="2544"/>
                  </a:lnTo>
                  <a:lnTo>
                    <a:pt x="1160" y="2552"/>
                  </a:lnTo>
                  <a:lnTo>
                    <a:pt x="1162" y="2558"/>
                  </a:lnTo>
                  <a:lnTo>
                    <a:pt x="1164" y="2560"/>
                  </a:lnTo>
                  <a:lnTo>
                    <a:pt x="1166" y="2560"/>
                  </a:lnTo>
                  <a:lnTo>
                    <a:pt x="1174" y="2560"/>
                  </a:lnTo>
                  <a:lnTo>
                    <a:pt x="1176" y="2562"/>
                  </a:lnTo>
                  <a:lnTo>
                    <a:pt x="1184" y="2566"/>
                  </a:lnTo>
                  <a:lnTo>
                    <a:pt x="1188" y="2568"/>
                  </a:lnTo>
                  <a:lnTo>
                    <a:pt x="1190" y="2574"/>
                  </a:lnTo>
                  <a:lnTo>
                    <a:pt x="1190" y="2582"/>
                  </a:lnTo>
                  <a:lnTo>
                    <a:pt x="1192" y="2584"/>
                  </a:lnTo>
                  <a:lnTo>
                    <a:pt x="1196" y="2586"/>
                  </a:lnTo>
                  <a:lnTo>
                    <a:pt x="1204" y="2588"/>
                  </a:lnTo>
                  <a:lnTo>
                    <a:pt x="1208" y="2590"/>
                  </a:lnTo>
                  <a:lnTo>
                    <a:pt x="1208" y="2596"/>
                  </a:lnTo>
                  <a:lnTo>
                    <a:pt x="1208" y="2610"/>
                  </a:lnTo>
                  <a:lnTo>
                    <a:pt x="1206" y="2626"/>
                  </a:lnTo>
                  <a:lnTo>
                    <a:pt x="1206" y="2632"/>
                  </a:lnTo>
                  <a:lnTo>
                    <a:pt x="1206" y="2636"/>
                  </a:lnTo>
                  <a:lnTo>
                    <a:pt x="1206" y="2638"/>
                  </a:lnTo>
                  <a:lnTo>
                    <a:pt x="1206" y="2640"/>
                  </a:lnTo>
                  <a:lnTo>
                    <a:pt x="1204" y="2646"/>
                  </a:lnTo>
                  <a:lnTo>
                    <a:pt x="1200" y="2652"/>
                  </a:lnTo>
                  <a:lnTo>
                    <a:pt x="1200" y="2656"/>
                  </a:lnTo>
                  <a:lnTo>
                    <a:pt x="1202" y="2662"/>
                  </a:lnTo>
                  <a:lnTo>
                    <a:pt x="1202" y="2666"/>
                  </a:lnTo>
                  <a:lnTo>
                    <a:pt x="1202" y="2670"/>
                  </a:lnTo>
                  <a:lnTo>
                    <a:pt x="1202" y="2672"/>
                  </a:lnTo>
                  <a:lnTo>
                    <a:pt x="1200" y="2674"/>
                  </a:lnTo>
                  <a:lnTo>
                    <a:pt x="1202" y="2674"/>
                  </a:lnTo>
                  <a:lnTo>
                    <a:pt x="1208" y="2680"/>
                  </a:lnTo>
                  <a:lnTo>
                    <a:pt x="1216" y="2686"/>
                  </a:lnTo>
                  <a:lnTo>
                    <a:pt x="1222" y="2690"/>
                  </a:lnTo>
                  <a:lnTo>
                    <a:pt x="1224" y="2696"/>
                  </a:lnTo>
                  <a:lnTo>
                    <a:pt x="1224" y="2700"/>
                  </a:lnTo>
                  <a:lnTo>
                    <a:pt x="1226" y="2706"/>
                  </a:lnTo>
                  <a:lnTo>
                    <a:pt x="1228" y="2708"/>
                  </a:lnTo>
                  <a:lnTo>
                    <a:pt x="1230" y="2710"/>
                  </a:lnTo>
                  <a:lnTo>
                    <a:pt x="1240" y="2726"/>
                  </a:lnTo>
                  <a:lnTo>
                    <a:pt x="1246" y="2736"/>
                  </a:lnTo>
                  <a:lnTo>
                    <a:pt x="1250" y="2740"/>
                  </a:lnTo>
                  <a:lnTo>
                    <a:pt x="1254" y="2744"/>
                  </a:lnTo>
                  <a:lnTo>
                    <a:pt x="1258" y="2748"/>
                  </a:lnTo>
                  <a:lnTo>
                    <a:pt x="1260" y="2748"/>
                  </a:lnTo>
                  <a:lnTo>
                    <a:pt x="1260" y="2746"/>
                  </a:lnTo>
                  <a:lnTo>
                    <a:pt x="1262" y="2746"/>
                  </a:lnTo>
                  <a:lnTo>
                    <a:pt x="1266" y="2746"/>
                  </a:lnTo>
                  <a:lnTo>
                    <a:pt x="1272" y="2750"/>
                  </a:lnTo>
                  <a:lnTo>
                    <a:pt x="1274" y="2752"/>
                  </a:lnTo>
                  <a:lnTo>
                    <a:pt x="1266" y="2754"/>
                  </a:lnTo>
                  <a:lnTo>
                    <a:pt x="1258" y="2754"/>
                  </a:lnTo>
                  <a:lnTo>
                    <a:pt x="1258" y="2758"/>
                  </a:lnTo>
                  <a:lnTo>
                    <a:pt x="1260" y="2762"/>
                  </a:lnTo>
                  <a:lnTo>
                    <a:pt x="1268" y="2772"/>
                  </a:lnTo>
                  <a:lnTo>
                    <a:pt x="1272" y="2780"/>
                  </a:lnTo>
                  <a:lnTo>
                    <a:pt x="1274" y="2786"/>
                  </a:lnTo>
                  <a:lnTo>
                    <a:pt x="1276" y="2786"/>
                  </a:lnTo>
                  <a:lnTo>
                    <a:pt x="1280" y="2784"/>
                  </a:lnTo>
                  <a:lnTo>
                    <a:pt x="1284" y="2780"/>
                  </a:lnTo>
                  <a:lnTo>
                    <a:pt x="1286" y="2782"/>
                  </a:lnTo>
                  <a:lnTo>
                    <a:pt x="1290" y="2782"/>
                  </a:lnTo>
                  <a:lnTo>
                    <a:pt x="1300" y="2782"/>
                  </a:lnTo>
                  <a:lnTo>
                    <a:pt x="1312" y="2780"/>
                  </a:lnTo>
                  <a:lnTo>
                    <a:pt x="1316" y="2782"/>
                  </a:lnTo>
                  <a:lnTo>
                    <a:pt x="1318" y="2784"/>
                  </a:lnTo>
                  <a:lnTo>
                    <a:pt x="1324" y="2784"/>
                  </a:lnTo>
                  <a:lnTo>
                    <a:pt x="1330" y="2782"/>
                  </a:lnTo>
                  <a:lnTo>
                    <a:pt x="1336" y="2786"/>
                  </a:lnTo>
                  <a:lnTo>
                    <a:pt x="1342" y="2790"/>
                  </a:lnTo>
                  <a:lnTo>
                    <a:pt x="1348" y="2790"/>
                  </a:lnTo>
                  <a:lnTo>
                    <a:pt x="1354" y="2790"/>
                  </a:lnTo>
                  <a:lnTo>
                    <a:pt x="1358" y="2792"/>
                  </a:lnTo>
                  <a:lnTo>
                    <a:pt x="1358" y="2794"/>
                  </a:lnTo>
                  <a:lnTo>
                    <a:pt x="1358" y="2796"/>
                  </a:lnTo>
                  <a:lnTo>
                    <a:pt x="1350" y="2800"/>
                  </a:lnTo>
                  <a:lnTo>
                    <a:pt x="1342" y="2802"/>
                  </a:lnTo>
                  <a:lnTo>
                    <a:pt x="1336" y="2800"/>
                  </a:lnTo>
                  <a:lnTo>
                    <a:pt x="1322" y="2792"/>
                  </a:lnTo>
                  <a:lnTo>
                    <a:pt x="1312" y="2788"/>
                  </a:lnTo>
                  <a:lnTo>
                    <a:pt x="1306" y="2786"/>
                  </a:lnTo>
                  <a:lnTo>
                    <a:pt x="1302" y="2786"/>
                  </a:lnTo>
                  <a:lnTo>
                    <a:pt x="1298" y="2792"/>
                  </a:lnTo>
                  <a:lnTo>
                    <a:pt x="1296" y="2794"/>
                  </a:lnTo>
                  <a:lnTo>
                    <a:pt x="1292" y="2794"/>
                  </a:lnTo>
                  <a:lnTo>
                    <a:pt x="1288" y="2792"/>
                  </a:lnTo>
                  <a:lnTo>
                    <a:pt x="1282" y="2792"/>
                  </a:lnTo>
                  <a:lnTo>
                    <a:pt x="1282" y="2794"/>
                  </a:lnTo>
                  <a:lnTo>
                    <a:pt x="1280" y="2798"/>
                  </a:lnTo>
                  <a:lnTo>
                    <a:pt x="1280" y="2802"/>
                  </a:lnTo>
                  <a:lnTo>
                    <a:pt x="1278" y="2804"/>
                  </a:lnTo>
                  <a:lnTo>
                    <a:pt x="1274" y="2808"/>
                  </a:lnTo>
                  <a:lnTo>
                    <a:pt x="1272" y="2808"/>
                  </a:lnTo>
                  <a:lnTo>
                    <a:pt x="1276" y="2812"/>
                  </a:lnTo>
                  <a:lnTo>
                    <a:pt x="1280" y="2816"/>
                  </a:lnTo>
                  <a:lnTo>
                    <a:pt x="1280" y="2820"/>
                  </a:lnTo>
                  <a:lnTo>
                    <a:pt x="1280" y="2824"/>
                  </a:lnTo>
                  <a:lnTo>
                    <a:pt x="1286" y="2824"/>
                  </a:lnTo>
                  <a:lnTo>
                    <a:pt x="1288" y="2824"/>
                  </a:lnTo>
                  <a:lnTo>
                    <a:pt x="1292" y="2826"/>
                  </a:lnTo>
                  <a:lnTo>
                    <a:pt x="1294" y="2832"/>
                  </a:lnTo>
                  <a:lnTo>
                    <a:pt x="1294" y="2838"/>
                  </a:lnTo>
                  <a:lnTo>
                    <a:pt x="1292" y="2844"/>
                  </a:lnTo>
                  <a:lnTo>
                    <a:pt x="1292" y="2848"/>
                  </a:lnTo>
                  <a:lnTo>
                    <a:pt x="1292" y="2854"/>
                  </a:lnTo>
                  <a:lnTo>
                    <a:pt x="1298" y="2864"/>
                  </a:lnTo>
                  <a:lnTo>
                    <a:pt x="1300" y="2866"/>
                  </a:lnTo>
                  <a:lnTo>
                    <a:pt x="1304" y="2868"/>
                  </a:lnTo>
                  <a:lnTo>
                    <a:pt x="1306" y="2866"/>
                  </a:lnTo>
                  <a:lnTo>
                    <a:pt x="1308" y="2862"/>
                  </a:lnTo>
                  <a:lnTo>
                    <a:pt x="1308" y="2856"/>
                  </a:lnTo>
                  <a:lnTo>
                    <a:pt x="1310" y="2854"/>
                  </a:lnTo>
                  <a:lnTo>
                    <a:pt x="1314" y="2854"/>
                  </a:lnTo>
                  <a:lnTo>
                    <a:pt x="1316" y="2856"/>
                  </a:lnTo>
                  <a:lnTo>
                    <a:pt x="1320" y="2866"/>
                  </a:lnTo>
                  <a:lnTo>
                    <a:pt x="1322" y="2880"/>
                  </a:lnTo>
                  <a:lnTo>
                    <a:pt x="1324" y="2888"/>
                  </a:lnTo>
                  <a:lnTo>
                    <a:pt x="1326" y="2888"/>
                  </a:lnTo>
                  <a:lnTo>
                    <a:pt x="1328" y="2888"/>
                  </a:lnTo>
                  <a:lnTo>
                    <a:pt x="1330" y="2882"/>
                  </a:lnTo>
                  <a:lnTo>
                    <a:pt x="1332" y="2874"/>
                  </a:lnTo>
                  <a:lnTo>
                    <a:pt x="1334" y="2866"/>
                  </a:lnTo>
                  <a:lnTo>
                    <a:pt x="1336" y="2866"/>
                  </a:lnTo>
                  <a:lnTo>
                    <a:pt x="1338" y="2868"/>
                  </a:lnTo>
                  <a:lnTo>
                    <a:pt x="1342" y="2872"/>
                  </a:lnTo>
                  <a:lnTo>
                    <a:pt x="1348" y="2882"/>
                  </a:lnTo>
                  <a:lnTo>
                    <a:pt x="1350" y="2886"/>
                  </a:lnTo>
                  <a:lnTo>
                    <a:pt x="1354" y="2888"/>
                  </a:lnTo>
                  <a:lnTo>
                    <a:pt x="1356" y="2886"/>
                  </a:lnTo>
                  <a:lnTo>
                    <a:pt x="1356" y="2884"/>
                  </a:lnTo>
                  <a:lnTo>
                    <a:pt x="1356" y="2876"/>
                  </a:lnTo>
                  <a:lnTo>
                    <a:pt x="1348" y="2854"/>
                  </a:lnTo>
                  <a:lnTo>
                    <a:pt x="1340" y="2834"/>
                  </a:lnTo>
                  <a:lnTo>
                    <a:pt x="1338" y="2828"/>
                  </a:lnTo>
                  <a:lnTo>
                    <a:pt x="1338" y="2826"/>
                  </a:lnTo>
                  <a:lnTo>
                    <a:pt x="1340" y="2824"/>
                  </a:lnTo>
                  <a:lnTo>
                    <a:pt x="1346" y="2826"/>
                  </a:lnTo>
                  <a:lnTo>
                    <a:pt x="1350" y="2828"/>
                  </a:lnTo>
                  <a:lnTo>
                    <a:pt x="1352" y="2832"/>
                  </a:lnTo>
                  <a:lnTo>
                    <a:pt x="1354" y="2838"/>
                  </a:lnTo>
                  <a:lnTo>
                    <a:pt x="1356" y="2840"/>
                  </a:lnTo>
                  <a:lnTo>
                    <a:pt x="1358" y="2840"/>
                  </a:lnTo>
                  <a:lnTo>
                    <a:pt x="1368" y="2836"/>
                  </a:lnTo>
                  <a:lnTo>
                    <a:pt x="1370" y="2834"/>
                  </a:lnTo>
                  <a:lnTo>
                    <a:pt x="1372" y="2832"/>
                  </a:lnTo>
                  <a:lnTo>
                    <a:pt x="1370" y="2828"/>
                  </a:lnTo>
                  <a:lnTo>
                    <a:pt x="1366" y="2824"/>
                  </a:lnTo>
                  <a:lnTo>
                    <a:pt x="1360" y="2822"/>
                  </a:lnTo>
                  <a:lnTo>
                    <a:pt x="1356" y="2822"/>
                  </a:lnTo>
                  <a:lnTo>
                    <a:pt x="1356" y="2820"/>
                  </a:lnTo>
                  <a:lnTo>
                    <a:pt x="1356" y="2816"/>
                  </a:lnTo>
                  <a:lnTo>
                    <a:pt x="1354" y="2812"/>
                  </a:lnTo>
                  <a:lnTo>
                    <a:pt x="1352" y="2810"/>
                  </a:lnTo>
                  <a:lnTo>
                    <a:pt x="1354" y="2808"/>
                  </a:lnTo>
                  <a:lnTo>
                    <a:pt x="1360" y="2802"/>
                  </a:lnTo>
                  <a:lnTo>
                    <a:pt x="1368" y="2800"/>
                  </a:lnTo>
                  <a:lnTo>
                    <a:pt x="1370" y="2800"/>
                  </a:lnTo>
                  <a:lnTo>
                    <a:pt x="1374" y="2802"/>
                  </a:lnTo>
                  <a:lnTo>
                    <a:pt x="1382" y="2816"/>
                  </a:lnTo>
                  <a:lnTo>
                    <a:pt x="1388" y="2820"/>
                  </a:lnTo>
                  <a:lnTo>
                    <a:pt x="1390" y="2820"/>
                  </a:lnTo>
                  <a:lnTo>
                    <a:pt x="1392" y="2820"/>
                  </a:lnTo>
                  <a:lnTo>
                    <a:pt x="1394" y="2818"/>
                  </a:lnTo>
                  <a:lnTo>
                    <a:pt x="1394" y="2816"/>
                  </a:lnTo>
                  <a:lnTo>
                    <a:pt x="1394" y="2810"/>
                  </a:lnTo>
                  <a:lnTo>
                    <a:pt x="1392" y="2804"/>
                  </a:lnTo>
                  <a:lnTo>
                    <a:pt x="1392" y="2796"/>
                  </a:lnTo>
                  <a:lnTo>
                    <a:pt x="1392" y="2794"/>
                  </a:lnTo>
                  <a:lnTo>
                    <a:pt x="1390" y="2790"/>
                  </a:lnTo>
                  <a:lnTo>
                    <a:pt x="1386" y="2788"/>
                  </a:lnTo>
                  <a:lnTo>
                    <a:pt x="1378" y="2784"/>
                  </a:lnTo>
                  <a:lnTo>
                    <a:pt x="1376" y="2782"/>
                  </a:lnTo>
                  <a:lnTo>
                    <a:pt x="1374" y="2780"/>
                  </a:lnTo>
                  <a:lnTo>
                    <a:pt x="1370" y="2774"/>
                  </a:lnTo>
                  <a:lnTo>
                    <a:pt x="1366" y="2774"/>
                  </a:lnTo>
                  <a:lnTo>
                    <a:pt x="1364" y="2772"/>
                  </a:lnTo>
                  <a:lnTo>
                    <a:pt x="1360" y="2768"/>
                  </a:lnTo>
                  <a:lnTo>
                    <a:pt x="1358" y="2764"/>
                  </a:lnTo>
                  <a:lnTo>
                    <a:pt x="1352" y="2762"/>
                  </a:lnTo>
                  <a:lnTo>
                    <a:pt x="1340" y="2758"/>
                  </a:lnTo>
                  <a:lnTo>
                    <a:pt x="1332" y="2754"/>
                  </a:lnTo>
                  <a:lnTo>
                    <a:pt x="1332" y="2752"/>
                  </a:lnTo>
                  <a:lnTo>
                    <a:pt x="1338" y="2752"/>
                  </a:lnTo>
                  <a:lnTo>
                    <a:pt x="1346" y="2750"/>
                  </a:lnTo>
                  <a:lnTo>
                    <a:pt x="1348" y="2746"/>
                  </a:lnTo>
                  <a:lnTo>
                    <a:pt x="1348" y="2744"/>
                  </a:lnTo>
                  <a:lnTo>
                    <a:pt x="1346" y="2740"/>
                  </a:lnTo>
                  <a:lnTo>
                    <a:pt x="1344" y="2732"/>
                  </a:lnTo>
                  <a:lnTo>
                    <a:pt x="1344" y="2730"/>
                  </a:lnTo>
                  <a:lnTo>
                    <a:pt x="1348" y="2730"/>
                  </a:lnTo>
                  <a:lnTo>
                    <a:pt x="1352" y="2730"/>
                  </a:lnTo>
                  <a:lnTo>
                    <a:pt x="1354" y="2732"/>
                  </a:lnTo>
                  <a:lnTo>
                    <a:pt x="1354" y="2738"/>
                  </a:lnTo>
                  <a:lnTo>
                    <a:pt x="1354" y="2742"/>
                  </a:lnTo>
                  <a:lnTo>
                    <a:pt x="1356" y="2742"/>
                  </a:lnTo>
                  <a:lnTo>
                    <a:pt x="1358" y="2742"/>
                  </a:lnTo>
                  <a:lnTo>
                    <a:pt x="1360" y="2738"/>
                  </a:lnTo>
                  <a:lnTo>
                    <a:pt x="1360" y="2736"/>
                  </a:lnTo>
                  <a:lnTo>
                    <a:pt x="1360" y="2728"/>
                  </a:lnTo>
                  <a:lnTo>
                    <a:pt x="1354" y="2720"/>
                  </a:lnTo>
                  <a:lnTo>
                    <a:pt x="1348" y="2710"/>
                  </a:lnTo>
                  <a:lnTo>
                    <a:pt x="1340" y="2702"/>
                  </a:lnTo>
                  <a:lnTo>
                    <a:pt x="1334" y="2692"/>
                  </a:lnTo>
                  <a:lnTo>
                    <a:pt x="1330" y="2682"/>
                  </a:lnTo>
                  <a:lnTo>
                    <a:pt x="1330" y="2678"/>
                  </a:lnTo>
                  <a:lnTo>
                    <a:pt x="1332" y="2674"/>
                  </a:lnTo>
                  <a:lnTo>
                    <a:pt x="1336" y="2666"/>
                  </a:lnTo>
                  <a:lnTo>
                    <a:pt x="1340" y="2660"/>
                  </a:lnTo>
                  <a:lnTo>
                    <a:pt x="1344" y="2660"/>
                  </a:lnTo>
                  <a:lnTo>
                    <a:pt x="1346" y="2660"/>
                  </a:lnTo>
                  <a:lnTo>
                    <a:pt x="1346" y="2662"/>
                  </a:lnTo>
                  <a:lnTo>
                    <a:pt x="1346" y="2668"/>
                  </a:lnTo>
                  <a:lnTo>
                    <a:pt x="1346" y="2670"/>
                  </a:lnTo>
                  <a:lnTo>
                    <a:pt x="1346" y="2672"/>
                  </a:lnTo>
                  <a:lnTo>
                    <a:pt x="1352" y="2674"/>
                  </a:lnTo>
                  <a:lnTo>
                    <a:pt x="1358" y="2676"/>
                  </a:lnTo>
                  <a:lnTo>
                    <a:pt x="1360" y="2680"/>
                  </a:lnTo>
                  <a:lnTo>
                    <a:pt x="1362" y="2686"/>
                  </a:lnTo>
                  <a:lnTo>
                    <a:pt x="1362" y="2690"/>
                  </a:lnTo>
                  <a:lnTo>
                    <a:pt x="1366" y="2694"/>
                  </a:lnTo>
                  <a:lnTo>
                    <a:pt x="1372" y="2696"/>
                  </a:lnTo>
                  <a:lnTo>
                    <a:pt x="1374" y="2696"/>
                  </a:lnTo>
                  <a:lnTo>
                    <a:pt x="1376" y="2696"/>
                  </a:lnTo>
                  <a:lnTo>
                    <a:pt x="1376" y="2694"/>
                  </a:lnTo>
                  <a:lnTo>
                    <a:pt x="1374" y="2690"/>
                  </a:lnTo>
                  <a:lnTo>
                    <a:pt x="1368" y="2684"/>
                  </a:lnTo>
                  <a:lnTo>
                    <a:pt x="1368" y="2678"/>
                  </a:lnTo>
                  <a:lnTo>
                    <a:pt x="1370" y="2678"/>
                  </a:lnTo>
                  <a:lnTo>
                    <a:pt x="1378" y="2684"/>
                  </a:lnTo>
                  <a:lnTo>
                    <a:pt x="1386" y="2692"/>
                  </a:lnTo>
                  <a:lnTo>
                    <a:pt x="1390" y="2694"/>
                  </a:lnTo>
                  <a:lnTo>
                    <a:pt x="1392" y="2694"/>
                  </a:lnTo>
                  <a:lnTo>
                    <a:pt x="1390" y="2692"/>
                  </a:lnTo>
                  <a:lnTo>
                    <a:pt x="1386" y="2684"/>
                  </a:lnTo>
                  <a:lnTo>
                    <a:pt x="1380" y="2676"/>
                  </a:lnTo>
                  <a:lnTo>
                    <a:pt x="1380" y="2674"/>
                  </a:lnTo>
                  <a:lnTo>
                    <a:pt x="1382" y="2674"/>
                  </a:lnTo>
                  <a:lnTo>
                    <a:pt x="1394" y="2680"/>
                  </a:lnTo>
                  <a:lnTo>
                    <a:pt x="1402" y="2684"/>
                  </a:lnTo>
                  <a:lnTo>
                    <a:pt x="1406" y="2684"/>
                  </a:lnTo>
                  <a:lnTo>
                    <a:pt x="1404" y="2682"/>
                  </a:lnTo>
                  <a:lnTo>
                    <a:pt x="1400" y="2676"/>
                  </a:lnTo>
                  <a:lnTo>
                    <a:pt x="1392" y="2670"/>
                  </a:lnTo>
                  <a:lnTo>
                    <a:pt x="1386" y="2668"/>
                  </a:lnTo>
                  <a:lnTo>
                    <a:pt x="1384" y="2668"/>
                  </a:lnTo>
                  <a:lnTo>
                    <a:pt x="1384" y="2664"/>
                  </a:lnTo>
                  <a:lnTo>
                    <a:pt x="1384" y="2662"/>
                  </a:lnTo>
                  <a:lnTo>
                    <a:pt x="1384" y="2660"/>
                  </a:lnTo>
                  <a:lnTo>
                    <a:pt x="1380" y="2656"/>
                  </a:lnTo>
                  <a:lnTo>
                    <a:pt x="1380" y="2654"/>
                  </a:lnTo>
                  <a:lnTo>
                    <a:pt x="1388" y="2652"/>
                  </a:lnTo>
                  <a:lnTo>
                    <a:pt x="1392" y="2652"/>
                  </a:lnTo>
                  <a:lnTo>
                    <a:pt x="1398" y="2650"/>
                  </a:lnTo>
                  <a:lnTo>
                    <a:pt x="1404" y="2644"/>
                  </a:lnTo>
                  <a:lnTo>
                    <a:pt x="1408" y="2642"/>
                  </a:lnTo>
                  <a:lnTo>
                    <a:pt x="1412" y="2640"/>
                  </a:lnTo>
                  <a:lnTo>
                    <a:pt x="1418" y="2642"/>
                  </a:lnTo>
                  <a:lnTo>
                    <a:pt x="1422" y="2644"/>
                  </a:lnTo>
                  <a:lnTo>
                    <a:pt x="1426" y="2644"/>
                  </a:lnTo>
                  <a:lnTo>
                    <a:pt x="1430" y="2640"/>
                  </a:lnTo>
                  <a:lnTo>
                    <a:pt x="1436" y="2638"/>
                  </a:lnTo>
                  <a:lnTo>
                    <a:pt x="1438" y="2638"/>
                  </a:lnTo>
                  <a:lnTo>
                    <a:pt x="1444" y="2640"/>
                  </a:lnTo>
                  <a:lnTo>
                    <a:pt x="1450" y="2644"/>
                  </a:lnTo>
                  <a:lnTo>
                    <a:pt x="1454" y="2644"/>
                  </a:lnTo>
                  <a:lnTo>
                    <a:pt x="1464" y="2644"/>
                  </a:lnTo>
                  <a:lnTo>
                    <a:pt x="1470" y="2644"/>
                  </a:lnTo>
                  <a:lnTo>
                    <a:pt x="1472" y="2646"/>
                  </a:lnTo>
                  <a:lnTo>
                    <a:pt x="1472" y="2650"/>
                  </a:lnTo>
                  <a:lnTo>
                    <a:pt x="1474" y="2656"/>
                  </a:lnTo>
                  <a:lnTo>
                    <a:pt x="1480" y="2660"/>
                  </a:lnTo>
                  <a:lnTo>
                    <a:pt x="1486" y="2660"/>
                  </a:lnTo>
                  <a:lnTo>
                    <a:pt x="1492" y="2658"/>
                  </a:lnTo>
                  <a:lnTo>
                    <a:pt x="1504" y="2656"/>
                  </a:lnTo>
                  <a:lnTo>
                    <a:pt x="1504" y="2658"/>
                  </a:lnTo>
                  <a:lnTo>
                    <a:pt x="1502" y="2660"/>
                  </a:lnTo>
                  <a:lnTo>
                    <a:pt x="1484" y="2668"/>
                  </a:lnTo>
                  <a:lnTo>
                    <a:pt x="1480" y="2672"/>
                  </a:lnTo>
                  <a:lnTo>
                    <a:pt x="1478" y="2680"/>
                  </a:lnTo>
                  <a:lnTo>
                    <a:pt x="1480" y="2684"/>
                  </a:lnTo>
                  <a:lnTo>
                    <a:pt x="1482" y="2682"/>
                  </a:lnTo>
                  <a:lnTo>
                    <a:pt x="1494" y="2670"/>
                  </a:lnTo>
                  <a:lnTo>
                    <a:pt x="1506" y="2662"/>
                  </a:lnTo>
                  <a:lnTo>
                    <a:pt x="1514" y="2658"/>
                  </a:lnTo>
                  <a:lnTo>
                    <a:pt x="1522" y="2654"/>
                  </a:lnTo>
                  <a:lnTo>
                    <a:pt x="1528" y="2646"/>
                  </a:lnTo>
                  <a:lnTo>
                    <a:pt x="1532" y="2638"/>
                  </a:lnTo>
                  <a:lnTo>
                    <a:pt x="1536" y="2636"/>
                  </a:lnTo>
                  <a:lnTo>
                    <a:pt x="1538" y="2634"/>
                  </a:lnTo>
                  <a:lnTo>
                    <a:pt x="1540" y="2636"/>
                  </a:lnTo>
                  <a:lnTo>
                    <a:pt x="1544" y="2640"/>
                  </a:lnTo>
                  <a:lnTo>
                    <a:pt x="1548" y="2640"/>
                  </a:lnTo>
                  <a:lnTo>
                    <a:pt x="1552" y="2638"/>
                  </a:lnTo>
                  <a:lnTo>
                    <a:pt x="1556" y="2634"/>
                  </a:lnTo>
                  <a:lnTo>
                    <a:pt x="1562" y="2634"/>
                  </a:lnTo>
                  <a:lnTo>
                    <a:pt x="1572" y="2638"/>
                  </a:lnTo>
                  <a:lnTo>
                    <a:pt x="1580" y="2638"/>
                  </a:lnTo>
                  <a:lnTo>
                    <a:pt x="1586" y="2638"/>
                  </a:lnTo>
                  <a:lnTo>
                    <a:pt x="1590" y="2634"/>
                  </a:lnTo>
                  <a:lnTo>
                    <a:pt x="1594" y="2626"/>
                  </a:lnTo>
                  <a:lnTo>
                    <a:pt x="1594" y="2624"/>
                  </a:lnTo>
                  <a:lnTo>
                    <a:pt x="1592" y="2624"/>
                  </a:lnTo>
                  <a:lnTo>
                    <a:pt x="1584" y="2622"/>
                  </a:lnTo>
                  <a:lnTo>
                    <a:pt x="1572" y="2616"/>
                  </a:lnTo>
                  <a:lnTo>
                    <a:pt x="1560" y="2608"/>
                  </a:lnTo>
                  <a:lnTo>
                    <a:pt x="1554" y="2600"/>
                  </a:lnTo>
                  <a:lnTo>
                    <a:pt x="1552" y="2592"/>
                  </a:lnTo>
                  <a:lnTo>
                    <a:pt x="1552" y="2582"/>
                  </a:lnTo>
                  <a:lnTo>
                    <a:pt x="1552" y="2578"/>
                  </a:lnTo>
                  <a:lnTo>
                    <a:pt x="1550" y="2576"/>
                  </a:lnTo>
                  <a:lnTo>
                    <a:pt x="1546" y="2572"/>
                  </a:lnTo>
                  <a:lnTo>
                    <a:pt x="1542" y="2570"/>
                  </a:lnTo>
                  <a:lnTo>
                    <a:pt x="1540" y="2568"/>
                  </a:lnTo>
                  <a:lnTo>
                    <a:pt x="1540" y="2564"/>
                  </a:lnTo>
                  <a:lnTo>
                    <a:pt x="1540" y="2560"/>
                  </a:lnTo>
                  <a:lnTo>
                    <a:pt x="1538" y="2558"/>
                  </a:lnTo>
                  <a:lnTo>
                    <a:pt x="1530" y="2556"/>
                  </a:lnTo>
                  <a:lnTo>
                    <a:pt x="1528" y="2556"/>
                  </a:lnTo>
                  <a:lnTo>
                    <a:pt x="1528" y="2554"/>
                  </a:lnTo>
                  <a:lnTo>
                    <a:pt x="1536" y="2546"/>
                  </a:lnTo>
                  <a:lnTo>
                    <a:pt x="1542" y="2542"/>
                  </a:lnTo>
                  <a:lnTo>
                    <a:pt x="1546" y="2538"/>
                  </a:lnTo>
                  <a:lnTo>
                    <a:pt x="1546" y="2534"/>
                  </a:lnTo>
                  <a:lnTo>
                    <a:pt x="1546" y="2530"/>
                  </a:lnTo>
                  <a:lnTo>
                    <a:pt x="1546" y="2522"/>
                  </a:lnTo>
                  <a:lnTo>
                    <a:pt x="1546" y="2516"/>
                  </a:lnTo>
                  <a:lnTo>
                    <a:pt x="1550" y="2510"/>
                  </a:lnTo>
                  <a:lnTo>
                    <a:pt x="1554" y="2504"/>
                  </a:lnTo>
                  <a:lnTo>
                    <a:pt x="1560" y="2502"/>
                  </a:lnTo>
                  <a:lnTo>
                    <a:pt x="1566" y="2504"/>
                  </a:lnTo>
                  <a:lnTo>
                    <a:pt x="1570" y="2504"/>
                  </a:lnTo>
                  <a:lnTo>
                    <a:pt x="1572" y="2502"/>
                  </a:lnTo>
                  <a:lnTo>
                    <a:pt x="1574" y="2496"/>
                  </a:lnTo>
                  <a:lnTo>
                    <a:pt x="1574" y="2484"/>
                  </a:lnTo>
                  <a:lnTo>
                    <a:pt x="1578" y="2458"/>
                  </a:lnTo>
                  <a:lnTo>
                    <a:pt x="1580" y="2448"/>
                  </a:lnTo>
                  <a:lnTo>
                    <a:pt x="1584" y="2440"/>
                  </a:lnTo>
                  <a:lnTo>
                    <a:pt x="1588" y="2434"/>
                  </a:lnTo>
                  <a:lnTo>
                    <a:pt x="1594" y="2428"/>
                  </a:lnTo>
                  <a:lnTo>
                    <a:pt x="1600" y="2426"/>
                  </a:lnTo>
                  <a:lnTo>
                    <a:pt x="1608" y="2422"/>
                  </a:lnTo>
                  <a:lnTo>
                    <a:pt x="1614" y="2418"/>
                  </a:lnTo>
                  <a:lnTo>
                    <a:pt x="1618" y="2414"/>
                  </a:lnTo>
                  <a:lnTo>
                    <a:pt x="1620" y="2406"/>
                  </a:lnTo>
                  <a:lnTo>
                    <a:pt x="1620" y="2398"/>
                  </a:lnTo>
                  <a:lnTo>
                    <a:pt x="1620" y="2390"/>
                  </a:lnTo>
                  <a:lnTo>
                    <a:pt x="1620" y="2386"/>
                  </a:lnTo>
                  <a:lnTo>
                    <a:pt x="1618" y="2384"/>
                  </a:lnTo>
                  <a:lnTo>
                    <a:pt x="1616" y="2378"/>
                  </a:lnTo>
                  <a:lnTo>
                    <a:pt x="1616" y="2372"/>
                  </a:lnTo>
                  <a:lnTo>
                    <a:pt x="1620" y="2372"/>
                  </a:lnTo>
                  <a:lnTo>
                    <a:pt x="1626" y="2372"/>
                  </a:lnTo>
                  <a:lnTo>
                    <a:pt x="1630" y="2370"/>
                  </a:lnTo>
                  <a:lnTo>
                    <a:pt x="1636" y="2366"/>
                  </a:lnTo>
                  <a:lnTo>
                    <a:pt x="1646" y="2358"/>
                  </a:lnTo>
                  <a:lnTo>
                    <a:pt x="1654" y="2348"/>
                  </a:lnTo>
                  <a:lnTo>
                    <a:pt x="1660" y="2340"/>
                  </a:lnTo>
                  <a:lnTo>
                    <a:pt x="1662" y="2330"/>
                  </a:lnTo>
                  <a:lnTo>
                    <a:pt x="1662" y="2326"/>
                  </a:lnTo>
                  <a:lnTo>
                    <a:pt x="1664" y="2324"/>
                  </a:lnTo>
                  <a:lnTo>
                    <a:pt x="1668" y="2322"/>
                  </a:lnTo>
                  <a:lnTo>
                    <a:pt x="1672" y="2320"/>
                  </a:lnTo>
                  <a:lnTo>
                    <a:pt x="1682" y="2320"/>
                  </a:lnTo>
                  <a:lnTo>
                    <a:pt x="1690" y="2318"/>
                  </a:lnTo>
                  <a:lnTo>
                    <a:pt x="1698" y="2318"/>
                  </a:lnTo>
                  <a:lnTo>
                    <a:pt x="1702" y="2318"/>
                  </a:lnTo>
                  <a:lnTo>
                    <a:pt x="1704" y="2318"/>
                  </a:lnTo>
                  <a:lnTo>
                    <a:pt x="1706" y="2312"/>
                  </a:lnTo>
                  <a:lnTo>
                    <a:pt x="1708" y="2296"/>
                  </a:lnTo>
                  <a:lnTo>
                    <a:pt x="1708" y="2294"/>
                  </a:lnTo>
                  <a:lnTo>
                    <a:pt x="1710" y="2298"/>
                  </a:lnTo>
                  <a:lnTo>
                    <a:pt x="1712" y="2308"/>
                  </a:lnTo>
                  <a:lnTo>
                    <a:pt x="1712" y="2316"/>
                  </a:lnTo>
                  <a:lnTo>
                    <a:pt x="1714" y="2320"/>
                  </a:lnTo>
                  <a:lnTo>
                    <a:pt x="1718" y="2322"/>
                  </a:lnTo>
                  <a:lnTo>
                    <a:pt x="1724" y="2322"/>
                  </a:lnTo>
                  <a:lnTo>
                    <a:pt x="1732" y="2322"/>
                  </a:lnTo>
                  <a:lnTo>
                    <a:pt x="1726" y="2324"/>
                  </a:lnTo>
                  <a:lnTo>
                    <a:pt x="1720" y="2326"/>
                  </a:lnTo>
                  <a:lnTo>
                    <a:pt x="1708" y="2324"/>
                  </a:lnTo>
                  <a:lnTo>
                    <a:pt x="1700" y="2322"/>
                  </a:lnTo>
                  <a:lnTo>
                    <a:pt x="1696" y="2322"/>
                  </a:lnTo>
                  <a:lnTo>
                    <a:pt x="1696" y="2324"/>
                  </a:lnTo>
                  <a:lnTo>
                    <a:pt x="1696" y="2326"/>
                  </a:lnTo>
                  <a:lnTo>
                    <a:pt x="1700" y="2330"/>
                  </a:lnTo>
                  <a:lnTo>
                    <a:pt x="1708" y="2336"/>
                  </a:lnTo>
                  <a:lnTo>
                    <a:pt x="1718" y="2342"/>
                  </a:lnTo>
                  <a:lnTo>
                    <a:pt x="1722" y="2346"/>
                  </a:lnTo>
                  <a:lnTo>
                    <a:pt x="1722" y="2348"/>
                  </a:lnTo>
                  <a:lnTo>
                    <a:pt x="1724" y="2350"/>
                  </a:lnTo>
                  <a:lnTo>
                    <a:pt x="1728" y="2350"/>
                  </a:lnTo>
                  <a:lnTo>
                    <a:pt x="1740" y="2350"/>
                  </a:lnTo>
                  <a:lnTo>
                    <a:pt x="1754" y="2348"/>
                  </a:lnTo>
                  <a:lnTo>
                    <a:pt x="1760" y="2348"/>
                  </a:lnTo>
                  <a:lnTo>
                    <a:pt x="1764" y="2350"/>
                  </a:lnTo>
                  <a:lnTo>
                    <a:pt x="1766" y="2352"/>
                  </a:lnTo>
                  <a:lnTo>
                    <a:pt x="1768" y="2352"/>
                  </a:lnTo>
                  <a:lnTo>
                    <a:pt x="1772" y="2350"/>
                  </a:lnTo>
                  <a:lnTo>
                    <a:pt x="1776" y="2350"/>
                  </a:lnTo>
                  <a:lnTo>
                    <a:pt x="1780" y="2356"/>
                  </a:lnTo>
                  <a:lnTo>
                    <a:pt x="1780" y="2358"/>
                  </a:lnTo>
                  <a:lnTo>
                    <a:pt x="1778" y="2360"/>
                  </a:lnTo>
                  <a:lnTo>
                    <a:pt x="1774" y="2364"/>
                  </a:lnTo>
                  <a:lnTo>
                    <a:pt x="1756" y="2374"/>
                  </a:lnTo>
                  <a:lnTo>
                    <a:pt x="1738" y="2382"/>
                  </a:lnTo>
                  <a:lnTo>
                    <a:pt x="1732" y="2386"/>
                  </a:lnTo>
                  <a:lnTo>
                    <a:pt x="1732" y="2388"/>
                  </a:lnTo>
                  <a:lnTo>
                    <a:pt x="1732" y="2390"/>
                  </a:lnTo>
                  <a:lnTo>
                    <a:pt x="1736" y="2392"/>
                  </a:lnTo>
                  <a:lnTo>
                    <a:pt x="1742" y="2394"/>
                  </a:lnTo>
                  <a:lnTo>
                    <a:pt x="1756" y="2398"/>
                  </a:lnTo>
                  <a:lnTo>
                    <a:pt x="1762" y="2400"/>
                  </a:lnTo>
                  <a:lnTo>
                    <a:pt x="1768" y="2404"/>
                  </a:lnTo>
                  <a:lnTo>
                    <a:pt x="1772" y="2410"/>
                  </a:lnTo>
                  <a:lnTo>
                    <a:pt x="1774" y="2416"/>
                  </a:lnTo>
                  <a:lnTo>
                    <a:pt x="1774" y="2424"/>
                  </a:lnTo>
                  <a:lnTo>
                    <a:pt x="1772" y="2428"/>
                  </a:lnTo>
                  <a:lnTo>
                    <a:pt x="1768" y="2432"/>
                  </a:lnTo>
                  <a:lnTo>
                    <a:pt x="1766" y="2434"/>
                  </a:lnTo>
                  <a:lnTo>
                    <a:pt x="1768" y="2434"/>
                  </a:lnTo>
                  <a:lnTo>
                    <a:pt x="1774" y="2442"/>
                  </a:lnTo>
                  <a:lnTo>
                    <a:pt x="1780" y="2446"/>
                  </a:lnTo>
                  <a:lnTo>
                    <a:pt x="1788" y="2448"/>
                  </a:lnTo>
                  <a:lnTo>
                    <a:pt x="1794" y="2446"/>
                  </a:lnTo>
                  <a:lnTo>
                    <a:pt x="1800" y="2442"/>
                  </a:lnTo>
                  <a:lnTo>
                    <a:pt x="1810" y="2432"/>
                  </a:lnTo>
                  <a:lnTo>
                    <a:pt x="1822" y="2422"/>
                  </a:lnTo>
                  <a:lnTo>
                    <a:pt x="1826" y="2420"/>
                  </a:lnTo>
                  <a:lnTo>
                    <a:pt x="1830" y="2420"/>
                  </a:lnTo>
                  <a:lnTo>
                    <a:pt x="1832" y="2422"/>
                  </a:lnTo>
                  <a:lnTo>
                    <a:pt x="1836" y="2422"/>
                  </a:lnTo>
                  <a:lnTo>
                    <a:pt x="1844" y="2416"/>
                  </a:lnTo>
                  <a:lnTo>
                    <a:pt x="1850" y="2410"/>
                  </a:lnTo>
                  <a:lnTo>
                    <a:pt x="1856" y="2408"/>
                  </a:lnTo>
                  <a:lnTo>
                    <a:pt x="1860" y="2408"/>
                  </a:lnTo>
                  <a:lnTo>
                    <a:pt x="1862" y="2408"/>
                  </a:lnTo>
                  <a:lnTo>
                    <a:pt x="1870" y="2412"/>
                  </a:lnTo>
                  <a:lnTo>
                    <a:pt x="1876" y="2414"/>
                  </a:lnTo>
                  <a:lnTo>
                    <a:pt x="1882" y="2412"/>
                  </a:lnTo>
                  <a:lnTo>
                    <a:pt x="1892" y="2408"/>
                  </a:lnTo>
                  <a:lnTo>
                    <a:pt x="1894" y="2406"/>
                  </a:lnTo>
                  <a:lnTo>
                    <a:pt x="1892" y="2404"/>
                  </a:lnTo>
                  <a:lnTo>
                    <a:pt x="1892" y="2400"/>
                  </a:lnTo>
                  <a:lnTo>
                    <a:pt x="1892" y="2398"/>
                  </a:lnTo>
                  <a:lnTo>
                    <a:pt x="1894" y="2394"/>
                  </a:lnTo>
                  <a:lnTo>
                    <a:pt x="1896" y="2390"/>
                  </a:lnTo>
                  <a:lnTo>
                    <a:pt x="1894" y="2386"/>
                  </a:lnTo>
                  <a:lnTo>
                    <a:pt x="1886" y="2384"/>
                  </a:lnTo>
                  <a:lnTo>
                    <a:pt x="1874" y="2386"/>
                  </a:lnTo>
                  <a:lnTo>
                    <a:pt x="1868" y="2388"/>
                  </a:lnTo>
                  <a:lnTo>
                    <a:pt x="1862" y="2392"/>
                  </a:lnTo>
                  <a:lnTo>
                    <a:pt x="1854" y="2396"/>
                  </a:lnTo>
                  <a:lnTo>
                    <a:pt x="1852" y="2396"/>
                  </a:lnTo>
                  <a:lnTo>
                    <a:pt x="1848" y="2392"/>
                  </a:lnTo>
                  <a:lnTo>
                    <a:pt x="1842" y="2386"/>
                  </a:lnTo>
                  <a:lnTo>
                    <a:pt x="1836" y="2376"/>
                  </a:lnTo>
                  <a:lnTo>
                    <a:pt x="1826" y="2358"/>
                  </a:lnTo>
                  <a:lnTo>
                    <a:pt x="1824" y="2348"/>
                  </a:lnTo>
                  <a:lnTo>
                    <a:pt x="1824" y="2346"/>
                  </a:lnTo>
                  <a:lnTo>
                    <a:pt x="1824" y="2344"/>
                  </a:lnTo>
                  <a:lnTo>
                    <a:pt x="1830" y="2342"/>
                  </a:lnTo>
                  <a:lnTo>
                    <a:pt x="1836" y="2340"/>
                  </a:lnTo>
                  <a:lnTo>
                    <a:pt x="1838" y="2340"/>
                  </a:lnTo>
                  <a:lnTo>
                    <a:pt x="1838" y="2342"/>
                  </a:lnTo>
                  <a:lnTo>
                    <a:pt x="1838" y="2344"/>
                  </a:lnTo>
                  <a:lnTo>
                    <a:pt x="1838" y="2348"/>
                  </a:lnTo>
                  <a:lnTo>
                    <a:pt x="1842" y="2346"/>
                  </a:lnTo>
                  <a:lnTo>
                    <a:pt x="1852" y="2336"/>
                  </a:lnTo>
                  <a:lnTo>
                    <a:pt x="1862" y="2326"/>
                  </a:lnTo>
                  <a:lnTo>
                    <a:pt x="1872" y="2318"/>
                  </a:lnTo>
                  <a:lnTo>
                    <a:pt x="1876" y="2316"/>
                  </a:lnTo>
                  <a:lnTo>
                    <a:pt x="1880" y="2316"/>
                  </a:lnTo>
                  <a:lnTo>
                    <a:pt x="1886" y="2318"/>
                  </a:lnTo>
                  <a:lnTo>
                    <a:pt x="1896" y="2316"/>
                  </a:lnTo>
                  <a:lnTo>
                    <a:pt x="1906" y="2312"/>
                  </a:lnTo>
                  <a:lnTo>
                    <a:pt x="1916" y="2308"/>
                  </a:lnTo>
                  <a:lnTo>
                    <a:pt x="1934" y="2296"/>
                  </a:lnTo>
                  <a:lnTo>
                    <a:pt x="1944" y="2292"/>
                  </a:lnTo>
                  <a:lnTo>
                    <a:pt x="1952" y="2292"/>
                  </a:lnTo>
                  <a:lnTo>
                    <a:pt x="1956" y="2294"/>
                  </a:lnTo>
                  <a:lnTo>
                    <a:pt x="1960" y="2296"/>
                  </a:lnTo>
                  <a:lnTo>
                    <a:pt x="1964" y="2294"/>
                  </a:lnTo>
                  <a:lnTo>
                    <a:pt x="1972" y="2288"/>
                  </a:lnTo>
                  <a:lnTo>
                    <a:pt x="1976" y="2288"/>
                  </a:lnTo>
                  <a:lnTo>
                    <a:pt x="1980" y="2290"/>
                  </a:lnTo>
                  <a:lnTo>
                    <a:pt x="1986" y="2288"/>
                  </a:lnTo>
                  <a:lnTo>
                    <a:pt x="1992" y="2286"/>
                  </a:lnTo>
                  <a:lnTo>
                    <a:pt x="1998" y="2284"/>
                  </a:lnTo>
                  <a:lnTo>
                    <a:pt x="2002" y="2284"/>
                  </a:lnTo>
                  <a:lnTo>
                    <a:pt x="2004" y="2286"/>
                  </a:lnTo>
                  <a:lnTo>
                    <a:pt x="2004" y="2288"/>
                  </a:lnTo>
                  <a:lnTo>
                    <a:pt x="2004" y="2290"/>
                  </a:lnTo>
                  <a:lnTo>
                    <a:pt x="2000" y="2294"/>
                  </a:lnTo>
                  <a:lnTo>
                    <a:pt x="1996" y="2298"/>
                  </a:lnTo>
                  <a:lnTo>
                    <a:pt x="1988" y="2300"/>
                  </a:lnTo>
                  <a:lnTo>
                    <a:pt x="1980" y="2302"/>
                  </a:lnTo>
                  <a:lnTo>
                    <a:pt x="1974" y="2306"/>
                  </a:lnTo>
                  <a:lnTo>
                    <a:pt x="1968" y="2312"/>
                  </a:lnTo>
                  <a:lnTo>
                    <a:pt x="1962" y="2316"/>
                  </a:lnTo>
                  <a:lnTo>
                    <a:pt x="1948" y="2318"/>
                  </a:lnTo>
                  <a:lnTo>
                    <a:pt x="1944" y="2318"/>
                  </a:lnTo>
                  <a:lnTo>
                    <a:pt x="1944" y="2320"/>
                  </a:lnTo>
                  <a:lnTo>
                    <a:pt x="1944" y="2324"/>
                  </a:lnTo>
                  <a:lnTo>
                    <a:pt x="1946" y="2326"/>
                  </a:lnTo>
                  <a:lnTo>
                    <a:pt x="1952" y="2332"/>
                  </a:lnTo>
                  <a:lnTo>
                    <a:pt x="1956" y="2334"/>
                  </a:lnTo>
                  <a:lnTo>
                    <a:pt x="1958" y="2334"/>
                  </a:lnTo>
                  <a:lnTo>
                    <a:pt x="1962" y="2334"/>
                  </a:lnTo>
                  <a:lnTo>
                    <a:pt x="1968" y="2338"/>
                  </a:lnTo>
                  <a:lnTo>
                    <a:pt x="1974" y="2344"/>
                  </a:lnTo>
                  <a:lnTo>
                    <a:pt x="1978" y="2352"/>
                  </a:lnTo>
                  <a:lnTo>
                    <a:pt x="1976" y="2354"/>
                  </a:lnTo>
                  <a:lnTo>
                    <a:pt x="1972" y="2352"/>
                  </a:lnTo>
                  <a:lnTo>
                    <a:pt x="1964" y="2350"/>
                  </a:lnTo>
                  <a:lnTo>
                    <a:pt x="1958" y="2350"/>
                  </a:lnTo>
                  <a:lnTo>
                    <a:pt x="1952" y="2354"/>
                  </a:lnTo>
                  <a:lnTo>
                    <a:pt x="1948" y="2362"/>
                  </a:lnTo>
                  <a:lnTo>
                    <a:pt x="1942" y="2376"/>
                  </a:lnTo>
                  <a:lnTo>
                    <a:pt x="1940" y="2382"/>
                  </a:lnTo>
                  <a:lnTo>
                    <a:pt x="1942" y="2388"/>
                  </a:lnTo>
                  <a:lnTo>
                    <a:pt x="1944" y="2396"/>
                  </a:lnTo>
                  <a:lnTo>
                    <a:pt x="1942" y="2396"/>
                  </a:lnTo>
                  <a:lnTo>
                    <a:pt x="1940" y="2396"/>
                  </a:lnTo>
                  <a:lnTo>
                    <a:pt x="1934" y="2394"/>
                  </a:lnTo>
                  <a:lnTo>
                    <a:pt x="1930" y="2392"/>
                  </a:lnTo>
                  <a:lnTo>
                    <a:pt x="1926" y="2394"/>
                  </a:lnTo>
                  <a:lnTo>
                    <a:pt x="1922" y="2394"/>
                  </a:lnTo>
                  <a:lnTo>
                    <a:pt x="1918" y="2392"/>
                  </a:lnTo>
                  <a:lnTo>
                    <a:pt x="1910" y="2390"/>
                  </a:lnTo>
                  <a:lnTo>
                    <a:pt x="1904" y="2388"/>
                  </a:lnTo>
                  <a:lnTo>
                    <a:pt x="1904" y="2390"/>
                  </a:lnTo>
                  <a:lnTo>
                    <a:pt x="1904" y="2392"/>
                  </a:lnTo>
                  <a:lnTo>
                    <a:pt x="1904" y="2396"/>
                  </a:lnTo>
                  <a:lnTo>
                    <a:pt x="1904" y="2398"/>
                  </a:lnTo>
                  <a:lnTo>
                    <a:pt x="1900" y="2402"/>
                  </a:lnTo>
                  <a:lnTo>
                    <a:pt x="1900" y="2404"/>
                  </a:lnTo>
                  <a:lnTo>
                    <a:pt x="1912" y="2410"/>
                  </a:lnTo>
                  <a:lnTo>
                    <a:pt x="1918" y="2414"/>
                  </a:lnTo>
                  <a:lnTo>
                    <a:pt x="1924" y="2418"/>
                  </a:lnTo>
                  <a:lnTo>
                    <a:pt x="1928" y="2424"/>
                  </a:lnTo>
                  <a:lnTo>
                    <a:pt x="1934" y="2430"/>
                  </a:lnTo>
                  <a:lnTo>
                    <a:pt x="1938" y="2432"/>
                  </a:lnTo>
                  <a:lnTo>
                    <a:pt x="1944" y="2434"/>
                  </a:lnTo>
                  <a:lnTo>
                    <a:pt x="1950" y="2434"/>
                  </a:lnTo>
                  <a:lnTo>
                    <a:pt x="1954" y="2436"/>
                  </a:lnTo>
                  <a:lnTo>
                    <a:pt x="1956" y="2440"/>
                  </a:lnTo>
                  <a:lnTo>
                    <a:pt x="1958" y="2442"/>
                  </a:lnTo>
                  <a:lnTo>
                    <a:pt x="1960" y="2446"/>
                  </a:lnTo>
                  <a:lnTo>
                    <a:pt x="1966" y="2448"/>
                  </a:lnTo>
                  <a:lnTo>
                    <a:pt x="1976" y="2452"/>
                  </a:lnTo>
                  <a:lnTo>
                    <a:pt x="1990" y="2456"/>
                  </a:lnTo>
                  <a:lnTo>
                    <a:pt x="1994" y="2458"/>
                  </a:lnTo>
                  <a:lnTo>
                    <a:pt x="1996" y="2462"/>
                  </a:lnTo>
                  <a:lnTo>
                    <a:pt x="2006" y="2474"/>
                  </a:lnTo>
                  <a:lnTo>
                    <a:pt x="2034" y="2504"/>
                  </a:lnTo>
                  <a:lnTo>
                    <a:pt x="2042" y="2510"/>
                  </a:lnTo>
                  <a:lnTo>
                    <a:pt x="2050" y="2516"/>
                  </a:lnTo>
                  <a:lnTo>
                    <a:pt x="2062" y="2520"/>
                  </a:lnTo>
                  <a:lnTo>
                    <a:pt x="2070" y="2522"/>
                  </a:lnTo>
                  <a:lnTo>
                    <a:pt x="2074" y="2526"/>
                  </a:lnTo>
                  <a:lnTo>
                    <a:pt x="2076" y="2530"/>
                  </a:lnTo>
                  <a:lnTo>
                    <a:pt x="2080" y="2534"/>
                  </a:lnTo>
                  <a:lnTo>
                    <a:pt x="2082" y="2538"/>
                  </a:lnTo>
                  <a:lnTo>
                    <a:pt x="2088" y="2538"/>
                  </a:lnTo>
                  <a:lnTo>
                    <a:pt x="2092" y="2540"/>
                  </a:lnTo>
                  <a:lnTo>
                    <a:pt x="2094" y="2544"/>
                  </a:lnTo>
                  <a:lnTo>
                    <a:pt x="2098" y="2552"/>
                  </a:lnTo>
                  <a:lnTo>
                    <a:pt x="2100" y="2562"/>
                  </a:lnTo>
                  <a:lnTo>
                    <a:pt x="2104" y="2584"/>
                  </a:lnTo>
                  <a:lnTo>
                    <a:pt x="2104" y="2598"/>
                  </a:lnTo>
                  <a:lnTo>
                    <a:pt x="2100" y="2606"/>
                  </a:lnTo>
                  <a:lnTo>
                    <a:pt x="2096" y="2610"/>
                  </a:lnTo>
                  <a:lnTo>
                    <a:pt x="2086" y="2618"/>
                  </a:lnTo>
                  <a:lnTo>
                    <a:pt x="2066" y="2630"/>
                  </a:lnTo>
                  <a:lnTo>
                    <a:pt x="2054" y="2636"/>
                  </a:lnTo>
                  <a:lnTo>
                    <a:pt x="2044" y="2640"/>
                  </a:lnTo>
                  <a:lnTo>
                    <a:pt x="2032" y="2638"/>
                  </a:lnTo>
                  <a:lnTo>
                    <a:pt x="2028" y="2638"/>
                  </a:lnTo>
                  <a:lnTo>
                    <a:pt x="2024" y="2634"/>
                  </a:lnTo>
                  <a:lnTo>
                    <a:pt x="2014" y="2630"/>
                  </a:lnTo>
                  <a:lnTo>
                    <a:pt x="2006" y="2630"/>
                  </a:lnTo>
                  <a:lnTo>
                    <a:pt x="1996" y="2632"/>
                  </a:lnTo>
                  <a:lnTo>
                    <a:pt x="1986" y="2636"/>
                  </a:lnTo>
                  <a:lnTo>
                    <a:pt x="1976" y="2640"/>
                  </a:lnTo>
                  <a:lnTo>
                    <a:pt x="1968" y="2642"/>
                  </a:lnTo>
                  <a:lnTo>
                    <a:pt x="1960" y="2642"/>
                  </a:lnTo>
                  <a:lnTo>
                    <a:pt x="1956" y="2640"/>
                  </a:lnTo>
                  <a:lnTo>
                    <a:pt x="1952" y="2636"/>
                  </a:lnTo>
                  <a:lnTo>
                    <a:pt x="1942" y="2630"/>
                  </a:lnTo>
                  <a:lnTo>
                    <a:pt x="1940" y="2630"/>
                  </a:lnTo>
                  <a:lnTo>
                    <a:pt x="1938" y="2632"/>
                  </a:lnTo>
                  <a:lnTo>
                    <a:pt x="1936" y="2634"/>
                  </a:lnTo>
                  <a:lnTo>
                    <a:pt x="1932" y="2634"/>
                  </a:lnTo>
                  <a:lnTo>
                    <a:pt x="1924" y="2630"/>
                  </a:lnTo>
                  <a:lnTo>
                    <a:pt x="1918" y="2626"/>
                  </a:lnTo>
                  <a:lnTo>
                    <a:pt x="1914" y="2622"/>
                  </a:lnTo>
                  <a:lnTo>
                    <a:pt x="1910" y="2618"/>
                  </a:lnTo>
                  <a:lnTo>
                    <a:pt x="1908" y="2616"/>
                  </a:lnTo>
                  <a:lnTo>
                    <a:pt x="1906" y="2616"/>
                  </a:lnTo>
                  <a:lnTo>
                    <a:pt x="1896" y="2620"/>
                  </a:lnTo>
                  <a:lnTo>
                    <a:pt x="1890" y="2620"/>
                  </a:lnTo>
                  <a:lnTo>
                    <a:pt x="1886" y="2618"/>
                  </a:lnTo>
                  <a:lnTo>
                    <a:pt x="1884" y="2614"/>
                  </a:lnTo>
                  <a:lnTo>
                    <a:pt x="1882" y="2608"/>
                  </a:lnTo>
                  <a:lnTo>
                    <a:pt x="1880" y="2602"/>
                  </a:lnTo>
                  <a:lnTo>
                    <a:pt x="1876" y="2598"/>
                  </a:lnTo>
                  <a:lnTo>
                    <a:pt x="1870" y="2596"/>
                  </a:lnTo>
                  <a:lnTo>
                    <a:pt x="1860" y="2598"/>
                  </a:lnTo>
                  <a:lnTo>
                    <a:pt x="1850" y="2600"/>
                  </a:lnTo>
                  <a:lnTo>
                    <a:pt x="1844" y="2596"/>
                  </a:lnTo>
                  <a:lnTo>
                    <a:pt x="1842" y="2592"/>
                  </a:lnTo>
                  <a:lnTo>
                    <a:pt x="1840" y="2586"/>
                  </a:lnTo>
                  <a:lnTo>
                    <a:pt x="1840" y="2582"/>
                  </a:lnTo>
                  <a:lnTo>
                    <a:pt x="1838" y="2578"/>
                  </a:lnTo>
                  <a:lnTo>
                    <a:pt x="1836" y="2576"/>
                  </a:lnTo>
                  <a:lnTo>
                    <a:pt x="1830" y="2580"/>
                  </a:lnTo>
                  <a:lnTo>
                    <a:pt x="1822" y="2582"/>
                  </a:lnTo>
                  <a:lnTo>
                    <a:pt x="1814" y="2584"/>
                  </a:lnTo>
                  <a:lnTo>
                    <a:pt x="1798" y="2582"/>
                  </a:lnTo>
                  <a:lnTo>
                    <a:pt x="1788" y="2580"/>
                  </a:lnTo>
                  <a:lnTo>
                    <a:pt x="1778" y="2580"/>
                  </a:lnTo>
                  <a:lnTo>
                    <a:pt x="1766" y="2582"/>
                  </a:lnTo>
                  <a:lnTo>
                    <a:pt x="1752" y="2586"/>
                  </a:lnTo>
                  <a:lnTo>
                    <a:pt x="1724" y="2596"/>
                  </a:lnTo>
                  <a:lnTo>
                    <a:pt x="1706" y="2608"/>
                  </a:lnTo>
                  <a:lnTo>
                    <a:pt x="1694" y="2618"/>
                  </a:lnTo>
                  <a:lnTo>
                    <a:pt x="1688" y="2624"/>
                  </a:lnTo>
                  <a:lnTo>
                    <a:pt x="1684" y="2630"/>
                  </a:lnTo>
                  <a:lnTo>
                    <a:pt x="1678" y="2632"/>
                  </a:lnTo>
                  <a:lnTo>
                    <a:pt x="1668" y="2632"/>
                  </a:lnTo>
                  <a:lnTo>
                    <a:pt x="1656" y="2628"/>
                  </a:lnTo>
                  <a:lnTo>
                    <a:pt x="1646" y="2626"/>
                  </a:lnTo>
                  <a:lnTo>
                    <a:pt x="1638" y="2626"/>
                  </a:lnTo>
                  <a:lnTo>
                    <a:pt x="1630" y="2628"/>
                  </a:lnTo>
                  <a:lnTo>
                    <a:pt x="1618" y="2628"/>
                  </a:lnTo>
                  <a:lnTo>
                    <a:pt x="1608" y="2624"/>
                  </a:lnTo>
                  <a:lnTo>
                    <a:pt x="1602" y="2626"/>
                  </a:lnTo>
                  <a:lnTo>
                    <a:pt x="1598" y="2628"/>
                  </a:lnTo>
                  <a:lnTo>
                    <a:pt x="1596" y="2634"/>
                  </a:lnTo>
                  <a:lnTo>
                    <a:pt x="1594" y="2638"/>
                  </a:lnTo>
                  <a:lnTo>
                    <a:pt x="1596" y="2640"/>
                  </a:lnTo>
                  <a:lnTo>
                    <a:pt x="1600" y="2642"/>
                  </a:lnTo>
                  <a:lnTo>
                    <a:pt x="1604" y="2646"/>
                  </a:lnTo>
                  <a:lnTo>
                    <a:pt x="1608" y="2650"/>
                  </a:lnTo>
                  <a:lnTo>
                    <a:pt x="1612" y="2650"/>
                  </a:lnTo>
                  <a:lnTo>
                    <a:pt x="1620" y="2652"/>
                  </a:lnTo>
                  <a:lnTo>
                    <a:pt x="1622" y="2652"/>
                  </a:lnTo>
                  <a:lnTo>
                    <a:pt x="1620" y="2652"/>
                  </a:lnTo>
                  <a:lnTo>
                    <a:pt x="1606" y="2656"/>
                  </a:lnTo>
                  <a:lnTo>
                    <a:pt x="1584" y="2660"/>
                  </a:lnTo>
                  <a:lnTo>
                    <a:pt x="1584" y="2662"/>
                  </a:lnTo>
                  <a:lnTo>
                    <a:pt x="1584" y="2664"/>
                  </a:lnTo>
                  <a:lnTo>
                    <a:pt x="1592" y="2666"/>
                  </a:lnTo>
                  <a:lnTo>
                    <a:pt x="1594" y="2668"/>
                  </a:lnTo>
                  <a:lnTo>
                    <a:pt x="1594" y="2672"/>
                  </a:lnTo>
                  <a:lnTo>
                    <a:pt x="1586" y="2674"/>
                  </a:lnTo>
                  <a:lnTo>
                    <a:pt x="1570" y="2674"/>
                  </a:lnTo>
                  <a:lnTo>
                    <a:pt x="1558" y="2672"/>
                  </a:lnTo>
                  <a:lnTo>
                    <a:pt x="1554" y="2670"/>
                  </a:lnTo>
                  <a:lnTo>
                    <a:pt x="1552" y="2666"/>
                  </a:lnTo>
                  <a:lnTo>
                    <a:pt x="1552" y="2664"/>
                  </a:lnTo>
                  <a:lnTo>
                    <a:pt x="1550" y="2662"/>
                  </a:lnTo>
                  <a:lnTo>
                    <a:pt x="1544" y="2662"/>
                  </a:lnTo>
                  <a:lnTo>
                    <a:pt x="1538" y="2666"/>
                  </a:lnTo>
                  <a:lnTo>
                    <a:pt x="1536" y="2668"/>
                  </a:lnTo>
                  <a:lnTo>
                    <a:pt x="1538" y="2670"/>
                  </a:lnTo>
                  <a:lnTo>
                    <a:pt x="1540" y="2672"/>
                  </a:lnTo>
                  <a:lnTo>
                    <a:pt x="1540" y="2674"/>
                  </a:lnTo>
                  <a:lnTo>
                    <a:pt x="1536" y="2676"/>
                  </a:lnTo>
                  <a:lnTo>
                    <a:pt x="1530" y="2676"/>
                  </a:lnTo>
                  <a:lnTo>
                    <a:pt x="1528" y="2674"/>
                  </a:lnTo>
                  <a:lnTo>
                    <a:pt x="1526" y="2672"/>
                  </a:lnTo>
                  <a:lnTo>
                    <a:pt x="1524" y="2670"/>
                  </a:lnTo>
                  <a:lnTo>
                    <a:pt x="1520" y="2668"/>
                  </a:lnTo>
                  <a:lnTo>
                    <a:pt x="1516" y="2666"/>
                  </a:lnTo>
                  <a:lnTo>
                    <a:pt x="1510" y="2668"/>
                  </a:lnTo>
                  <a:lnTo>
                    <a:pt x="1506" y="2670"/>
                  </a:lnTo>
                  <a:lnTo>
                    <a:pt x="1500" y="2672"/>
                  </a:lnTo>
                  <a:lnTo>
                    <a:pt x="1494" y="2678"/>
                  </a:lnTo>
                  <a:lnTo>
                    <a:pt x="1488" y="2686"/>
                  </a:lnTo>
                  <a:lnTo>
                    <a:pt x="1482" y="2692"/>
                  </a:lnTo>
                  <a:lnTo>
                    <a:pt x="1480" y="2694"/>
                  </a:lnTo>
                  <a:lnTo>
                    <a:pt x="1478" y="2696"/>
                  </a:lnTo>
                  <a:lnTo>
                    <a:pt x="1476" y="2706"/>
                  </a:lnTo>
                  <a:lnTo>
                    <a:pt x="1474" y="2716"/>
                  </a:lnTo>
                  <a:lnTo>
                    <a:pt x="1474" y="2718"/>
                  </a:lnTo>
                  <a:lnTo>
                    <a:pt x="1476" y="2720"/>
                  </a:lnTo>
                  <a:lnTo>
                    <a:pt x="1482" y="2720"/>
                  </a:lnTo>
                  <a:lnTo>
                    <a:pt x="1496" y="2716"/>
                  </a:lnTo>
                  <a:lnTo>
                    <a:pt x="1504" y="2716"/>
                  </a:lnTo>
                  <a:lnTo>
                    <a:pt x="1506" y="2716"/>
                  </a:lnTo>
                  <a:lnTo>
                    <a:pt x="1506" y="2718"/>
                  </a:lnTo>
                  <a:lnTo>
                    <a:pt x="1504" y="2720"/>
                  </a:lnTo>
                  <a:lnTo>
                    <a:pt x="1500" y="2728"/>
                  </a:lnTo>
                  <a:lnTo>
                    <a:pt x="1498" y="2732"/>
                  </a:lnTo>
                  <a:lnTo>
                    <a:pt x="1502" y="2734"/>
                  </a:lnTo>
                  <a:lnTo>
                    <a:pt x="1504" y="2738"/>
                  </a:lnTo>
                  <a:lnTo>
                    <a:pt x="1504" y="2740"/>
                  </a:lnTo>
                  <a:lnTo>
                    <a:pt x="1502" y="2746"/>
                  </a:lnTo>
                  <a:lnTo>
                    <a:pt x="1502" y="2750"/>
                  </a:lnTo>
                  <a:lnTo>
                    <a:pt x="1504" y="2752"/>
                  </a:lnTo>
                  <a:lnTo>
                    <a:pt x="1506" y="2752"/>
                  </a:lnTo>
                  <a:lnTo>
                    <a:pt x="1510" y="2754"/>
                  </a:lnTo>
                  <a:lnTo>
                    <a:pt x="1510" y="2756"/>
                  </a:lnTo>
                  <a:lnTo>
                    <a:pt x="1504" y="2760"/>
                  </a:lnTo>
                  <a:lnTo>
                    <a:pt x="1498" y="2766"/>
                  </a:lnTo>
                  <a:lnTo>
                    <a:pt x="1498" y="2768"/>
                  </a:lnTo>
                  <a:lnTo>
                    <a:pt x="1502" y="2770"/>
                  </a:lnTo>
                  <a:lnTo>
                    <a:pt x="1508" y="2774"/>
                  </a:lnTo>
                  <a:lnTo>
                    <a:pt x="1510" y="2778"/>
                  </a:lnTo>
                  <a:lnTo>
                    <a:pt x="1510" y="2780"/>
                  </a:lnTo>
                  <a:lnTo>
                    <a:pt x="1508" y="2782"/>
                  </a:lnTo>
                  <a:lnTo>
                    <a:pt x="1504" y="2782"/>
                  </a:lnTo>
                  <a:lnTo>
                    <a:pt x="1500" y="2782"/>
                  </a:lnTo>
                  <a:lnTo>
                    <a:pt x="1496" y="2780"/>
                  </a:lnTo>
                  <a:lnTo>
                    <a:pt x="1494" y="2774"/>
                  </a:lnTo>
                  <a:lnTo>
                    <a:pt x="1492" y="2768"/>
                  </a:lnTo>
                  <a:lnTo>
                    <a:pt x="1488" y="2768"/>
                  </a:lnTo>
                  <a:lnTo>
                    <a:pt x="1486" y="2768"/>
                  </a:lnTo>
                  <a:lnTo>
                    <a:pt x="1486" y="2772"/>
                  </a:lnTo>
                  <a:lnTo>
                    <a:pt x="1484" y="2782"/>
                  </a:lnTo>
                  <a:lnTo>
                    <a:pt x="1486" y="2788"/>
                  </a:lnTo>
                  <a:lnTo>
                    <a:pt x="1490" y="2792"/>
                  </a:lnTo>
                  <a:lnTo>
                    <a:pt x="1494" y="2794"/>
                  </a:lnTo>
                  <a:lnTo>
                    <a:pt x="1498" y="2794"/>
                  </a:lnTo>
                  <a:lnTo>
                    <a:pt x="1500" y="2794"/>
                  </a:lnTo>
                  <a:lnTo>
                    <a:pt x="1504" y="2796"/>
                  </a:lnTo>
                  <a:lnTo>
                    <a:pt x="1508" y="2800"/>
                  </a:lnTo>
                  <a:lnTo>
                    <a:pt x="1510" y="2800"/>
                  </a:lnTo>
                  <a:lnTo>
                    <a:pt x="1518" y="2802"/>
                  </a:lnTo>
                  <a:lnTo>
                    <a:pt x="1520" y="2802"/>
                  </a:lnTo>
                  <a:lnTo>
                    <a:pt x="1522" y="2804"/>
                  </a:lnTo>
                  <a:lnTo>
                    <a:pt x="1522" y="2806"/>
                  </a:lnTo>
                  <a:lnTo>
                    <a:pt x="1520" y="2810"/>
                  </a:lnTo>
                  <a:lnTo>
                    <a:pt x="1516" y="2818"/>
                  </a:lnTo>
                  <a:lnTo>
                    <a:pt x="1516" y="2822"/>
                  </a:lnTo>
                  <a:lnTo>
                    <a:pt x="1520" y="2826"/>
                  </a:lnTo>
                  <a:lnTo>
                    <a:pt x="1520" y="2832"/>
                  </a:lnTo>
                  <a:lnTo>
                    <a:pt x="1520" y="2836"/>
                  </a:lnTo>
                  <a:lnTo>
                    <a:pt x="1522" y="2838"/>
                  </a:lnTo>
                  <a:lnTo>
                    <a:pt x="1526" y="2838"/>
                  </a:lnTo>
                  <a:lnTo>
                    <a:pt x="1528" y="2840"/>
                  </a:lnTo>
                  <a:lnTo>
                    <a:pt x="1530" y="2844"/>
                  </a:lnTo>
                  <a:lnTo>
                    <a:pt x="1530" y="2848"/>
                  </a:lnTo>
                  <a:lnTo>
                    <a:pt x="1530" y="2850"/>
                  </a:lnTo>
                  <a:lnTo>
                    <a:pt x="1524" y="2850"/>
                  </a:lnTo>
                  <a:lnTo>
                    <a:pt x="1518" y="2850"/>
                  </a:lnTo>
                  <a:lnTo>
                    <a:pt x="1520" y="2854"/>
                  </a:lnTo>
                  <a:lnTo>
                    <a:pt x="1522" y="2856"/>
                  </a:lnTo>
                  <a:lnTo>
                    <a:pt x="1528" y="2858"/>
                  </a:lnTo>
                  <a:lnTo>
                    <a:pt x="1542" y="2856"/>
                  </a:lnTo>
                  <a:lnTo>
                    <a:pt x="1552" y="2856"/>
                  </a:lnTo>
                  <a:lnTo>
                    <a:pt x="1556" y="2858"/>
                  </a:lnTo>
                  <a:lnTo>
                    <a:pt x="1554" y="2860"/>
                  </a:lnTo>
                  <a:lnTo>
                    <a:pt x="1550" y="2864"/>
                  </a:lnTo>
                  <a:lnTo>
                    <a:pt x="1546" y="2866"/>
                  </a:lnTo>
                  <a:lnTo>
                    <a:pt x="1534" y="2868"/>
                  </a:lnTo>
                  <a:lnTo>
                    <a:pt x="1526" y="2870"/>
                  </a:lnTo>
                  <a:lnTo>
                    <a:pt x="1524" y="2870"/>
                  </a:lnTo>
                  <a:lnTo>
                    <a:pt x="1526" y="2872"/>
                  </a:lnTo>
                  <a:lnTo>
                    <a:pt x="1528" y="2876"/>
                  </a:lnTo>
                  <a:lnTo>
                    <a:pt x="1532" y="2876"/>
                  </a:lnTo>
                  <a:lnTo>
                    <a:pt x="1540" y="2874"/>
                  </a:lnTo>
                  <a:lnTo>
                    <a:pt x="1548" y="2872"/>
                  </a:lnTo>
                  <a:lnTo>
                    <a:pt x="1550" y="2872"/>
                  </a:lnTo>
                  <a:lnTo>
                    <a:pt x="1552" y="2876"/>
                  </a:lnTo>
                  <a:lnTo>
                    <a:pt x="1552" y="2878"/>
                  </a:lnTo>
                  <a:lnTo>
                    <a:pt x="1554" y="2878"/>
                  </a:lnTo>
                  <a:lnTo>
                    <a:pt x="1560" y="2872"/>
                  </a:lnTo>
                  <a:lnTo>
                    <a:pt x="1564" y="2870"/>
                  </a:lnTo>
                  <a:lnTo>
                    <a:pt x="1568" y="2868"/>
                  </a:lnTo>
                  <a:lnTo>
                    <a:pt x="1572" y="2868"/>
                  </a:lnTo>
                  <a:lnTo>
                    <a:pt x="1576" y="2870"/>
                  </a:lnTo>
                  <a:lnTo>
                    <a:pt x="1580" y="2874"/>
                  </a:lnTo>
                  <a:lnTo>
                    <a:pt x="1582" y="2874"/>
                  </a:lnTo>
                  <a:lnTo>
                    <a:pt x="1588" y="2874"/>
                  </a:lnTo>
                  <a:lnTo>
                    <a:pt x="1590" y="2872"/>
                  </a:lnTo>
                  <a:lnTo>
                    <a:pt x="1592" y="2874"/>
                  </a:lnTo>
                  <a:lnTo>
                    <a:pt x="1594" y="2880"/>
                  </a:lnTo>
                  <a:lnTo>
                    <a:pt x="1598" y="2886"/>
                  </a:lnTo>
                  <a:lnTo>
                    <a:pt x="1602" y="2892"/>
                  </a:lnTo>
                  <a:lnTo>
                    <a:pt x="1610" y="2900"/>
                  </a:lnTo>
                  <a:lnTo>
                    <a:pt x="1616" y="2902"/>
                  </a:lnTo>
                  <a:lnTo>
                    <a:pt x="1620" y="2904"/>
                  </a:lnTo>
                  <a:lnTo>
                    <a:pt x="1624" y="2904"/>
                  </a:lnTo>
                  <a:lnTo>
                    <a:pt x="1628" y="2902"/>
                  </a:lnTo>
                  <a:lnTo>
                    <a:pt x="1634" y="2896"/>
                  </a:lnTo>
                  <a:lnTo>
                    <a:pt x="1638" y="2894"/>
                  </a:lnTo>
                  <a:lnTo>
                    <a:pt x="1640" y="2894"/>
                  </a:lnTo>
                  <a:lnTo>
                    <a:pt x="1642" y="2896"/>
                  </a:lnTo>
                  <a:lnTo>
                    <a:pt x="1646" y="2898"/>
                  </a:lnTo>
                  <a:lnTo>
                    <a:pt x="1648" y="2896"/>
                  </a:lnTo>
                  <a:lnTo>
                    <a:pt x="1652" y="2894"/>
                  </a:lnTo>
                  <a:lnTo>
                    <a:pt x="1654" y="2890"/>
                  </a:lnTo>
                  <a:lnTo>
                    <a:pt x="1654" y="2884"/>
                  </a:lnTo>
                  <a:lnTo>
                    <a:pt x="1654" y="2872"/>
                  </a:lnTo>
                  <a:lnTo>
                    <a:pt x="1656" y="2866"/>
                  </a:lnTo>
                  <a:lnTo>
                    <a:pt x="1662" y="2864"/>
                  </a:lnTo>
                  <a:lnTo>
                    <a:pt x="1670" y="2864"/>
                  </a:lnTo>
                  <a:lnTo>
                    <a:pt x="1686" y="2868"/>
                  </a:lnTo>
                  <a:lnTo>
                    <a:pt x="1700" y="2874"/>
                  </a:lnTo>
                  <a:lnTo>
                    <a:pt x="1712" y="2882"/>
                  </a:lnTo>
                  <a:lnTo>
                    <a:pt x="1720" y="2890"/>
                  </a:lnTo>
                  <a:lnTo>
                    <a:pt x="1728" y="2898"/>
                  </a:lnTo>
                  <a:lnTo>
                    <a:pt x="1732" y="2904"/>
                  </a:lnTo>
                  <a:lnTo>
                    <a:pt x="1738" y="2908"/>
                  </a:lnTo>
                  <a:lnTo>
                    <a:pt x="1744" y="2910"/>
                  </a:lnTo>
                  <a:lnTo>
                    <a:pt x="1752" y="2908"/>
                  </a:lnTo>
                  <a:lnTo>
                    <a:pt x="1766" y="2904"/>
                  </a:lnTo>
                  <a:lnTo>
                    <a:pt x="1778" y="2902"/>
                  </a:lnTo>
                  <a:lnTo>
                    <a:pt x="1782" y="2900"/>
                  </a:lnTo>
                  <a:lnTo>
                    <a:pt x="1788" y="2898"/>
                  </a:lnTo>
                  <a:lnTo>
                    <a:pt x="1794" y="2892"/>
                  </a:lnTo>
                  <a:lnTo>
                    <a:pt x="1802" y="2884"/>
                  </a:lnTo>
                  <a:lnTo>
                    <a:pt x="1814" y="2872"/>
                  </a:lnTo>
                  <a:lnTo>
                    <a:pt x="1822" y="2868"/>
                  </a:lnTo>
                  <a:lnTo>
                    <a:pt x="1828" y="2868"/>
                  </a:lnTo>
                  <a:lnTo>
                    <a:pt x="1834" y="2872"/>
                  </a:lnTo>
                  <a:lnTo>
                    <a:pt x="1838" y="2876"/>
                  </a:lnTo>
                  <a:lnTo>
                    <a:pt x="1844" y="2880"/>
                  </a:lnTo>
                  <a:lnTo>
                    <a:pt x="1848" y="2880"/>
                  </a:lnTo>
                  <a:lnTo>
                    <a:pt x="1856" y="2876"/>
                  </a:lnTo>
                  <a:lnTo>
                    <a:pt x="1868" y="2864"/>
                  </a:lnTo>
                  <a:lnTo>
                    <a:pt x="1876" y="2860"/>
                  </a:lnTo>
                  <a:lnTo>
                    <a:pt x="1878" y="2860"/>
                  </a:lnTo>
                  <a:lnTo>
                    <a:pt x="1880" y="2862"/>
                  </a:lnTo>
                  <a:lnTo>
                    <a:pt x="1882" y="2870"/>
                  </a:lnTo>
                  <a:lnTo>
                    <a:pt x="1882" y="2874"/>
                  </a:lnTo>
                  <a:lnTo>
                    <a:pt x="1880" y="2878"/>
                  </a:lnTo>
                  <a:lnTo>
                    <a:pt x="1872" y="2886"/>
                  </a:lnTo>
                  <a:lnTo>
                    <a:pt x="1866" y="2892"/>
                  </a:lnTo>
                  <a:lnTo>
                    <a:pt x="1864" y="2894"/>
                  </a:lnTo>
                  <a:lnTo>
                    <a:pt x="1866" y="2896"/>
                  </a:lnTo>
                  <a:lnTo>
                    <a:pt x="1872" y="2906"/>
                  </a:lnTo>
                  <a:lnTo>
                    <a:pt x="1872" y="2910"/>
                  </a:lnTo>
                  <a:lnTo>
                    <a:pt x="1872" y="2914"/>
                  </a:lnTo>
                  <a:lnTo>
                    <a:pt x="1868" y="2918"/>
                  </a:lnTo>
                  <a:lnTo>
                    <a:pt x="1864" y="2924"/>
                  </a:lnTo>
                  <a:lnTo>
                    <a:pt x="1862" y="2930"/>
                  </a:lnTo>
                  <a:lnTo>
                    <a:pt x="1866" y="2940"/>
                  </a:lnTo>
                  <a:lnTo>
                    <a:pt x="1870" y="2948"/>
                  </a:lnTo>
                  <a:lnTo>
                    <a:pt x="1870" y="2956"/>
                  </a:lnTo>
                  <a:lnTo>
                    <a:pt x="1870" y="2966"/>
                  </a:lnTo>
                  <a:lnTo>
                    <a:pt x="1872" y="2980"/>
                  </a:lnTo>
                  <a:lnTo>
                    <a:pt x="1872" y="2986"/>
                  </a:lnTo>
                  <a:lnTo>
                    <a:pt x="1870" y="2990"/>
                  </a:lnTo>
                  <a:lnTo>
                    <a:pt x="1866" y="2996"/>
                  </a:lnTo>
                  <a:lnTo>
                    <a:pt x="1860" y="3000"/>
                  </a:lnTo>
                  <a:lnTo>
                    <a:pt x="1858" y="3006"/>
                  </a:lnTo>
                  <a:lnTo>
                    <a:pt x="1858" y="3012"/>
                  </a:lnTo>
                  <a:lnTo>
                    <a:pt x="1858" y="3020"/>
                  </a:lnTo>
                  <a:lnTo>
                    <a:pt x="1856" y="3020"/>
                  </a:lnTo>
                  <a:lnTo>
                    <a:pt x="1854" y="3024"/>
                  </a:lnTo>
                  <a:lnTo>
                    <a:pt x="1850" y="3034"/>
                  </a:lnTo>
                  <a:lnTo>
                    <a:pt x="1848" y="3044"/>
                  </a:lnTo>
                  <a:lnTo>
                    <a:pt x="1846" y="3050"/>
                  </a:lnTo>
                  <a:lnTo>
                    <a:pt x="1842" y="3054"/>
                  </a:lnTo>
                  <a:lnTo>
                    <a:pt x="1838" y="3064"/>
                  </a:lnTo>
                  <a:lnTo>
                    <a:pt x="1824" y="3108"/>
                  </a:lnTo>
                  <a:lnTo>
                    <a:pt x="1818" y="3130"/>
                  </a:lnTo>
                  <a:lnTo>
                    <a:pt x="1814" y="3144"/>
                  </a:lnTo>
                  <a:lnTo>
                    <a:pt x="1806" y="3154"/>
                  </a:lnTo>
                  <a:lnTo>
                    <a:pt x="1800" y="3160"/>
                  </a:lnTo>
                  <a:lnTo>
                    <a:pt x="1768" y="3170"/>
                  </a:lnTo>
                  <a:lnTo>
                    <a:pt x="1764" y="3170"/>
                  </a:lnTo>
                  <a:lnTo>
                    <a:pt x="1760" y="3166"/>
                  </a:lnTo>
                  <a:lnTo>
                    <a:pt x="1756" y="3164"/>
                  </a:lnTo>
                  <a:lnTo>
                    <a:pt x="1754" y="3166"/>
                  </a:lnTo>
                  <a:lnTo>
                    <a:pt x="1748" y="3168"/>
                  </a:lnTo>
                  <a:lnTo>
                    <a:pt x="1744" y="3170"/>
                  </a:lnTo>
                  <a:lnTo>
                    <a:pt x="1740" y="3170"/>
                  </a:lnTo>
                  <a:lnTo>
                    <a:pt x="1734" y="3168"/>
                  </a:lnTo>
                  <a:lnTo>
                    <a:pt x="1728" y="3164"/>
                  </a:lnTo>
                  <a:lnTo>
                    <a:pt x="1726" y="3162"/>
                  </a:lnTo>
                  <a:lnTo>
                    <a:pt x="1724" y="3162"/>
                  </a:lnTo>
                  <a:lnTo>
                    <a:pt x="1724" y="3164"/>
                  </a:lnTo>
                  <a:lnTo>
                    <a:pt x="1724" y="3168"/>
                  </a:lnTo>
                  <a:lnTo>
                    <a:pt x="1720" y="3170"/>
                  </a:lnTo>
                  <a:lnTo>
                    <a:pt x="1734" y="3232"/>
                  </a:lnTo>
                  <a:lnTo>
                    <a:pt x="1734" y="3230"/>
                  </a:lnTo>
                  <a:lnTo>
                    <a:pt x="1738" y="3232"/>
                  </a:lnTo>
                  <a:lnTo>
                    <a:pt x="1738" y="3236"/>
                  </a:lnTo>
                  <a:lnTo>
                    <a:pt x="1738" y="3242"/>
                  </a:lnTo>
                  <a:lnTo>
                    <a:pt x="1740" y="3252"/>
                  </a:lnTo>
                  <a:lnTo>
                    <a:pt x="1744" y="3260"/>
                  </a:lnTo>
                  <a:lnTo>
                    <a:pt x="1750" y="3266"/>
                  </a:lnTo>
                  <a:lnTo>
                    <a:pt x="1754" y="3272"/>
                  </a:lnTo>
                  <a:lnTo>
                    <a:pt x="1758" y="3278"/>
                  </a:lnTo>
                  <a:lnTo>
                    <a:pt x="1760" y="3288"/>
                  </a:lnTo>
                  <a:lnTo>
                    <a:pt x="1762" y="3300"/>
                  </a:lnTo>
                  <a:lnTo>
                    <a:pt x="1766" y="3306"/>
                  </a:lnTo>
                  <a:lnTo>
                    <a:pt x="1770" y="3312"/>
                  </a:lnTo>
                  <a:lnTo>
                    <a:pt x="1784" y="3328"/>
                  </a:lnTo>
                  <a:lnTo>
                    <a:pt x="1792" y="3340"/>
                  </a:lnTo>
                  <a:lnTo>
                    <a:pt x="1796" y="3344"/>
                  </a:lnTo>
                  <a:lnTo>
                    <a:pt x="1800" y="3346"/>
                  </a:lnTo>
                  <a:lnTo>
                    <a:pt x="1802" y="3344"/>
                  </a:lnTo>
                  <a:lnTo>
                    <a:pt x="1804" y="3340"/>
                  </a:lnTo>
                  <a:lnTo>
                    <a:pt x="1810" y="3328"/>
                  </a:lnTo>
                  <a:lnTo>
                    <a:pt x="1812" y="3314"/>
                  </a:lnTo>
                  <a:lnTo>
                    <a:pt x="1816" y="3292"/>
                  </a:lnTo>
                  <a:lnTo>
                    <a:pt x="1830" y="3254"/>
                  </a:lnTo>
                  <a:lnTo>
                    <a:pt x="1832" y="3250"/>
                  </a:lnTo>
                  <a:lnTo>
                    <a:pt x="1832" y="3256"/>
                  </a:lnTo>
                  <a:lnTo>
                    <a:pt x="1832" y="3260"/>
                  </a:lnTo>
                  <a:lnTo>
                    <a:pt x="1826" y="3286"/>
                  </a:lnTo>
                  <a:lnTo>
                    <a:pt x="1826" y="3296"/>
                  </a:lnTo>
                  <a:lnTo>
                    <a:pt x="1826" y="3302"/>
                  </a:lnTo>
                  <a:lnTo>
                    <a:pt x="1822" y="3312"/>
                  </a:lnTo>
                  <a:lnTo>
                    <a:pt x="1818" y="3328"/>
                  </a:lnTo>
                  <a:lnTo>
                    <a:pt x="1818" y="3330"/>
                  </a:lnTo>
                  <a:lnTo>
                    <a:pt x="1824" y="3328"/>
                  </a:lnTo>
                  <a:lnTo>
                    <a:pt x="1828" y="3326"/>
                  </a:lnTo>
                  <a:lnTo>
                    <a:pt x="1834" y="3326"/>
                  </a:lnTo>
                  <a:lnTo>
                    <a:pt x="1838" y="3328"/>
                  </a:lnTo>
                  <a:lnTo>
                    <a:pt x="1840" y="3330"/>
                  </a:lnTo>
                  <a:lnTo>
                    <a:pt x="1848" y="3340"/>
                  </a:lnTo>
                  <a:lnTo>
                    <a:pt x="1864" y="3372"/>
                  </a:lnTo>
                  <a:lnTo>
                    <a:pt x="1880" y="3406"/>
                  </a:lnTo>
                  <a:lnTo>
                    <a:pt x="1888" y="3418"/>
                  </a:lnTo>
                  <a:lnTo>
                    <a:pt x="1896" y="3428"/>
                  </a:lnTo>
                  <a:lnTo>
                    <a:pt x="1900" y="3434"/>
                  </a:lnTo>
                  <a:lnTo>
                    <a:pt x="1900" y="3440"/>
                  </a:lnTo>
                  <a:lnTo>
                    <a:pt x="1902" y="3444"/>
                  </a:lnTo>
                  <a:lnTo>
                    <a:pt x="1908" y="3450"/>
                  </a:lnTo>
                  <a:lnTo>
                    <a:pt x="1916" y="3458"/>
                  </a:lnTo>
                  <a:lnTo>
                    <a:pt x="1922" y="3470"/>
                  </a:lnTo>
                  <a:lnTo>
                    <a:pt x="1926" y="3482"/>
                  </a:lnTo>
                  <a:lnTo>
                    <a:pt x="1926" y="3486"/>
                  </a:lnTo>
                  <a:lnTo>
                    <a:pt x="1924" y="3492"/>
                  </a:lnTo>
                  <a:lnTo>
                    <a:pt x="1922" y="3496"/>
                  </a:lnTo>
                  <a:lnTo>
                    <a:pt x="1924" y="3502"/>
                  </a:lnTo>
                  <a:lnTo>
                    <a:pt x="1926" y="3506"/>
                  </a:lnTo>
                  <a:lnTo>
                    <a:pt x="1928" y="3512"/>
                  </a:lnTo>
                  <a:lnTo>
                    <a:pt x="1938" y="3522"/>
                  </a:lnTo>
                  <a:lnTo>
                    <a:pt x="1944" y="3526"/>
                  </a:lnTo>
                  <a:lnTo>
                    <a:pt x="1952" y="3528"/>
                  </a:lnTo>
                  <a:lnTo>
                    <a:pt x="1958" y="3532"/>
                  </a:lnTo>
                  <a:lnTo>
                    <a:pt x="1964" y="3538"/>
                  </a:lnTo>
                  <a:lnTo>
                    <a:pt x="1970" y="3548"/>
                  </a:lnTo>
                  <a:lnTo>
                    <a:pt x="1976" y="3560"/>
                  </a:lnTo>
                  <a:lnTo>
                    <a:pt x="1988" y="3586"/>
                  </a:lnTo>
                  <a:lnTo>
                    <a:pt x="1996" y="3610"/>
                  </a:lnTo>
                  <a:lnTo>
                    <a:pt x="1998" y="3620"/>
                  </a:lnTo>
                  <a:lnTo>
                    <a:pt x="1998" y="3626"/>
                  </a:lnTo>
                  <a:lnTo>
                    <a:pt x="1998" y="3632"/>
                  </a:lnTo>
                  <a:lnTo>
                    <a:pt x="1996" y="3636"/>
                  </a:lnTo>
                  <a:lnTo>
                    <a:pt x="1994" y="3638"/>
                  </a:lnTo>
                  <a:lnTo>
                    <a:pt x="1992" y="3642"/>
                  </a:lnTo>
                  <a:lnTo>
                    <a:pt x="1994" y="3648"/>
                  </a:lnTo>
                  <a:lnTo>
                    <a:pt x="1996" y="3656"/>
                  </a:lnTo>
                  <a:lnTo>
                    <a:pt x="2000" y="3664"/>
                  </a:lnTo>
                  <a:lnTo>
                    <a:pt x="2000" y="3668"/>
                  </a:lnTo>
                  <a:lnTo>
                    <a:pt x="1998" y="3670"/>
                  </a:lnTo>
                  <a:lnTo>
                    <a:pt x="1998" y="3672"/>
                  </a:lnTo>
                  <a:lnTo>
                    <a:pt x="1996" y="3674"/>
                  </a:lnTo>
                  <a:lnTo>
                    <a:pt x="1996" y="3676"/>
                  </a:lnTo>
                  <a:lnTo>
                    <a:pt x="2004" y="3690"/>
                  </a:lnTo>
                  <a:lnTo>
                    <a:pt x="2014" y="3706"/>
                  </a:lnTo>
                  <a:lnTo>
                    <a:pt x="2020" y="3716"/>
                  </a:lnTo>
                  <a:lnTo>
                    <a:pt x="2026" y="3722"/>
                  </a:lnTo>
                  <a:lnTo>
                    <a:pt x="2036" y="3726"/>
                  </a:lnTo>
                  <a:lnTo>
                    <a:pt x="2042" y="3730"/>
                  </a:lnTo>
                  <a:lnTo>
                    <a:pt x="2048" y="3734"/>
                  </a:lnTo>
                  <a:lnTo>
                    <a:pt x="2058" y="3744"/>
                  </a:lnTo>
                  <a:lnTo>
                    <a:pt x="2064" y="3758"/>
                  </a:lnTo>
                  <a:lnTo>
                    <a:pt x="2072" y="3770"/>
                  </a:lnTo>
                  <a:lnTo>
                    <a:pt x="2078" y="3778"/>
                  </a:lnTo>
                  <a:lnTo>
                    <a:pt x="2082" y="3782"/>
                  </a:lnTo>
                  <a:lnTo>
                    <a:pt x="2084" y="3786"/>
                  </a:lnTo>
                  <a:lnTo>
                    <a:pt x="2084" y="3796"/>
                  </a:lnTo>
                  <a:lnTo>
                    <a:pt x="2086" y="3804"/>
                  </a:lnTo>
                  <a:lnTo>
                    <a:pt x="2088" y="3810"/>
                  </a:lnTo>
                  <a:lnTo>
                    <a:pt x="2092" y="3816"/>
                  </a:lnTo>
                  <a:lnTo>
                    <a:pt x="2094" y="3824"/>
                  </a:lnTo>
                  <a:lnTo>
                    <a:pt x="2096" y="3830"/>
                  </a:lnTo>
                  <a:lnTo>
                    <a:pt x="2098" y="3836"/>
                  </a:lnTo>
                  <a:lnTo>
                    <a:pt x="2108" y="3848"/>
                  </a:lnTo>
                  <a:lnTo>
                    <a:pt x="2120" y="3862"/>
                  </a:lnTo>
                  <a:lnTo>
                    <a:pt x="2124" y="3870"/>
                  </a:lnTo>
                  <a:lnTo>
                    <a:pt x="2126" y="3878"/>
                  </a:lnTo>
                  <a:lnTo>
                    <a:pt x="2128" y="3884"/>
                  </a:lnTo>
                  <a:lnTo>
                    <a:pt x="2130" y="3886"/>
                  </a:lnTo>
                  <a:lnTo>
                    <a:pt x="2134" y="3886"/>
                  </a:lnTo>
                  <a:lnTo>
                    <a:pt x="2138" y="3888"/>
                  </a:lnTo>
                  <a:lnTo>
                    <a:pt x="2140" y="3892"/>
                  </a:lnTo>
                  <a:lnTo>
                    <a:pt x="2144" y="3902"/>
                  </a:lnTo>
                  <a:lnTo>
                    <a:pt x="2146" y="3918"/>
                  </a:lnTo>
                  <a:lnTo>
                    <a:pt x="2148" y="3936"/>
                  </a:lnTo>
                  <a:lnTo>
                    <a:pt x="2146" y="3944"/>
                  </a:lnTo>
                  <a:lnTo>
                    <a:pt x="2142" y="3952"/>
                  </a:lnTo>
                  <a:lnTo>
                    <a:pt x="2142" y="3954"/>
                  </a:lnTo>
                  <a:lnTo>
                    <a:pt x="2142" y="3958"/>
                  </a:lnTo>
                  <a:lnTo>
                    <a:pt x="2144" y="3964"/>
                  </a:lnTo>
                  <a:lnTo>
                    <a:pt x="2146" y="3968"/>
                  </a:lnTo>
                  <a:lnTo>
                    <a:pt x="2146" y="3972"/>
                  </a:lnTo>
                  <a:lnTo>
                    <a:pt x="2144" y="3974"/>
                  </a:lnTo>
                  <a:lnTo>
                    <a:pt x="2140" y="3976"/>
                  </a:lnTo>
                  <a:lnTo>
                    <a:pt x="2142" y="3980"/>
                  </a:lnTo>
                  <a:lnTo>
                    <a:pt x="2146" y="3982"/>
                  </a:lnTo>
                  <a:lnTo>
                    <a:pt x="2148" y="3986"/>
                  </a:lnTo>
                  <a:lnTo>
                    <a:pt x="2150" y="3988"/>
                  </a:lnTo>
                  <a:lnTo>
                    <a:pt x="2150" y="3996"/>
                  </a:lnTo>
                  <a:lnTo>
                    <a:pt x="2152" y="4000"/>
                  </a:lnTo>
                  <a:lnTo>
                    <a:pt x="2154" y="4008"/>
                  </a:lnTo>
                  <a:lnTo>
                    <a:pt x="2156" y="4020"/>
                  </a:lnTo>
                  <a:lnTo>
                    <a:pt x="2158" y="4034"/>
                  </a:lnTo>
                  <a:lnTo>
                    <a:pt x="2162" y="4044"/>
                  </a:lnTo>
                  <a:lnTo>
                    <a:pt x="2166" y="4054"/>
                  </a:lnTo>
                  <a:lnTo>
                    <a:pt x="2166" y="4058"/>
                  </a:lnTo>
                  <a:lnTo>
                    <a:pt x="2166" y="4064"/>
                  </a:lnTo>
                  <a:lnTo>
                    <a:pt x="2164" y="4072"/>
                  </a:lnTo>
                  <a:lnTo>
                    <a:pt x="2166" y="4076"/>
                  </a:lnTo>
                  <a:lnTo>
                    <a:pt x="2168" y="4082"/>
                  </a:lnTo>
                  <a:lnTo>
                    <a:pt x="2172" y="4092"/>
                  </a:lnTo>
                  <a:lnTo>
                    <a:pt x="2176" y="4100"/>
                  </a:lnTo>
                  <a:lnTo>
                    <a:pt x="2178" y="4102"/>
                  </a:lnTo>
                  <a:lnTo>
                    <a:pt x="2180" y="4102"/>
                  </a:lnTo>
                  <a:lnTo>
                    <a:pt x="2184" y="4100"/>
                  </a:lnTo>
                  <a:lnTo>
                    <a:pt x="2186" y="4102"/>
                  </a:lnTo>
                  <a:lnTo>
                    <a:pt x="2190" y="4104"/>
                  </a:lnTo>
                  <a:lnTo>
                    <a:pt x="2196" y="4108"/>
                  </a:lnTo>
                  <a:lnTo>
                    <a:pt x="2200" y="4106"/>
                  </a:lnTo>
                  <a:lnTo>
                    <a:pt x="2204" y="4104"/>
                  </a:lnTo>
                  <a:lnTo>
                    <a:pt x="2208" y="4104"/>
                  </a:lnTo>
                  <a:lnTo>
                    <a:pt x="2212" y="4104"/>
                  </a:lnTo>
                  <a:lnTo>
                    <a:pt x="2214" y="4102"/>
                  </a:lnTo>
                  <a:lnTo>
                    <a:pt x="2218" y="4098"/>
                  </a:lnTo>
                  <a:lnTo>
                    <a:pt x="2226" y="4098"/>
                  </a:lnTo>
                  <a:lnTo>
                    <a:pt x="2232" y="4100"/>
                  </a:lnTo>
                  <a:lnTo>
                    <a:pt x="2236" y="4098"/>
                  </a:lnTo>
                  <a:lnTo>
                    <a:pt x="2238" y="4096"/>
                  </a:lnTo>
                  <a:lnTo>
                    <a:pt x="2240" y="4094"/>
                  </a:lnTo>
                  <a:lnTo>
                    <a:pt x="2242" y="4090"/>
                  </a:lnTo>
                  <a:lnTo>
                    <a:pt x="2244" y="4088"/>
                  </a:lnTo>
                  <a:lnTo>
                    <a:pt x="2248" y="4088"/>
                  </a:lnTo>
                  <a:lnTo>
                    <a:pt x="2252" y="4086"/>
                  </a:lnTo>
                  <a:lnTo>
                    <a:pt x="2254" y="4084"/>
                  </a:lnTo>
                  <a:lnTo>
                    <a:pt x="2258" y="4074"/>
                  </a:lnTo>
                  <a:lnTo>
                    <a:pt x="2262" y="4070"/>
                  </a:lnTo>
                  <a:lnTo>
                    <a:pt x="2266" y="4068"/>
                  </a:lnTo>
                  <a:lnTo>
                    <a:pt x="2274" y="4066"/>
                  </a:lnTo>
                  <a:lnTo>
                    <a:pt x="2284" y="4066"/>
                  </a:lnTo>
                  <a:lnTo>
                    <a:pt x="2300" y="4066"/>
                  </a:lnTo>
                  <a:lnTo>
                    <a:pt x="2312" y="4062"/>
                  </a:lnTo>
                  <a:lnTo>
                    <a:pt x="2324" y="4058"/>
                  </a:lnTo>
                  <a:lnTo>
                    <a:pt x="2334" y="4050"/>
                  </a:lnTo>
                  <a:lnTo>
                    <a:pt x="2348" y="4038"/>
                  </a:lnTo>
                  <a:lnTo>
                    <a:pt x="2356" y="4036"/>
                  </a:lnTo>
                  <a:lnTo>
                    <a:pt x="2364" y="4036"/>
                  </a:lnTo>
                  <a:lnTo>
                    <a:pt x="2370" y="4038"/>
                  </a:lnTo>
                  <a:lnTo>
                    <a:pt x="2374" y="4038"/>
                  </a:lnTo>
                  <a:lnTo>
                    <a:pt x="2382" y="4034"/>
                  </a:lnTo>
                  <a:lnTo>
                    <a:pt x="2390" y="4028"/>
                  </a:lnTo>
                  <a:lnTo>
                    <a:pt x="2398" y="4020"/>
                  </a:lnTo>
                  <a:lnTo>
                    <a:pt x="2406" y="4010"/>
                  </a:lnTo>
                  <a:lnTo>
                    <a:pt x="2416" y="4002"/>
                  </a:lnTo>
                  <a:lnTo>
                    <a:pt x="2426" y="3998"/>
                  </a:lnTo>
                  <a:lnTo>
                    <a:pt x="2432" y="3996"/>
                  </a:lnTo>
                  <a:lnTo>
                    <a:pt x="2438" y="3998"/>
                  </a:lnTo>
                  <a:lnTo>
                    <a:pt x="2442" y="3998"/>
                  </a:lnTo>
                  <a:lnTo>
                    <a:pt x="2446" y="3996"/>
                  </a:lnTo>
                  <a:lnTo>
                    <a:pt x="2452" y="3992"/>
                  </a:lnTo>
                  <a:lnTo>
                    <a:pt x="2462" y="3986"/>
                  </a:lnTo>
                  <a:lnTo>
                    <a:pt x="2468" y="3982"/>
                  </a:lnTo>
                  <a:lnTo>
                    <a:pt x="2480" y="3978"/>
                  </a:lnTo>
                  <a:lnTo>
                    <a:pt x="2500" y="3972"/>
                  </a:lnTo>
                  <a:lnTo>
                    <a:pt x="2506" y="3968"/>
                  </a:lnTo>
                  <a:lnTo>
                    <a:pt x="2510" y="3966"/>
                  </a:lnTo>
                  <a:lnTo>
                    <a:pt x="2520" y="3962"/>
                  </a:lnTo>
                  <a:lnTo>
                    <a:pt x="2526" y="3960"/>
                  </a:lnTo>
                  <a:lnTo>
                    <a:pt x="2528" y="3954"/>
                  </a:lnTo>
                  <a:lnTo>
                    <a:pt x="2528" y="3942"/>
                  </a:lnTo>
                  <a:lnTo>
                    <a:pt x="2528" y="3934"/>
                  </a:lnTo>
                  <a:lnTo>
                    <a:pt x="2532" y="3926"/>
                  </a:lnTo>
                  <a:lnTo>
                    <a:pt x="2542" y="3916"/>
                  </a:lnTo>
                  <a:lnTo>
                    <a:pt x="2562" y="3906"/>
                  </a:lnTo>
                  <a:lnTo>
                    <a:pt x="2566" y="3902"/>
                  </a:lnTo>
                  <a:lnTo>
                    <a:pt x="2572" y="3902"/>
                  </a:lnTo>
                  <a:lnTo>
                    <a:pt x="2578" y="3902"/>
                  </a:lnTo>
                  <a:lnTo>
                    <a:pt x="2584" y="3902"/>
                  </a:lnTo>
                  <a:lnTo>
                    <a:pt x="2586" y="3900"/>
                  </a:lnTo>
                  <a:lnTo>
                    <a:pt x="2594" y="3894"/>
                  </a:lnTo>
                  <a:lnTo>
                    <a:pt x="2600" y="3892"/>
                  </a:lnTo>
                  <a:lnTo>
                    <a:pt x="2606" y="3890"/>
                  </a:lnTo>
                  <a:lnTo>
                    <a:pt x="2614" y="3888"/>
                  </a:lnTo>
                  <a:lnTo>
                    <a:pt x="2624" y="3890"/>
                  </a:lnTo>
                  <a:lnTo>
                    <a:pt x="2630" y="3890"/>
                  </a:lnTo>
                  <a:lnTo>
                    <a:pt x="2634" y="3890"/>
                  </a:lnTo>
                  <a:lnTo>
                    <a:pt x="2638" y="3888"/>
                  </a:lnTo>
                  <a:lnTo>
                    <a:pt x="2642" y="3886"/>
                  </a:lnTo>
                  <a:lnTo>
                    <a:pt x="2646" y="3878"/>
                  </a:lnTo>
                  <a:lnTo>
                    <a:pt x="2650" y="3868"/>
                  </a:lnTo>
                  <a:lnTo>
                    <a:pt x="2654" y="3858"/>
                  </a:lnTo>
                  <a:lnTo>
                    <a:pt x="2658" y="3850"/>
                  </a:lnTo>
                  <a:lnTo>
                    <a:pt x="2664" y="3844"/>
                  </a:lnTo>
                  <a:lnTo>
                    <a:pt x="2670" y="3842"/>
                  </a:lnTo>
                  <a:lnTo>
                    <a:pt x="2676" y="3842"/>
                  </a:lnTo>
                  <a:lnTo>
                    <a:pt x="2690" y="3840"/>
                  </a:lnTo>
                  <a:lnTo>
                    <a:pt x="2698" y="3836"/>
                  </a:lnTo>
                  <a:lnTo>
                    <a:pt x="2702" y="3830"/>
                  </a:lnTo>
                  <a:lnTo>
                    <a:pt x="2704" y="3822"/>
                  </a:lnTo>
                  <a:lnTo>
                    <a:pt x="2708" y="3814"/>
                  </a:lnTo>
                  <a:lnTo>
                    <a:pt x="2712" y="3806"/>
                  </a:lnTo>
                  <a:lnTo>
                    <a:pt x="2720" y="3798"/>
                  </a:lnTo>
                  <a:lnTo>
                    <a:pt x="2734" y="3794"/>
                  </a:lnTo>
                  <a:lnTo>
                    <a:pt x="2746" y="3790"/>
                  </a:lnTo>
                  <a:lnTo>
                    <a:pt x="2752" y="3786"/>
                  </a:lnTo>
                  <a:lnTo>
                    <a:pt x="2754" y="3782"/>
                  </a:lnTo>
                  <a:lnTo>
                    <a:pt x="2752" y="3776"/>
                  </a:lnTo>
                  <a:lnTo>
                    <a:pt x="2750" y="3768"/>
                  </a:lnTo>
                  <a:lnTo>
                    <a:pt x="2750" y="3758"/>
                  </a:lnTo>
                  <a:lnTo>
                    <a:pt x="2750" y="3746"/>
                  </a:lnTo>
                  <a:lnTo>
                    <a:pt x="2754" y="3730"/>
                  </a:lnTo>
                  <a:lnTo>
                    <a:pt x="2760" y="3716"/>
                  </a:lnTo>
                  <a:lnTo>
                    <a:pt x="2764" y="3710"/>
                  </a:lnTo>
                  <a:lnTo>
                    <a:pt x="2768" y="3712"/>
                  </a:lnTo>
                  <a:lnTo>
                    <a:pt x="2770" y="3714"/>
                  </a:lnTo>
                  <a:lnTo>
                    <a:pt x="2772" y="3718"/>
                  </a:lnTo>
                  <a:lnTo>
                    <a:pt x="2776" y="3720"/>
                  </a:lnTo>
                  <a:lnTo>
                    <a:pt x="2780" y="3716"/>
                  </a:lnTo>
                  <a:lnTo>
                    <a:pt x="2786" y="3704"/>
                  </a:lnTo>
                  <a:lnTo>
                    <a:pt x="2792" y="3692"/>
                  </a:lnTo>
                  <a:lnTo>
                    <a:pt x="2796" y="3684"/>
                  </a:lnTo>
                  <a:lnTo>
                    <a:pt x="2806" y="3674"/>
                  </a:lnTo>
                  <a:lnTo>
                    <a:pt x="2816" y="3664"/>
                  </a:lnTo>
                  <a:lnTo>
                    <a:pt x="2820" y="3656"/>
                  </a:lnTo>
                  <a:lnTo>
                    <a:pt x="2824" y="3644"/>
                  </a:lnTo>
                  <a:lnTo>
                    <a:pt x="2830" y="3628"/>
                  </a:lnTo>
                  <a:lnTo>
                    <a:pt x="2834" y="3618"/>
                  </a:lnTo>
                  <a:lnTo>
                    <a:pt x="2834" y="3616"/>
                  </a:lnTo>
                  <a:lnTo>
                    <a:pt x="2832" y="3614"/>
                  </a:lnTo>
                  <a:lnTo>
                    <a:pt x="2822" y="3608"/>
                  </a:lnTo>
                  <a:close/>
                  <a:moveTo>
                    <a:pt x="2468" y="3400"/>
                  </a:moveTo>
                  <a:lnTo>
                    <a:pt x="2468" y="3400"/>
                  </a:lnTo>
                  <a:lnTo>
                    <a:pt x="2470" y="3400"/>
                  </a:lnTo>
                  <a:lnTo>
                    <a:pt x="2468" y="3400"/>
                  </a:lnTo>
                  <a:close/>
                  <a:moveTo>
                    <a:pt x="1836" y="3098"/>
                  </a:moveTo>
                  <a:lnTo>
                    <a:pt x="1836" y="3098"/>
                  </a:lnTo>
                  <a:lnTo>
                    <a:pt x="1838" y="3094"/>
                  </a:lnTo>
                  <a:lnTo>
                    <a:pt x="1842" y="3094"/>
                  </a:lnTo>
                  <a:lnTo>
                    <a:pt x="1838" y="3094"/>
                  </a:lnTo>
                  <a:lnTo>
                    <a:pt x="1836" y="3098"/>
                  </a:lnTo>
                  <a:close/>
                  <a:moveTo>
                    <a:pt x="1856" y="3100"/>
                  </a:moveTo>
                  <a:lnTo>
                    <a:pt x="1856" y="3100"/>
                  </a:lnTo>
                  <a:lnTo>
                    <a:pt x="1856" y="3102"/>
                  </a:lnTo>
                  <a:lnTo>
                    <a:pt x="1856" y="3100"/>
                  </a:lnTo>
                  <a:lnTo>
                    <a:pt x="1856" y="3090"/>
                  </a:lnTo>
                  <a:lnTo>
                    <a:pt x="1858" y="3084"/>
                  </a:lnTo>
                  <a:lnTo>
                    <a:pt x="1860" y="3082"/>
                  </a:lnTo>
                  <a:lnTo>
                    <a:pt x="1858" y="3084"/>
                  </a:lnTo>
                  <a:lnTo>
                    <a:pt x="1856" y="3090"/>
                  </a:lnTo>
                  <a:lnTo>
                    <a:pt x="1856" y="310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4" name="Freeform 6156">
              <a:extLst>
                <a:ext uri="{FF2B5EF4-FFF2-40B4-BE49-F238E27FC236}">
                  <a16:creationId xmlns:a16="http://schemas.microsoft.com/office/drawing/2014/main" id="{B66CE326-B6DD-404A-93C9-0DADDBACD237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5024074" y="2480087"/>
              <a:ext cx="2615330" cy="2204852"/>
            </a:xfrm>
            <a:custGeom>
              <a:avLst/>
              <a:gdLst>
                <a:gd name="T0" fmla="*/ 334096 w 5856"/>
                <a:gd name="T1" fmla="*/ 341505 h 5472"/>
                <a:gd name="T2" fmla="*/ 374746 w 5856"/>
                <a:gd name="T3" fmla="*/ 60938 h 5472"/>
                <a:gd name="T4" fmla="*/ 2452998 w 5856"/>
                <a:gd name="T5" fmla="*/ 316114 h 5472"/>
                <a:gd name="T6" fmla="*/ 3177084 w 5856"/>
                <a:gd name="T7" fmla="*/ 608108 h 5472"/>
                <a:gd name="T8" fmla="*/ 2139228 w 5856"/>
                <a:gd name="T9" fmla="*/ 481154 h 5472"/>
                <a:gd name="T10" fmla="*/ 256606 w 5856"/>
                <a:gd name="T11" fmla="*/ 559865 h 5472"/>
                <a:gd name="T12" fmla="*/ 48272 w 5856"/>
                <a:gd name="T13" fmla="*/ 76172 h 5472"/>
                <a:gd name="T14" fmla="*/ 461128 w 5856"/>
                <a:gd name="T15" fmla="*/ 11426 h 5472"/>
                <a:gd name="T16" fmla="*/ 438262 w 5856"/>
                <a:gd name="T17" fmla="*/ 78711 h 5472"/>
                <a:gd name="T18" fmla="*/ 1814025 w 5856"/>
                <a:gd name="T19" fmla="*/ 3336340 h 5472"/>
                <a:gd name="T20" fmla="*/ 2066820 w 5856"/>
                <a:gd name="T21" fmla="*/ 2794248 h 5472"/>
                <a:gd name="T22" fmla="*/ 2090956 w 5856"/>
                <a:gd name="T23" fmla="*/ 2845030 h 5472"/>
                <a:gd name="T24" fmla="*/ 2021088 w 5856"/>
                <a:gd name="T25" fmla="*/ 2668564 h 5472"/>
                <a:gd name="T26" fmla="*/ 2068090 w 5856"/>
                <a:gd name="T27" fmla="*/ 2759971 h 5472"/>
                <a:gd name="T28" fmla="*/ 2012196 w 5856"/>
                <a:gd name="T29" fmla="*/ 2762510 h 5472"/>
                <a:gd name="T30" fmla="*/ 2125255 w 5856"/>
                <a:gd name="T31" fmla="*/ 3088781 h 5472"/>
                <a:gd name="T32" fmla="*/ 2097307 w 5856"/>
                <a:gd name="T33" fmla="*/ 1976667 h 5472"/>
                <a:gd name="T34" fmla="*/ 2010925 w 5856"/>
                <a:gd name="T35" fmla="*/ 3324914 h 5472"/>
                <a:gd name="T36" fmla="*/ 2102389 w 5856"/>
                <a:gd name="T37" fmla="*/ 1863679 h 5472"/>
                <a:gd name="T38" fmla="*/ 1256352 w 5856"/>
                <a:gd name="T39" fmla="*/ 2824717 h 5472"/>
                <a:gd name="T40" fmla="*/ 1637450 w 5856"/>
                <a:gd name="T41" fmla="*/ 2959288 h 5472"/>
                <a:gd name="T42" fmla="*/ 1636179 w 5856"/>
                <a:gd name="T43" fmla="*/ 3313488 h 5472"/>
                <a:gd name="T44" fmla="*/ 1580285 w 5856"/>
                <a:gd name="T45" fmla="*/ 3222082 h 5472"/>
                <a:gd name="T46" fmla="*/ 1342734 w 5856"/>
                <a:gd name="T47" fmla="*/ 2956749 h 5472"/>
                <a:gd name="T48" fmla="*/ 5081 w 5856"/>
                <a:gd name="T49" fmla="*/ 3446790 h 5472"/>
                <a:gd name="T50" fmla="*/ 2179879 w 5856"/>
                <a:gd name="T51" fmla="*/ 2182332 h 5472"/>
                <a:gd name="T52" fmla="*/ 2291667 w 5856"/>
                <a:gd name="T53" fmla="*/ 2007136 h 5472"/>
                <a:gd name="T54" fmla="*/ 1948679 w 5856"/>
                <a:gd name="T55" fmla="*/ 3044347 h 5472"/>
                <a:gd name="T56" fmla="*/ 1984248 w 5856"/>
                <a:gd name="T57" fmla="*/ 3100206 h 5472"/>
                <a:gd name="T58" fmla="*/ 1942328 w 5856"/>
                <a:gd name="T59" fmla="*/ 2744736 h 5472"/>
                <a:gd name="T60" fmla="*/ 2132876 w 5856"/>
                <a:gd name="T61" fmla="*/ 3114171 h 5472"/>
                <a:gd name="T62" fmla="*/ 2483486 w 5856"/>
                <a:gd name="T63" fmla="*/ 1744342 h 5472"/>
                <a:gd name="T64" fmla="*/ 2336129 w 5856"/>
                <a:gd name="T65" fmla="*/ 1971589 h 5472"/>
                <a:gd name="T66" fmla="*/ 2107470 w 5856"/>
                <a:gd name="T67" fmla="*/ 1984284 h 5472"/>
                <a:gd name="T68" fmla="*/ 2536840 w 5856"/>
                <a:gd name="T69" fmla="*/ 1350786 h 5472"/>
                <a:gd name="T70" fmla="*/ 2451728 w 5856"/>
                <a:gd name="T71" fmla="*/ 1727838 h 5472"/>
                <a:gd name="T72" fmla="*/ 2022358 w 5856"/>
                <a:gd name="T73" fmla="*/ 2660947 h 5472"/>
                <a:gd name="T74" fmla="*/ 1906759 w 5856"/>
                <a:gd name="T75" fmla="*/ 2780283 h 5472"/>
                <a:gd name="T76" fmla="*/ 2087145 w 5856"/>
                <a:gd name="T77" fmla="*/ 2730772 h 5472"/>
                <a:gd name="T78" fmla="*/ 1878811 w 5856"/>
                <a:gd name="T79" fmla="*/ 2870420 h 5472"/>
                <a:gd name="T80" fmla="*/ 1669208 w 5856"/>
                <a:gd name="T81" fmla="*/ 3111632 h 5472"/>
                <a:gd name="T82" fmla="*/ 2046494 w 5856"/>
                <a:gd name="T83" fmla="*/ 2306747 h 5472"/>
                <a:gd name="T84" fmla="*/ 3226627 w 5856"/>
                <a:gd name="T85" fmla="*/ 603030 h 5472"/>
                <a:gd name="T86" fmla="*/ 2160824 w 5856"/>
                <a:gd name="T87" fmla="*/ 505275 h 5472"/>
                <a:gd name="T88" fmla="*/ 1448171 w 5856"/>
                <a:gd name="T89" fmla="*/ 275489 h 5472"/>
                <a:gd name="T90" fmla="*/ 899390 w 5856"/>
                <a:gd name="T91" fmla="*/ 483693 h 5472"/>
                <a:gd name="T92" fmla="*/ 736789 w 5856"/>
                <a:gd name="T93" fmla="*/ 700784 h 5472"/>
                <a:gd name="T94" fmla="*/ 137195 w 5856"/>
                <a:gd name="T95" fmla="*/ 684280 h 5472"/>
                <a:gd name="T96" fmla="*/ 415396 w 5856"/>
                <a:gd name="T97" fmla="*/ 2273739 h 5472"/>
                <a:gd name="T98" fmla="*/ 814279 w 5856"/>
                <a:gd name="T99" fmla="*/ 2748545 h 5472"/>
                <a:gd name="T100" fmla="*/ 1185214 w 5856"/>
                <a:gd name="T101" fmla="*/ 2338485 h 5472"/>
                <a:gd name="T102" fmla="*/ 1393547 w 5856"/>
                <a:gd name="T103" fmla="*/ 2695225 h 5472"/>
                <a:gd name="T104" fmla="*/ 1451982 w 5856"/>
                <a:gd name="T105" fmla="*/ 2856456 h 5472"/>
                <a:gd name="T106" fmla="*/ 1629828 w 5856"/>
                <a:gd name="T107" fmla="*/ 2740928 h 5472"/>
                <a:gd name="T108" fmla="*/ 1744157 w 5856"/>
                <a:gd name="T109" fmla="*/ 2391805 h 5472"/>
                <a:gd name="T110" fmla="*/ 1933435 w 5856"/>
                <a:gd name="T111" fmla="*/ 2254696 h 5472"/>
                <a:gd name="T112" fmla="*/ 1986789 w 5856"/>
                <a:gd name="T113" fmla="*/ 2059187 h 5472"/>
                <a:gd name="T114" fmla="*/ 1905488 w 5856"/>
                <a:gd name="T115" fmla="*/ 1812897 h 5472"/>
                <a:gd name="T116" fmla="*/ 2103659 w 5856"/>
                <a:gd name="T117" fmla="*/ 1858600 h 5472"/>
                <a:gd name="T118" fmla="*/ 2129066 w 5856"/>
                <a:gd name="T119" fmla="*/ 1809089 h 5472"/>
                <a:gd name="T120" fmla="*/ 2413618 w 5856"/>
                <a:gd name="T121" fmla="*/ 1277153 h 5472"/>
                <a:gd name="T122" fmla="*/ 3003049 w 5856"/>
                <a:gd name="T123" fmla="*/ 983890 h 5472"/>
                <a:gd name="T124" fmla="*/ 3079269 w 5856"/>
                <a:gd name="T125" fmla="*/ 1027054 h 5472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5856"/>
                <a:gd name="T190" fmla="*/ 0 h 5472"/>
                <a:gd name="T191" fmla="*/ 5856 w 5856"/>
                <a:gd name="T192" fmla="*/ 5472 h 5472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5856" h="5472">
                  <a:moveTo>
                    <a:pt x="1912" y="64"/>
                  </a:moveTo>
                  <a:lnTo>
                    <a:pt x="1912" y="64"/>
                  </a:lnTo>
                  <a:lnTo>
                    <a:pt x="1910" y="60"/>
                  </a:lnTo>
                  <a:lnTo>
                    <a:pt x="1902" y="58"/>
                  </a:lnTo>
                  <a:lnTo>
                    <a:pt x="1882" y="54"/>
                  </a:lnTo>
                  <a:lnTo>
                    <a:pt x="1862" y="54"/>
                  </a:lnTo>
                  <a:lnTo>
                    <a:pt x="1854" y="56"/>
                  </a:lnTo>
                  <a:lnTo>
                    <a:pt x="1850" y="60"/>
                  </a:lnTo>
                  <a:lnTo>
                    <a:pt x="1850" y="62"/>
                  </a:lnTo>
                  <a:lnTo>
                    <a:pt x="1852" y="64"/>
                  </a:lnTo>
                  <a:lnTo>
                    <a:pt x="1858" y="68"/>
                  </a:lnTo>
                  <a:lnTo>
                    <a:pt x="1868" y="70"/>
                  </a:lnTo>
                  <a:lnTo>
                    <a:pt x="1880" y="70"/>
                  </a:lnTo>
                  <a:lnTo>
                    <a:pt x="1902" y="68"/>
                  </a:lnTo>
                  <a:lnTo>
                    <a:pt x="1908" y="66"/>
                  </a:lnTo>
                  <a:lnTo>
                    <a:pt x="1912" y="64"/>
                  </a:lnTo>
                  <a:close/>
                  <a:moveTo>
                    <a:pt x="1078" y="706"/>
                  </a:moveTo>
                  <a:lnTo>
                    <a:pt x="1078" y="706"/>
                  </a:lnTo>
                  <a:lnTo>
                    <a:pt x="1094" y="702"/>
                  </a:lnTo>
                  <a:lnTo>
                    <a:pt x="1100" y="700"/>
                  </a:lnTo>
                  <a:lnTo>
                    <a:pt x="1104" y="698"/>
                  </a:lnTo>
                  <a:lnTo>
                    <a:pt x="1104" y="694"/>
                  </a:lnTo>
                  <a:lnTo>
                    <a:pt x="1104" y="690"/>
                  </a:lnTo>
                  <a:lnTo>
                    <a:pt x="1102" y="684"/>
                  </a:lnTo>
                  <a:lnTo>
                    <a:pt x="1094" y="678"/>
                  </a:lnTo>
                  <a:lnTo>
                    <a:pt x="1082" y="674"/>
                  </a:lnTo>
                  <a:lnTo>
                    <a:pt x="1070" y="674"/>
                  </a:lnTo>
                  <a:lnTo>
                    <a:pt x="1058" y="676"/>
                  </a:lnTo>
                  <a:lnTo>
                    <a:pt x="1048" y="682"/>
                  </a:lnTo>
                  <a:lnTo>
                    <a:pt x="1040" y="688"/>
                  </a:lnTo>
                  <a:lnTo>
                    <a:pt x="1036" y="694"/>
                  </a:lnTo>
                  <a:lnTo>
                    <a:pt x="1036" y="700"/>
                  </a:lnTo>
                  <a:lnTo>
                    <a:pt x="1040" y="704"/>
                  </a:lnTo>
                  <a:lnTo>
                    <a:pt x="1048" y="708"/>
                  </a:lnTo>
                  <a:lnTo>
                    <a:pt x="1060" y="708"/>
                  </a:lnTo>
                  <a:lnTo>
                    <a:pt x="1078" y="706"/>
                  </a:lnTo>
                  <a:close/>
                  <a:moveTo>
                    <a:pt x="1928" y="154"/>
                  </a:moveTo>
                  <a:lnTo>
                    <a:pt x="1928" y="154"/>
                  </a:lnTo>
                  <a:lnTo>
                    <a:pt x="1914" y="152"/>
                  </a:lnTo>
                  <a:lnTo>
                    <a:pt x="1902" y="154"/>
                  </a:lnTo>
                  <a:lnTo>
                    <a:pt x="1894" y="156"/>
                  </a:lnTo>
                  <a:lnTo>
                    <a:pt x="1890" y="160"/>
                  </a:lnTo>
                  <a:lnTo>
                    <a:pt x="1890" y="164"/>
                  </a:lnTo>
                  <a:lnTo>
                    <a:pt x="1894" y="168"/>
                  </a:lnTo>
                  <a:lnTo>
                    <a:pt x="1900" y="172"/>
                  </a:lnTo>
                  <a:lnTo>
                    <a:pt x="1910" y="176"/>
                  </a:lnTo>
                  <a:lnTo>
                    <a:pt x="1920" y="178"/>
                  </a:lnTo>
                  <a:lnTo>
                    <a:pt x="1926" y="180"/>
                  </a:lnTo>
                  <a:lnTo>
                    <a:pt x="1932" y="186"/>
                  </a:lnTo>
                  <a:lnTo>
                    <a:pt x="1934" y="188"/>
                  </a:lnTo>
                  <a:lnTo>
                    <a:pt x="1938" y="190"/>
                  </a:lnTo>
                  <a:lnTo>
                    <a:pt x="1956" y="188"/>
                  </a:lnTo>
                  <a:lnTo>
                    <a:pt x="1982" y="180"/>
                  </a:lnTo>
                  <a:lnTo>
                    <a:pt x="1996" y="174"/>
                  </a:lnTo>
                  <a:lnTo>
                    <a:pt x="2000" y="172"/>
                  </a:lnTo>
                  <a:lnTo>
                    <a:pt x="2000" y="170"/>
                  </a:lnTo>
                  <a:lnTo>
                    <a:pt x="1998" y="168"/>
                  </a:lnTo>
                  <a:lnTo>
                    <a:pt x="1994" y="166"/>
                  </a:lnTo>
                  <a:lnTo>
                    <a:pt x="1982" y="162"/>
                  </a:lnTo>
                  <a:lnTo>
                    <a:pt x="1964" y="158"/>
                  </a:lnTo>
                  <a:lnTo>
                    <a:pt x="1928" y="154"/>
                  </a:lnTo>
                  <a:close/>
                  <a:moveTo>
                    <a:pt x="526" y="138"/>
                  </a:moveTo>
                  <a:lnTo>
                    <a:pt x="526" y="138"/>
                  </a:lnTo>
                  <a:lnTo>
                    <a:pt x="532" y="144"/>
                  </a:lnTo>
                  <a:lnTo>
                    <a:pt x="538" y="148"/>
                  </a:lnTo>
                  <a:lnTo>
                    <a:pt x="552" y="152"/>
                  </a:lnTo>
                  <a:lnTo>
                    <a:pt x="558" y="154"/>
                  </a:lnTo>
                  <a:lnTo>
                    <a:pt x="562" y="152"/>
                  </a:lnTo>
                  <a:lnTo>
                    <a:pt x="564" y="150"/>
                  </a:lnTo>
                  <a:lnTo>
                    <a:pt x="564" y="146"/>
                  </a:lnTo>
                  <a:lnTo>
                    <a:pt x="564" y="142"/>
                  </a:lnTo>
                  <a:lnTo>
                    <a:pt x="568" y="140"/>
                  </a:lnTo>
                  <a:lnTo>
                    <a:pt x="572" y="136"/>
                  </a:lnTo>
                  <a:lnTo>
                    <a:pt x="582" y="136"/>
                  </a:lnTo>
                  <a:lnTo>
                    <a:pt x="600" y="134"/>
                  </a:lnTo>
                  <a:lnTo>
                    <a:pt x="604" y="132"/>
                  </a:lnTo>
                  <a:lnTo>
                    <a:pt x="606" y="130"/>
                  </a:lnTo>
                  <a:lnTo>
                    <a:pt x="604" y="128"/>
                  </a:lnTo>
                  <a:lnTo>
                    <a:pt x="598" y="126"/>
                  </a:lnTo>
                  <a:lnTo>
                    <a:pt x="580" y="122"/>
                  </a:lnTo>
                  <a:lnTo>
                    <a:pt x="556" y="120"/>
                  </a:lnTo>
                  <a:lnTo>
                    <a:pt x="534" y="122"/>
                  </a:lnTo>
                  <a:lnTo>
                    <a:pt x="526" y="124"/>
                  </a:lnTo>
                  <a:lnTo>
                    <a:pt x="522" y="126"/>
                  </a:lnTo>
                  <a:lnTo>
                    <a:pt x="522" y="132"/>
                  </a:lnTo>
                  <a:lnTo>
                    <a:pt x="526" y="138"/>
                  </a:lnTo>
                  <a:close/>
                  <a:moveTo>
                    <a:pt x="658" y="948"/>
                  </a:moveTo>
                  <a:lnTo>
                    <a:pt x="658" y="948"/>
                  </a:lnTo>
                  <a:lnTo>
                    <a:pt x="658" y="944"/>
                  </a:lnTo>
                  <a:lnTo>
                    <a:pt x="656" y="942"/>
                  </a:lnTo>
                  <a:lnTo>
                    <a:pt x="644" y="936"/>
                  </a:lnTo>
                  <a:lnTo>
                    <a:pt x="628" y="926"/>
                  </a:lnTo>
                  <a:lnTo>
                    <a:pt x="620" y="920"/>
                  </a:lnTo>
                  <a:lnTo>
                    <a:pt x="612" y="912"/>
                  </a:lnTo>
                  <a:lnTo>
                    <a:pt x="602" y="904"/>
                  </a:lnTo>
                  <a:lnTo>
                    <a:pt x="594" y="904"/>
                  </a:lnTo>
                  <a:lnTo>
                    <a:pt x="588" y="906"/>
                  </a:lnTo>
                  <a:lnTo>
                    <a:pt x="582" y="908"/>
                  </a:lnTo>
                  <a:lnTo>
                    <a:pt x="580" y="910"/>
                  </a:lnTo>
                  <a:lnTo>
                    <a:pt x="580" y="912"/>
                  </a:lnTo>
                  <a:lnTo>
                    <a:pt x="582" y="916"/>
                  </a:lnTo>
                  <a:lnTo>
                    <a:pt x="584" y="920"/>
                  </a:lnTo>
                  <a:lnTo>
                    <a:pt x="582" y="920"/>
                  </a:lnTo>
                  <a:lnTo>
                    <a:pt x="578" y="918"/>
                  </a:lnTo>
                  <a:lnTo>
                    <a:pt x="576" y="918"/>
                  </a:lnTo>
                  <a:lnTo>
                    <a:pt x="574" y="920"/>
                  </a:lnTo>
                  <a:lnTo>
                    <a:pt x="576" y="924"/>
                  </a:lnTo>
                  <a:lnTo>
                    <a:pt x="580" y="930"/>
                  </a:lnTo>
                  <a:lnTo>
                    <a:pt x="588" y="940"/>
                  </a:lnTo>
                  <a:lnTo>
                    <a:pt x="594" y="944"/>
                  </a:lnTo>
                  <a:lnTo>
                    <a:pt x="596" y="946"/>
                  </a:lnTo>
                  <a:lnTo>
                    <a:pt x="600" y="944"/>
                  </a:lnTo>
                  <a:lnTo>
                    <a:pt x="600" y="942"/>
                  </a:lnTo>
                  <a:lnTo>
                    <a:pt x="604" y="942"/>
                  </a:lnTo>
                  <a:lnTo>
                    <a:pt x="610" y="942"/>
                  </a:lnTo>
                  <a:lnTo>
                    <a:pt x="618" y="946"/>
                  </a:lnTo>
                  <a:lnTo>
                    <a:pt x="620" y="948"/>
                  </a:lnTo>
                  <a:lnTo>
                    <a:pt x="620" y="952"/>
                  </a:lnTo>
                  <a:lnTo>
                    <a:pt x="620" y="956"/>
                  </a:lnTo>
                  <a:lnTo>
                    <a:pt x="624" y="958"/>
                  </a:lnTo>
                  <a:lnTo>
                    <a:pt x="638" y="956"/>
                  </a:lnTo>
                  <a:lnTo>
                    <a:pt x="652" y="954"/>
                  </a:lnTo>
                  <a:lnTo>
                    <a:pt x="656" y="950"/>
                  </a:lnTo>
                  <a:lnTo>
                    <a:pt x="658" y="948"/>
                  </a:lnTo>
                  <a:close/>
                  <a:moveTo>
                    <a:pt x="768" y="460"/>
                  </a:moveTo>
                  <a:lnTo>
                    <a:pt x="768" y="460"/>
                  </a:lnTo>
                  <a:lnTo>
                    <a:pt x="752" y="466"/>
                  </a:lnTo>
                  <a:lnTo>
                    <a:pt x="742" y="468"/>
                  </a:lnTo>
                  <a:lnTo>
                    <a:pt x="736" y="468"/>
                  </a:lnTo>
                  <a:lnTo>
                    <a:pt x="732" y="466"/>
                  </a:lnTo>
                  <a:lnTo>
                    <a:pt x="728" y="462"/>
                  </a:lnTo>
                  <a:lnTo>
                    <a:pt x="722" y="460"/>
                  </a:lnTo>
                  <a:lnTo>
                    <a:pt x="712" y="458"/>
                  </a:lnTo>
                  <a:lnTo>
                    <a:pt x="698" y="460"/>
                  </a:lnTo>
                  <a:lnTo>
                    <a:pt x="682" y="462"/>
                  </a:lnTo>
                  <a:lnTo>
                    <a:pt x="674" y="464"/>
                  </a:lnTo>
                  <a:lnTo>
                    <a:pt x="672" y="468"/>
                  </a:lnTo>
                  <a:lnTo>
                    <a:pt x="672" y="470"/>
                  </a:lnTo>
                  <a:lnTo>
                    <a:pt x="674" y="474"/>
                  </a:lnTo>
                  <a:lnTo>
                    <a:pt x="674" y="476"/>
                  </a:lnTo>
                  <a:lnTo>
                    <a:pt x="672" y="478"/>
                  </a:lnTo>
                  <a:lnTo>
                    <a:pt x="664" y="476"/>
                  </a:lnTo>
                  <a:lnTo>
                    <a:pt x="652" y="478"/>
                  </a:lnTo>
                  <a:lnTo>
                    <a:pt x="636" y="480"/>
                  </a:lnTo>
                  <a:lnTo>
                    <a:pt x="620" y="484"/>
                  </a:lnTo>
                  <a:lnTo>
                    <a:pt x="602" y="492"/>
                  </a:lnTo>
                  <a:lnTo>
                    <a:pt x="584" y="500"/>
                  </a:lnTo>
                  <a:lnTo>
                    <a:pt x="568" y="508"/>
                  </a:lnTo>
                  <a:lnTo>
                    <a:pt x="554" y="518"/>
                  </a:lnTo>
                  <a:lnTo>
                    <a:pt x="544" y="528"/>
                  </a:lnTo>
                  <a:lnTo>
                    <a:pt x="538" y="536"/>
                  </a:lnTo>
                  <a:lnTo>
                    <a:pt x="532" y="538"/>
                  </a:lnTo>
                  <a:lnTo>
                    <a:pt x="528" y="538"/>
                  </a:lnTo>
                  <a:lnTo>
                    <a:pt x="526" y="538"/>
                  </a:lnTo>
                  <a:lnTo>
                    <a:pt x="524" y="536"/>
                  </a:lnTo>
                  <a:lnTo>
                    <a:pt x="520" y="534"/>
                  </a:lnTo>
                  <a:lnTo>
                    <a:pt x="514" y="536"/>
                  </a:lnTo>
                  <a:lnTo>
                    <a:pt x="506" y="542"/>
                  </a:lnTo>
                  <a:lnTo>
                    <a:pt x="498" y="548"/>
                  </a:lnTo>
                  <a:lnTo>
                    <a:pt x="494" y="550"/>
                  </a:lnTo>
                  <a:lnTo>
                    <a:pt x="490" y="548"/>
                  </a:lnTo>
                  <a:lnTo>
                    <a:pt x="488" y="546"/>
                  </a:lnTo>
                  <a:lnTo>
                    <a:pt x="488" y="544"/>
                  </a:lnTo>
                  <a:lnTo>
                    <a:pt x="484" y="542"/>
                  </a:lnTo>
                  <a:lnTo>
                    <a:pt x="480" y="542"/>
                  </a:lnTo>
                  <a:lnTo>
                    <a:pt x="474" y="546"/>
                  </a:lnTo>
                  <a:lnTo>
                    <a:pt x="470" y="550"/>
                  </a:lnTo>
                  <a:lnTo>
                    <a:pt x="468" y="554"/>
                  </a:lnTo>
                  <a:lnTo>
                    <a:pt x="470" y="558"/>
                  </a:lnTo>
                  <a:lnTo>
                    <a:pt x="474" y="560"/>
                  </a:lnTo>
                  <a:lnTo>
                    <a:pt x="480" y="564"/>
                  </a:lnTo>
                  <a:lnTo>
                    <a:pt x="480" y="568"/>
                  </a:lnTo>
                  <a:lnTo>
                    <a:pt x="476" y="570"/>
                  </a:lnTo>
                  <a:lnTo>
                    <a:pt x="472" y="572"/>
                  </a:lnTo>
                  <a:lnTo>
                    <a:pt x="470" y="576"/>
                  </a:lnTo>
                  <a:lnTo>
                    <a:pt x="472" y="578"/>
                  </a:lnTo>
                  <a:lnTo>
                    <a:pt x="476" y="580"/>
                  </a:lnTo>
                  <a:lnTo>
                    <a:pt x="478" y="582"/>
                  </a:lnTo>
                  <a:lnTo>
                    <a:pt x="478" y="584"/>
                  </a:lnTo>
                  <a:lnTo>
                    <a:pt x="476" y="586"/>
                  </a:lnTo>
                  <a:lnTo>
                    <a:pt x="468" y="586"/>
                  </a:lnTo>
                  <a:lnTo>
                    <a:pt x="460" y="588"/>
                  </a:lnTo>
                  <a:lnTo>
                    <a:pt x="454" y="594"/>
                  </a:lnTo>
                  <a:lnTo>
                    <a:pt x="450" y="600"/>
                  </a:lnTo>
                  <a:lnTo>
                    <a:pt x="446" y="606"/>
                  </a:lnTo>
                  <a:lnTo>
                    <a:pt x="442" y="614"/>
                  </a:lnTo>
                  <a:lnTo>
                    <a:pt x="436" y="622"/>
                  </a:lnTo>
                  <a:lnTo>
                    <a:pt x="426" y="630"/>
                  </a:lnTo>
                  <a:lnTo>
                    <a:pt x="414" y="636"/>
                  </a:lnTo>
                  <a:lnTo>
                    <a:pt x="390" y="648"/>
                  </a:lnTo>
                  <a:lnTo>
                    <a:pt x="384" y="654"/>
                  </a:lnTo>
                  <a:lnTo>
                    <a:pt x="380" y="658"/>
                  </a:lnTo>
                  <a:lnTo>
                    <a:pt x="380" y="662"/>
                  </a:lnTo>
                  <a:lnTo>
                    <a:pt x="382" y="666"/>
                  </a:lnTo>
                  <a:lnTo>
                    <a:pt x="390" y="666"/>
                  </a:lnTo>
                  <a:lnTo>
                    <a:pt x="400" y="666"/>
                  </a:lnTo>
                  <a:lnTo>
                    <a:pt x="408" y="668"/>
                  </a:lnTo>
                  <a:lnTo>
                    <a:pt x="410" y="670"/>
                  </a:lnTo>
                  <a:lnTo>
                    <a:pt x="408" y="674"/>
                  </a:lnTo>
                  <a:lnTo>
                    <a:pt x="406" y="678"/>
                  </a:lnTo>
                  <a:lnTo>
                    <a:pt x="402" y="680"/>
                  </a:lnTo>
                  <a:lnTo>
                    <a:pt x="402" y="684"/>
                  </a:lnTo>
                  <a:lnTo>
                    <a:pt x="406" y="684"/>
                  </a:lnTo>
                  <a:lnTo>
                    <a:pt x="416" y="682"/>
                  </a:lnTo>
                  <a:lnTo>
                    <a:pt x="438" y="676"/>
                  </a:lnTo>
                  <a:lnTo>
                    <a:pt x="446" y="676"/>
                  </a:lnTo>
                  <a:lnTo>
                    <a:pt x="454" y="676"/>
                  </a:lnTo>
                  <a:lnTo>
                    <a:pt x="460" y="678"/>
                  </a:lnTo>
                  <a:lnTo>
                    <a:pt x="466" y="682"/>
                  </a:lnTo>
                  <a:lnTo>
                    <a:pt x="486" y="692"/>
                  </a:lnTo>
                  <a:lnTo>
                    <a:pt x="496" y="696"/>
                  </a:lnTo>
                  <a:lnTo>
                    <a:pt x="508" y="694"/>
                  </a:lnTo>
                  <a:lnTo>
                    <a:pt x="514" y="692"/>
                  </a:lnTo>
                  <a:lnTo>
                    <a:pt x="518" y="690"/>
                  </a:lnTo>
                  <a:lnTo>
                    <a:pt x="522" y="686"/>
                  </a:lnTo>
                  <a:lnTo>
                    <a:pt x="524" y="680"/>
                  </a:lnTo>
                  <a:lnTo>
                    <a:pt x="526" y="674"/>
                  </a:lnTo>
                  <a:lnTo>
                    <a:pt x="528" y="672"/>
                  </a:lnTo>
                  <a:lnTo>
                    <a:pt x="538" y="670"/>
                  </a:lnTo>
                  <a:lnTo>
                    <a:pt x="542" y="668"/>
                  </a:lnTo>
                  <a:lnTo>
                    <a:pt x="546" y="664"/>
                  </a:lnTo>
                  <a:lnTo>
                    <a:pt x="550" y="660"/>
                  </a:lnTo>
                  <a:lnTo>
                    <a:pt x="554" y="650"/>
                  </a:lnTo>
                  <a:lnTo>
                    <a:pt x="558" y="640"/>
                  </a:lnTo>
                  <a:lnTo>
                    <a:pt x="562" y="634"/>
                  </a:lnTo>
                  <a:lnTo>
                    <a:pt x="566" y="630"/>
                  </a:lnTo>
                  <a:lnTo>
                    <a:pt x="572" y="628"/>
                  </a:lnTo>
                  <a:lnTo>
                    <a:pt x="580" y="624"/>
                  </a:lnTo>
                  <a:lnTo>
                    <a:pt x="584" y="622"/>
                  </a:lnTo>
                  <a:lnTo>
                    <a:pt x="586" y="616"/>
                  </a:lnTo>
                  <a:lnTo>
                    <a:pt x="588" y="606"/>
                  </a:lnTo>
                  <a:lnTo>
                    <a:pt x="590" y="602"/>
                  </a:lnTo>
                  <a:lnTo>
                    <a:pt x="594" y="600"/>
                  </a:lnTo>
                  <a:lnTo>
                    <a:pt x="610" y="594"/>
                  </a:lnTo>
                  <a:lnTo>
                    <a:pt x="638" y="584"/>
                  </a:lnTo>
                  <a:lnTo>
                    <a:pt x="652" y="578"/>
                  </a:lnTo>
                  <a:lnTo>
                    <a:pt x="658" y="572"/>
                  </a:lnTo>
                  <a:lnTo>
                    <a:pt x="662" y="568"/>
                  </a:lnTo>
                  <a:lnTo>
                    <a:pt x="664" y="564"/>
                  </a:lnTo>
                  <a:lnTo>
                    <a:pt x="668" y="558"/>
                  </a:lnTo>
                  <a:lnTo>
                    <a:pt x="674" y="552"/>
                  </a:lnTo>
                  <a:lnTo>
                    <a:pt x="688" y="544"/>
                  </a:lnTo>
                  <a:lnTo>
                    <a:pt x="712" y="534"/>
                  </a:lnTo>
                  <a:lnTo>
                    <a:pt x="744" y="522"/>
                  </a:lnTo>
                  <a:lnTo>
                    <a:pt x="778" y="512"/>
                  </a:lnTo>
                  <a:lnTo>
                    <a:pt x="854" y="492"/>
                  </a:lnTo>
                  <a:lnTo>
                    <a:pt x="924" y="474"/>
                  </a:lnTo>
                  <a:lnTo>
                    <a:pt x="956" y="464"/>
                  </a:lnTo>
                  <a:lnTo>
                    <a:pt x="980" y="454"/>
                  </a:lnTo>
                  <a:lnTo>
                    <a:pt x="990" y="448"/>
                  </a:lnTo>
                  <a:lnTo>
                    <a:pt x="998" y="444"/>
                  </a:lnTo>
                  <a:lnTo>
                    <a:pt x="1002" y="438"/>
                  </a:lnTo>
                  <a:lnTo>
                    <a:pt x="1002" y="432"/>
                  </a:lnTo>
                  <a:lnTo>
                    <a:pt x="1002" y="428"/>
                  </a:lnTo>
                  <a:lnTo>
                    <a:pt x="1000" y="424"/>
                  </a:lnTo>
                  <a:lnTo>
                    <a:pt x="996" y="420"/>
                  </a:lnTo>
                  <a:lnTo>
                    <a:pt x="990" y="416"/>
                  </a:lnTo>
                  <a:lnTo>
                    <a:pt x="974" y="410"/>
                  </a:lnTo>
                  <a:lnTo>
                    <a:pt x="954" y="406"/>
                  </a:lnTo>
                  <a:lnTo>
                    <a:pt x="932" y="408"/>
                  </a:lnTo>
                  <a:lnTo>
                    <a:pt x="908" y="412"/>
                  </a:lnTo>
                  <a:lnTo>
                    <a:pt x="878" y="422"/>
                  </a:lnTo>
                  <a:lnTo>
                    <a:pt x="874" y="426"/>
                  </a:lnTo>
                  <a:lnTo>
                    <a:pt x="870" y="428"/>
                  </a:lnTo>
                  <a:lnTo>
                    <a:pt x="868" y="430"/>
                  </a:lnTo>
                  <a:lnTo>
                    <a:pt x="864" y="434"/>
                  </a:lnTo>
                  <a:lnTo>
                    <a:pt x="856" y="438"/>
                  </a:lnTo>
                  <a:lnTo>
                    <a:pt x="842" y="444"/>
                  </a:lnTo>
                  <a:lnTo>
                    <a:pt x="818" y="450"/>
                  </a:lnTo>
                  <a:lnTo>
                    <a:pt x="808" y="450"/>
                  </a:lnTo>
                  <a:lnTo>
                    <a:pt x="798" y="452"/>
                  </a:lnTo>
                  <a:lnTo>
                    <a:pt x="768" y="460"/>
                  </a:lnTo>
                  <a:close/>
                  <a:moveTo>
                    <a:pt x="484" y="70"/>
                  </a:moveTo>
                  <a:lnTo>
                    <a:pt x="484" y="70"/>
                  </a:lnTo>
                  <a:lnTo>
                    <a:pt x="482" y="70"/>
                  </a:lnTo>
                  <a:lnTo>
                    <a:pt x="484" y="70"/>
                  </a:lnTo>
                  <a:lnTo>
                    <a:pt x="490" y="72"/>
                  </a:lnTo>
                  <a:lnTo>
                    <a:pt x="500" y="74"/>
                  </a:lnTo>
                  <a:lnTo>
                    <a:pt x="510" y="78"/>
                  </a:lnTo>
                  <a:lnTo>
                    <a:pt x="528" y="86"/>
                  </a:lnTo>
                  <a:lnTo>
                    <a:pt x="538" y="86"/>
                  </a:lnTo>
                  <a:lnTo>
                    <a:pt x="554" y="86"/>
                  </a:lnTo>
                  <a:lnTo>
                    <a:pt x="568" y="86"/>
                  </a:lnTo>
                  <a:lnTo>
                    <a:pt x="568" y="84"/>
                  </a:lnTo>
                  <a:lnTo>
                    <a:pt x="566" y="82"/>
                  </a:lnTo>
                  <a:lnTo>
                    <a:pt x="544" y="76"/>
                  </a:lnTo>
                  <a:lnTo>
                    <a:pt x="530" y="72"/>
                  </a:lnTo>
                  <a:lnTo>
                    <a:pt x="512" y="70"/>
                  </a:lnTo>
                  <a:lnTo>
                    <a:pt x="496" y="68"/>
                  </a:lnTo>
                  <a:lnTo>
                    <a:pt x="484" y="70"/>
                  </a:lnTo>
                  <a:close/>
                  <a:moveTo>
                    <a:pt x="542" y="114"/>
                  </a:moveTo>
                  <a:lnTo>
                    <a:pt x="542" y="114"/>
                  </a:lnTo>
                  <a:lnTo>
                    <a:pt x="554" y="116"/>
                  </a:lnTo>
                  <a:lnTo>
                    <a:pt x="558" y="114"/>
                  </a:lnTo>
                  <a:lnTo>
                    <a:pt x="560" y="112"/>
                  </a:lnTo>
                  <a:lnTo>
                    <a:pt x="560" y="110"/>
                  </a:lnTo>
                  <a:lnTo>
                    <a:pt x="560" y="108"/>
                  </a:lnTo>
                  <a:lnTo>
                    <a:pt x="554" y="106"/>
                  </a:lnTo>
                  <a:lnTo>
                    <a:pt x="542" y="106"/>
                  </a:lnTo>
                  <a:lnTo>
                    <a:pt x="532" y="108"/>
                  </a:lnTo>
                  <a:lnTo>
                    <a:pt x="530" y="110"/>
                  </a:lnTo>
                  <a:lnTo>
                    <a:pt x="532" y="112"/>
                  </a:lnTo>
                  <a:lnTo>
                    <a:pt x="534" y="114"/>
                  </a:lnTo>
                  <a:lnTo>
                    <a:pt x="542" y="114"/>
                  </a:lnTo>
                  <a:close/>
                  <a:moveTo>
                    <a:pt x="590" y="96"/>
                  </a:moveTo>
                  <a:lnTo>
                    <a:pt x="590" y="96"/>
                  </a:lnTo>
                  <a:lnTo>
                    <a:pt x="596" y="94"/>
                  </a:lnTo>
                  <a:lnTo>
                    <a:pt x="598" y="92"/>
                  </a:lnTo>
                  <a:lnTo>
                    <a:pt x="598" y="90"/>
                  </a:lnTo>
                  <a:lnTo>
                    <a:pt x="596" y="88"/>
                  </a:lnTo>
                  <a:lnTo>
                    <a:pt x="592" y="86"/>
                  </a:lnTo>
                  <a:lnTo>
                    <a:pt x="584" y="86"/>
                  </a:lnTo>
                  <a:lnTo>
                    <a:pt x="574" y="88"/>
                  </a:lnTo>
                  <a:lnTo>
                    <a:pt x="562" y="90"/>
                  </a:lnTo>
                  <a:lnTo>
                    <a:pt x="556" y="92"/>
                  </a:lnTo>
                  <a:lnTo>
                    <a:pt x="556" y="94"/>
                  </a:lnTo>
                  <a:lnTo>
                    <a:pt x="560" y="96"/>
                  </a:lnTo>
                  <a:lnTo>
                    <a:pt x="576" y="96"/>
                  </a:lnTo>
                  <a:lnTo>
                    <a:pt x="590" y="96"/>
                  </a:lnTo>
                  <a:close/>
                  <a:moveTo>
                    <a:pt x="554" y="70"/>
                  </a:moveTo>
                  <a:lnTo>
                    <a:pt x="554" y="70"/>
                  </a:lnTo>
                  <a:lnTo>
                    <a:pt x="554" y="72"/>
                  </a:lnTo>
                  <a:lnTo>
                    <a:pt x="554" y="74"/>
                  </a:lnTo>
                  <a:lnTo>
                    <a:pt x="562" y="78"/>
                  </a:lnTo>
                  <a:lnTo>
                    <a:pt x="572" y="80"/>
                  </a:lnTo>
                  <a:lnTo>
                    <a:pt x="582" y="80"/>
                  </a:lnTo>
                  <a:lnTo>
                    <a:pt x="584" y="78"/>
                  </a:lnTo>
                  <a:lnTo>
                    <a:pt x="584" y="76"/>
                  </a:lnTo>
                  <a:lnTo>
                    <a:pt x="576" y="72"/>
                  </a:lnTo>
                  <a:lnTo>
                    <a:pt x="564" y="68"/>
                  </a:lnTo>
                  <a:lnTo>
                    <a:pt x="558" y="68"/>
                  </a:lnTo>
                  <a:lnTo>
                    <a:pt x="554" y="70"/>
                  </a:lnTo>
                  <a:close/>
                  <a:moveTo>
                    <a:pt x="1962" y="108"/>
                  </a:moveTo>
                  <a:lnTo>
                    <a:pt x="1962" y="108"/>
                  </a:lnTo>
                  <a:lnTo>
                    <a:pt x="1950" y="114"/>
                  </a:lnTo>
                  <a:lnTo>
                    <a:pt x="1938" y="120"/>
                  </a:lnTo>
                  <a:lnTo>
                    <a:pt x="1916" y="128"/>
                  </a:lnTo>
                  <a:lnTo>
                    <a:pt x="1908" y="132"/>
                  </a:lnTo>
                  <a:lnTo>
                    <a:pt x="1906" y="134"/>
                  </a:lnTo>
                  <a:lnTo>
                    <a:pt x="1908" y="136"/>
                  </a:lnTo>
                  <a:lnTo>
                    <a:pt x="1918" y="138"/>
                  </a:lnTo>
                  <a:lnTo>
                    <a:pt x="1930" y="138"/>
                  </a:lnTo>
                  <a:lnTo>
                    <a:pt x="1938" y="142"/>
                  </a:lnTo>
                  <a:lnTo>
                    <a:pt x="1952" y="146"/>
                  </a:lnTo>
                  <a:lnTo>
                    <a:pt x="1968" y="154"/>
                  </a:lnTo>
                  <a:lnTo>
                    <a:pt x="1980" y="156"/>
                  </a:lnTo>
                  <a:lnTo>
                    <a:pt x="1994" y="158"/>
                  </a:lnTo>
                  <a:lnTo>
                    <a:pt x="2010" y="158"/>
                  </a:lnTo>
                  <a:lnTo>
                    <a:pt x="2016" y="158"/>
                  </a:lnTo>
                  <a:lnTo>
                    <a:pt x="2020" y="156"/>
                  </a:lnTo>
                  <a:lnTo>
                    <a:pt x="2022" y="152"/>
                  </a:lnTo>
                  <a:lnTo>
                    <a:pt x="2024" y="150"/>
                  </a:lnTo>
                  <a:lnTo>
                    <a:pt x="2028" y="146"/>
                  </a:lnTo>
                  <a:lnTo>
                    <a:pt x="2040" y="142"/>
                  </a:lnTo>
                  <a:lnTo>
                    <a:pt x="2058" y="140"/>
                  </a:lnTo>
                  <a:lnTo>
                    <a:pt x="2100" y="140"/>
                  </a:lnTo>
                  <a:lnTo>
                    <a:pt x="2130" y="140"/>
                  </a:lnTo>
                  <a:lnTo>
                    <a:pt x="2138" y="138"/>
                  </a:lnTo>
                  <a:lnTo>
                    <a:pt x="2142" y="136"/>
                  </a:lnTo>
                  <a:lnTo>
                    <a:pt x="2142" y="130"/>
                  </a:lnTo>
                  <a:lnTo>
                    <a:pt x="2136" y="122"/>
                  </a:lnTo>
                  <a:lnTo>
                    <a:pt x="2132" y="114"/>
                  </a:lnTo>
                  <a:lnTo>
                    <a:pt x="2132" y="112"/>
                  </a:lnTo>
                  <a:lnTo>
                    <a:pt x="2134" y="110"/>
                  </a:lnTo>
                  <a:lnTo>
                    <a:pt x="2140" y="108"/>
                  </a:lnTo>
                  <a:lnTo>
                    <a:pt x="2146" y="106"/>
                  </a:lnTo>
                  <a:lnTo>
                    <a:pt x="2162" y="104"/>
                  </a:lnTo>
                  <a:lnTo>
                    <a:pt x="2164" y="102"/>
                  </a:lnTo>
                  <a:lnTo>
                    <a:pt x="2166" y="100"/>
                  </a:lnTo>
                  <a:lnTo>
                    <a:pt x="2164" y="96"/>
                  </a:lnTo>
                  <a:lnTo>
                    <a:pt x="2160" y="92"/>
                  </a:lnTo>
                  <a:lnTo>
                    <a:pt x="2154" y="90"/>
                  </a:lnTo>
                  <a:lnTo>
                    <a:pt x="2142" y="88"/>
                  </a:lnTo>
                  <a:lnTo>
                    <a:pt x="2136" y="88"/>
                  </a:lnTo>
                  <a:lnTo>
                    <a:pt x="2128" y="86"/>
                  </a:lnTo>
                  <a:lnTo>
                    <a:pt x="2118" y="82"/>
                  </a:lnTo>
                  <a:lnTo>
                    <a:pt x="2110" y="74"/>
                  </a:lnTo>
                  <a:lnTo>
                    <a:pt x="2090" y="60"/>
                  </a:lnTo>
                  <a:lnTo>
                    <a:pt x="2082" y="56"/>
                  </a:lnTo>
                  <a:lnTo>
                    <a:pt x="2076" y="52"/>
                  </a:lnTo>
                  <a:lnTo>
                    <a:pt x="2068" y="50"/>
                  </a:lnTo>
                  <a:lnTo>
                    <a:pt x="2060" y="50"/>
                  </a:lnTo>
                  <a:lnTo>
                    <a:pt x="2052" y="54"/>
                  </a:lnTo>
                  <a:lnTo>
                    <a:pt x="2044" y="58"/>
                  </a:lnTo>
                  <a:lnTo>
                    <a:pt x="2034" y="62"/>
                  </a:lnTo>
                  <a:lnTo>
                    <a:pt x="2026" y="66"/>
                  </a:lnTo>
                  <a:lnTo>
                    <a:pt x="2008" y="68"/>
                  </a:lnTo>
                  <a:lnTo>
                    <a:pt x="1988" y="74"/>
                  </a:lnTo>
                  <a:lnTo>
                    <a:pt x="1978" y="78"/>
                  </a:lnTo>
                  <a:lnTo>
                    <a:pt x="1964" y="84"/>
                  </a:lnTo>
                  <a:lnTo>
                    <a:pt x="1954" y="92"/>
                  </a:lnTo>
                  <a:lnTo>
                    <a:pt x="1952" y="94"/>
                  </a:lnTo>
                  <a:lnTo>
                    <a:pt x="1954" y="96"/>
                  </a:lnTo>
                  <a:lnTo>
                    <a:pt x="1960" y="98"/>
                  </a:lnTo>
                  <a:lnTo>
                    <a:pt x="1964" y="98"/>
                  </a:lnTo>
                  <a:lnTo>
                    <a:pt x="1968" y="98"/>
                  </a:lnTo>
                  <a:lnTo>
                    <a:pt x="1968" y="100"/>
                  </a:lnTo>
                  <a:lnTo>
                    <a:pt x="1968" y="102"/>
                  </a:lnTo>
                  <a:lnTo>
                    <a:pt x="1962" y="108"/>
                  </a:lnTo>
                  <a:close/>
                  <a:moveTo>
                    <a:pt x="3810" y="584"/>
                  </a:moveTo>
                  <a:lnTo>
                    <a:pt x="3810" y="584"/>
                  </a:lnTo>
                  <a:lnTo>
                    <a:pt x="3826" y="588"/>
                  </a:lnTo>
                  <a:lnTo>
                    <a:pt x="3834" y="588"/>
                  </a:lnTo>
                  <a:lnTo>
                    <a:pt x="3840" y="584"/>
                  </a:lnTo>
                  <a:lnTo>
                    <a:pt x="3842" y="580"/>
                  </a:lnTo>
                  <a:lnTo>
                    <a:pt x="3842" y="574"/>
                  </a:lnTo>
                  <a:lnTo>
                    <a:pt x="3846" y="570"/>
                  </a:lnTo>
                  <a:lnTo>
                    <a:pt x="3852" y="568"/>
                  </a:lnTo>
                  <a:lnTo>
                    <a:pt x="3864" y="570"/>
                  </a:lnTo>
                  <a:lnTo>
                    <a:pt x="3878" y="574"/>
                  </a:lnTo>
                  <a:lnTo>
                    <a:pt x="3890" y="572"/>
                  </a:lnTo>
                  <a:lnTo>
                    <a:pt x="3900" y="570"/>
                  </a:lnTo>
                  <a:lnTo>
                    <a:pt x="3910" y="566"/>
                  </a:lnTo>
                  <a:lnTo>
                    <a:pt x="3918" y="562"/>
                  </a:lnTo>
                  <a:lnTo>
                    <a:pt x="3926" y="560"/>
                  </a:lnTo>
                  <a:lnTo>
                    <a:pt x="3934" y="562"/>
                  </a:lnTo>
                  <a:lnTo>
                    <a:pt x="3942" y="566"/>
                  </a:lnTo>
                  <a:lnTo>
                    <a:pt x="3952" y="570"/>
                  </a:lnTo>
                  <a:lnTo>
                    <a:pt x="3962" y="572"/>
                  </a:lnTo>
                  <a:lnTo>
                    <a:pt x="3974" y="572"/>
                  </a:lnTo>
                  <a:lnTo>
                    <a:pt x="3986" y="570"/>
                  </a:lnTo>
                  <a:lnTo>
                    <a:pt x="4014" y="562"/>
                  </a:lnTo>
                  <a:lnTo>
                    <a:pt x="4048" y="552"/>
                  </a:lnTo>
                  <a:lnTo>
                    <a:pt x="4056" y="546"/>
                  </a:lnTo>
                  <a:lnTo>
                    <a:pt x="4060" y="542"/>
                  </a:lnTo>
                  <a:lnTo>
                    <a:pt x="4060" y="538"/>
                  </a:lnTo>
                  <a:lnTo>
                    <a:pt x="4056" y="534"/>
                  </a:lnTo>
                  <a:lnTo>
                    <a:pt x="4054" y="530"/>
                  </a:lnTo>
                  <a:lnTo>
                    <a:pt x="4054" y="528"/>
                  </a:lnTo>
                  <a:lnTo>
                    <a:pt x="4056" y="524"/>
                  </a:lnTo>
                  <a:lnTo>
                    <a:pt x="4066" y="524"/>
                  </a:lnTo>
                  <a:lnTo>
                    <a:pt x="4070" y="522"/>
                  </a:lnTo>
                  <a:lnTo>
                    <a:pt x="4074" y="520"/>
                  </a:lnTo>
                  <a:lnTo>
                    <a:pt x="4076" y="518"/>
                  </a:lnTo>
                  <a:lnTo>
                    <a:pt x="4074" y="516"/>
                  </a:lnTo>
                  <a:lnTo>
                    <a:pt x="4068" y="512"/>
                  </a:lnTo>
                  <a:lnTo>
                    <a:pt x="4056" y="506"/>
                  </a:lnTo>
                  <a:lnTo>
                    <a:pt x="4042" y="500"/>
                  </a:lnTo>
                  <a:lnTo>
                    <a:pt x="4026" y="498"/>
                  </a:lnTo>
                  <a:lnTo>
                    <a:pt x="4010" y="496"/>
                  </a:lnTo>
                  <a:lnTo>
                    <a:pt x="3994" y="498"/>
                  </a:lnTo>
                  <a:lnTo>
                    <a:pt x="3980" y="498"/>
                  </a:lnTo>
                  <a:lnTo>
                    <a:pt x="3968" y="496"/>
                  </a:lnTo>
                  <a:lnTo>
                    <a:pt x="3958" y="490"/>
                  </a:lnTo>
                  <a:lnTo>
                    <a:pt x="3948" y="484"/>
                  </a:lnTo>
                  <a:lnTo>
                    <a:pt x="3938" y="478"/>
                  </a:lnTo>
                  <a:lnTo>
                    <a:pt x="3928" y="472"/>
                  </a:lnTo>
                  <a:lnTo>
                    <a:pt x="3918" y="470"/>
                  </a:lnTo>
                  <a:lnTo>
                    <a:pt x="3912" y="472"/>
                  </a:lnTo>
                  <a:lnTo>
                    <a:pt x="3906" y="474"/>
                  </a:lnTo>
                  <a:lnTo>
                    <a:pt x="3898" y="480"/>
                  </a:lnTo>
                  <a:lnTo>
                    <a:pt x="3894" y="486"/>
                  </a:lnTo>
                  <a:lnTo>
                    <a:pt x="3892" y="492"/>
                  </a:lnTo>
                  <a:lnTo>
                    <a:pt x="3894" y="498"/>
                  </a:lnTo>
                  <a:lnTo>
                    <a:pt x="3900" y="506"/>
                  </a:lnTo>
                  <a:lnTo>
                    <a:pt x="3900" y="510"/>
                  </a:lnTo>
                  <a:lnTo>
                    <a:pt x="3896" y="512"/>
                  </a:lnTo>
                  <a:lnTo>
                    <a:pt x="3890" y="512"/>
                  </a:lnTo>
                  <a:lnTo>
                    <a:pt x="3882" y="508"/>
                  </a:lnTo>
                  <a:lnTo>
                    <a:pt x="3862" y="498"/>
                  </a:lnTo>
                  <a:lnTo>
                    <a:pt x="3842" y="484"/>
                  </a:lnTo>
                  <a:lnTo>
                    <a:pt x="3822" y="472"/>
                  </a:lnTo>
                  <a:lnTo>
                    <a:pt x="3814" y="468"/>
                  </a:lnTo>
                  <a:lnTo>
                    <a:pt x="3808" y="468"/>
                  </a:lnTo>
                  <a:lnTo>
                    <a:pt x="3800" y="466"/>
                  </a:lnTo>
                  <a:lnTo>
                    <a:pt x="3794" y="468"/>
                  </a:lnTo>
                  <a:lnTo>
                    <a:pt x="3778" y="476"/>
                  </a:lnTo>
                  <a:lnTo>
                    <a:pt x="3758" y="488"/>
                  </a:lnTo>
                  <a:lnTo>
                    <a:pt x="3748" y="496"/>
                  </a:lnTo>
                  <a:lnTo>
                    <a:pt x="3746" y="502"/>
                  </a:lnTo>
                  <a:lnTo>
                    <a:pt x="3746" y="508"/>
                  </a:lnTo>
                  <a:lnTo>
                    <a:pt x="3748" y="514"/>
                  </a:lnTo>
                  <a:lnTo>
                    <a:pt x="3752" y="524"/>
                  </a:lnTo>
                  <a:lnTo>
                    <a:pt x="3752" y="530"/>
                  </a:lnTo>
                  <a:lnTo>
                    <a:pt x="3746" y="532"/>
                  </a:lnTo>
                  <a:lnTo>
                    <a:pt x="3742" y="536"/>
                  </a:lnTo>
                  <a:lnTo>
                    <a:pt x="3742" y="542"/>
                  </a:lnTo>
                  <a:lnTo>
                    <a:pt x="3744" y="548"/>
                  </a:lnTo>
                  <a:lnTo>
                    <a:pt x="3752" y="554"/>
                  </a:lnTo>
                  <a:lnTo>
                    <a:pt x="3762" y="560"/>
                  </a:lnTo>
                  <a:lnTo>
                    <a:pt x="3776" y="568"/>
                  </a:lnTo>
                  <a:lnTo>
                    <a:pt x="3810" y="584"/>
                  </a:lnTo>
                  <a:close/>
                  <a:moveTo>
                    <a:pt x="4172" y="572"/>
                  </a:moveTo>
                  <a:lnTo>
                    <a:pt x="4172" y="572"/>
                  </a:lnTo>
                  <a:lnTo>
                    <a:pt x="4198" y="578"/>
                  </a:lnTo>
                  <a:lnTo>
                    <a:pt x="4218" y="578"/>
                  </a:lnTo>
                  <a:lnTo>
                    <a:pt x="4262" y="576"/>
                  </a:lnTo>
                  <a:lnTo>
                    <a:pt x="4276" y="574"/>
                  </a:lnTo>
                  <a:lnTo>
                    <a:pt x="4288" y="570"/>
                  </a:lnTo>
                  <a:lnTo>
                    <a:pt x="4294" y="566"/>
                  </a:lnTo>
                  <a:lnTo>
                    <a:pt x="4300" y="560"/>
                  </a:lnTo>
                  <a:lnTo>
                    <a:pt x="4300" y="556"/>
                  </a:lnTo>
                  <a:lnTo>
                    <a:pt x="4300" y="552"/>
                  </a:lnTo>
                  <a:lnTo>
                    <a:pt x="4296" y="550"/>
                  </a:lnTo>
                  <a:lnTo>
                    <a:pt x="4288" y="550"/>
                  </a:lnTo>
                  <a:lnTo>
                    <a:pt x="4280" y="550"/>
                  </a:lnTo>
                  <a:lnTo>
                    <a:pt x="4274" y="548"/>
                  </a:lnTo>
                  <a:lnTo>
                    <a:pt x="4266" y="540"/>
                  </a:lnTo>
                  <a:lnTo>
                    <a:pt x="4260" y="536"/>
                  </a:lnTo>
                  <a:lnTo>
                    <a:pt x="4252" y="534"/>
                  </a:lnTo>
                  <a:lnTo>
                    <a:pt x="4244" y="536"/>
                  </a:lnTo>
                  <a:lnTo>
                    <a:pt x="4230" y="540"/>
                  </a:lnTo>
                  <a:lnTo>
                    <a:pt x="4220" y="542"/>
                  </a:lnTo>
                  <a:lnTo>
                    <a:pt x="4214" y="542"/>
                  </a:lnTo>
                  <a:lnTo>
                    <a:pt x="4212" y="540"/>
                  </a:lnTo>
                  <a:lnTo>
                    <a:pt x="4212" y="536"/>
                  </a:lnTo>
                  <a:lnTo>
                    <a:pt x="4210" y="532"/>
                  </a:lnTo>
                  <a:lnTo>
                    <a:pt x="4204" y="528"/>
                  </a:lnTo>
                  <a:lnTo>
                    <a:pt x="4194" y="526"/>
                  </a:lnTo>
                  <a:lnTo>
                    <a:pt x="4174" y="528"/>
                  </a:lnTo>
                  <a:lnTo>
                    <a:pt x="4154" y="528"/>
                  </a:lnTo>
                  <a:lnTo>
                    <a:pt x="4142" y="526"/>
                  </a:lnTo>
                  <a:lnTo>
                    <a:pt x="4132" y="524"/>
                  </a:lnTo>
                  <a:lnTo>
                    <a:pt x="4126" y="520"/>
                  </a:lnTo>
                  <a:lnTo>
                    <a:pt x="4122" y="514"/>
                  </a:lnTo>
                  <a:lnTo>
                    <a:pt x="4122" y="516"/>
                  </a:lnTo>
                  <a:lnTo>
                    <a:pt x="4118" y="518"/>
                  </a:lnTo>
                  <a:lnTo>
                    <a:pt x="4112" y="530"/>
                  </a:lnTo>
                  <a:lnTo>
                    <a:pt x="4108" y="536"/>
                  </a:lnTo>
                  <a:lnTo>
                    <a:pt x="4110" y="542"/>
                  </a:lnTo>
                  <a:lnTo>
                    <a:pt x="4114" y="550"/>
                  </a:lnTo>
                  <a:lnTo>
                    <a:pt x="4126" y="556"/>
                  </a:lnTo>
                  <a:lnTo>
                    <a:pt x="4144" y="564"/>
                  </a:lnTo>
                  <a:lnTo>
                    <a:pt x="4172" y="572"/>
                  </a:lnTo>
                  <a:close/>
                  <a:moveTo>
                    <a:pt x="5478" y="870"/>
                  </a:moveTo>
                  <a:lnTo>
                    <a:pt x="5478" y="866"/>
                  </a:lnTo>
                  <a:lnTo>
                    <a:pt x="5548" y="856"/>
                  </a:lnTo>
                  <a:lnTo>
                    <a:pt x="5558" y="854"/>
                  </a:lnTo>
                  <a:lnTo>
                    <a:pt x="5564" y="852"/>
                  </a:lnTo>
                  <a:lnTo>
                    <a:pt x="5570" y="848"/>
                  </a:lnTo>
                  <a:lnTo>
                    <a:pt x="5572" y="846"/>
                  </a:lnTo>
                  <a:lnTo>
                    <a:pt x="5570" y="842"/>
                  </a:lnTo>
                  <a:lnTo>
                    <a:pt x="5568" y="838"/>
                  </a:lnTo>
                  <a:lnTo>
                    <a:pt x="5560" y="832"/>
                  </a:lnTo>
                  <a:lnTo>
                    <a:pt x="5546" y="826"/>
                  </a:lnTo>
                  <a:lnTo>
                    <a:pt x="5530" y="820"/>
                  </a:lnTo>
                  <a:lnTo>
                    <a:pt x="5512" y="818"/>
                  </a:lnTo>
                  <a:lnTo>
                    <a:pt x="5494" y="818"/>
                  </a:lnTo>
                  <a:lnTo>
                    <a:pt x="5478" y="820"/>
                  </a:lnTo>
                  <a:lnTo>
                    <a:pt x="5478" y="818"/>
                  </a:lnTo>
                  <a:lnTo>
                    <a:pt x="5454" y="826"/>
                  </a:lnTo>
                  <a:lnTo>
                    <a:pt x="5444" y="832"/>
                  </a:lnTo>
                  <a:lnTo>
                    <a:pt x="5434" y="838"/>
                  </a:lnTo>
                  <a:lnTo>
                    <a:pt x="5428" y="844"/>
                  </a:lnTo>
                  <a:lnTo>
                    <a:pt x="5422" y="850"/>
                  </a:lnTo>
                  <a:lnTo>
                    <a:pt x="5418" y="856"/>
                  </a:lnTo>
                  <a:lnTo>
                    <a:pt x="5418" y="864"/>
                  </a:lnTo>
                  <a:lnTo>
                    <a:pt x="5418" y="868"/>
                  </a:lnTo>
                  <a:lnTo>
                    <a:pt x="5422" y="872"/>
                  </a:lnTo>
                  <a:lnTo>
                    <a:pt x="5426" y="874"/>
                  </a:lnTo>
                  <a:lnTo>
                    <a:pt x="5434" y="874"/>
                  </a:lnTo>
                  <a:lnTo>
                    <a:pt x="5452" y="874"/>
                  </a:lnTo>
                  <a:lnTo>
                    <a:pt x="5478" y="870"/>
                  </a:lnTo>
                  <a:close/>
                  <a:moveTo>
                    <a:pt x="2060" y="404"/>
                  </a:moveTo>
                  <a:lnTo>
                    <a:pt x="2060" y="404"/>
                  </a:lnTo>
                  <a:lnTo>
                    <a:pt x="2068" y="408"/>
                  </a:lnTo>
                  <a:lnTo>
                    <a:pt x="2078" y="408"/>
                  </a:lnTo>
                  <a:lnTo>
                    <a:pt x="2088" y="406"/>
                  </a:lnTo>
                  <a:lnTo>
                    <a:pt x="2096" y="404"/>
                  </a:lnTo>
                  <a:lnTo>
                    <a:pt x="2104" y="400"/>
                  </a:lnTo>
                  <a:lnTo>
                    <a:pt x="2108" y="396"/>
                  </a:lnTo>
                  <a:lnTo>
                    <a:pt x="2112" y="392"/>
                  </a:lnTo>
                  <a:lnTo>
                    <a:pt x="2112" y="388"/>
                  </a:lnTo>
                  <a:lnTo>
                    <a:pt x="2106" y="386"/>
                  </a:lnTo>
                  <a:lnTo>
                    <a:pt x="2100" y="386"/>
                  </a:lnTo>
                  <a:lnTo>
                    <a:pt x="2080" y="392"/>
                  </a:lnTo>
                  <a:lnTo>
                    <a:pt x="2064" y="398"/>
                  </a:lnTo>
                  <a:lnTo>
                    <a:pt x="2060" y="402"/>
                  </a:lnTo>
                  <a:lnTo>
                    <a:pt x="2058" y="404"/>
                  </a:lnTo>
                  <a:lnTo>
                    <a:pt x="2060" y="404"/>
                  </a:lnTo>
                  <a:close/>
                  <a:moveTo>
                    <a:pt x="3868" y="678"/>
                  </a:moveTo>
                  <a:lnTo>
                    <a:pt x="3868" y="678"/>
                  </a:lnTo>
                  <a:lnTo>
                    <a:pt x="3858" y="686"/>
                  </a:lnTo>
                  <a:lnTo>
                    <a:pt x="3856" y="688"/>
                  </a:lnTo>
                  <a:lnTo>
                    <a:pt x="3858" y="690"/>
                  </a:lnTo>
                  <a:lnTo>
                    <a:pt x="3866" y="690"/>
                  </a:lnTo>
                  <a:lnTo>
                    <a:pt x="3896" y="688"/>
                  </a:lnTo>
                  <a:lnTo>
                    <a:pt x="3916" y="688"/>
                  </a:lnTo>
                  <a:lnTo>
                    <a:pt x="3940" y="692"/>
                  </a:lnTo>
                  <a:lnTo>
                    <a:pt x="3970" y="696"/>
                  </a:lnTo>
                  <a:lnTo>
                    <a:pt x="3990" y="696"/>
                  </a:lnTo>
                  <a:lnTo>
                    <a:pt x="4004" y="694"/>
                  </a:lnTo>
                  <a:lnTo>
                    <a:pt x="4006" y="692"/>
                  </a:lnTo>
                  <a:lnTo>
                    <a:pt x="4008" y="690"/>
                  </a:lnTo>
                  <a:lnTo>
                    <a:pt x="4008" y="686"/>
                  </a:lnTo>
                  <a:lnTo>
                    <a:pt x="4006" y="682"/>
                  </a:lnTo>
                  <a:lnTo>
                    <a:pt x="4000" y="674"/>
                  </a:lnTo>
                  <a:lnTo>
                    <a:pt x="3988" y="664"/>
                  </a:lnTo>
                  <a:lnTo>
                    <a:pt x="3972" y="654"/>
                  </a:lnTo>
                  <a:lnTo>
                    <a:pt x="3956" y="648"/>
                  </a:lnTo>
                  <a:lnTo>
                    <a:pt x="3940" y="644"/>
                  </a:lnTo>
                  <a:lnTo>
                    <a:pt x="3928" y="646"/>
                  </a:lnTo>
                  <a:lnTo>
                    <a:pt x="3916" y="648"/>
                  </a:lnTo>
                  <a:lnTo>
                    <a:pt x="3904" y="654"/>
                  </a:lnTo>
                  <a:lnTo>
                    <a:pt x="3894" y="662"/>
                  </a:lnTo>
                  <a:lnTo>
                    <a:pt x="3868" y="678"/>
                  </a:lnTo>
                  <a:close/>
                  <a:moveTo>
                    <a:pt x="5044" y="956"/>
                  </a:moveTo>
                  <a:lnTo>
                    <a:pt x="5044" y="956"/>
                  </a:lnTo>
                  <a:lnTo>
                    <a:pt x="5046" y="954"/>
                  </a:lnTo>
                  <a:lnTo>
                    <a:pt x="5046" y="950"/>
                  </a:lnTo>
                  <a:lnTo>
                    <a:pt x="5044" y="948"/>
                  </a:lnTo>
                  <a:lnTo>
                    <a:pt x="5042" y="946"/>
                  </a:lnTo>
                  <a:lnTo>
                    <a:pt x="5034" y="942"/>
                  </a:lnTo>
                  <a:lnTo>
                    <a:pt x="5024" y="940"/>
                  </a:lnTo>
                  <a:lnTo>
                    <a:pt x="5012" y="938"/>
                  </a:lnTo>
                  <a:lnTo>
                    <a:pt x="5000" y="938"/>
                  </a:lnTo>
                  <a:lnTo>
                    <a:pt x="4990" y="938"/>
                  </a:lnTo>
                  <a:lnTo>
                    <a:pt x="4984" y="942"/>
                  </a:lnTo>
                  <a:lnTo>
                    <a:pt x="4982" y="944"/>
                  </a:lnTo>
                  <a:lnTo>
                    <a:pt x="4982" y="946"/>
                  </a:lnTo>
                  <a:lnTo>
                    <a:pt x="4986" y="950"/>
                  </a:lnTo>
                  <a:lnTo>
                    <a:pt x="4992" y="954"/>
                  </a:lnTo>
                  <a:lnTo>
                    <a:pt x="5002" y="958"/>
                  </a:lnTo>
                  <a:lnTo>
                    <a:pt x="5014" y="960"/>
                  </a:lnTo>
                  <a:lnTo>
                    <a:pt x="5024" y="962"/>
                  </a:lnTo>
                  <a:lnTo>
                    <a:pt x="5034" y="960"/>
                  </a:lnTo>
                  <a:lnTo>
                    <a:pt x="5044" y="956"/>
                  </a:lnTo>
                  <a:close/>
                  <a:moveTo>
                    <a:pt x="3698" y="530"/>
                  </a:moveTo>
                  <a:lnTo>
                    <a:pt x="3698" y="530"/>
                  </a:lnTo>
                  <a:lnTo>
                    <a:pt x="3704" y="524"/>
                  </a:lnTo>
                  <a:lnTo>
                    <a:pt x="3706" y="518"/>
                  </a:lnTo>
                  <a:lnTo>
                    <a:pt x="3704" y="508"/>
                  </a:lnTo>
                  <a:lnTo>
                    <a:pt x="3696" y="498"/>
                  </a:lnTo>
                  <a:lnTo>
                    <a:pt x="3694" y="496"/>
                  </a:lnTo>
                  <a:lnTo>
                    <a:pt x="3692" y="496"/>
                  </a:lnTo>
                  <a:lnTo>
                    <a:pt x="3688" y="500"/>
                  </a:lnTo>
                  <a:lnTo>
                    <a:pt x="3684" y="506"/>
                  </a:lnTo>
                  <a:lnTo>
                    <a:pt x="3682" y="514"/>
                  </a:lnTo>
                  <a:lnTo>
                    <a:pt x="3680" y="524"/>
                  </a:lnTo>
                  <a:lnTo>
                    <a:pt x="3684" y="530"/>
                  </a:lnTo>
                  <a:lnTo>
                    <a:pt x="3686" y="532"/>
                  </a:lnTo>
                  <a:lnTo>
                    <a:pt x="3688" y="532"/>
                  </a:lnTo>
                  <a:lnTo>
                    <a:pt x="3692" y="532"/>
                  </a:lnTo>
                  <a:lnTo>
                    <a:pt x="3698" y="530"/>
                  </a:lnTo>
                  <a:close/>
                  <a:moveTo>
                    <a:pt x="2260" y="322"/>
                  </a:moveTo>
                  <a:lnTo>
                    <a:pt x="2260" y="322"/>
                  </a:lnTo>
                  <a:lnTo>
                    <a:pt x="2286" y="316"/>
                  </a:lnTo>
                  <a:lnTo>
                    <a:pt x="2314" y="310"/>
                  </a:lnTo>
                  <a:lnTo>
                    <a:pt x="2350" y="306"/>
                  </a:lnTo>
                  <a:lnTo>
                    <a:pt x="2398" y="304"/>
                  </a:lnTo>
                  <a:lnTo>
                    <a:pt x="2424" y="302"/>
                  </a:lnTo>
                  <a:lnTo>
                    <a:pt x="2442" y="298"/>
                  </a:lnTo>
                  <a:lnTo>
                    <a:pt x="2456" y="294"/>
                  </a:lnTo>
                  <a:lnTo>
                    <a:pt x="2464" y="288"/>
                  </a:lnTo>
                  <a:lnTo>
                    <a:pt x="2466" y="284"/>
                  </a:lnTo>
                  <a:lnTo>
                    <a:pt x="2466" y="282"/>
                  </a:lnTo>
                  <a:lnTo>
                    <a:pt x="2462" y="274"/>
                  </a:lnTo>
                  <a:lnTo>
                    <a:pt x="2456" y="266"/>
                  </a:lnTo>
                  <a:lnTo>
                    <a:pt x="2442" y="256"/>
                  </a:lnTo>
                  <a:lnTo>
                    <a:pt x="2420" y="240"/>
                  </a:lnTo>
                  <a:lnTo>
                    <a:pt x="2412" y="234"/>
                  </a:lnTo>
                  <a:lnTo>
                    <a:pt x="2406" y="232"/>
                  </a:lnTo>
                  <a:lnTo>
                    <a:pt x="2398" y="232"/>
                  </a:lnTo>
                  <a:lnTo>
                    <a:pt x="2388" y="236"/>
                  </a:lnTo>
                  <a:lnTo>
                    <a:pt x="2376" y="242"/>
                  </a:lnTo>
                  <a:lnTo>
                    <a:pt x="2360" y="254"/>
                  </a:lnTo>
                  <a:lnTo>
                    <a:pt x="2346" y="262"/>
                  </a:lnTo>
                  <a:lnTo>
                    <a:pt x="2344" y="264"/>
                  </a:lnTo>
                  <a:lnTo>
                    <a:pt x="2344" y="262"/>
                  </a:lnTo>
                  <a:lnTo>
                    <a:pt x="2356" y="248"/>
                  </a:lnTo>
                  <a:lnTo>
                    <a:pt x="2364" y="238"/>
                  </a:lnTo>
                  <a:lnTo>
                    <a:pt x="2372" y="226"/>
                  </a:lnTo>
                  <a:lnTo>
                    <a:pt x="2376" y="218"/>
                  </a:lnTo>
                  <a:lnTo>
                    <a:pt x="2374" y="214"/>
                  </a:lnTo>
                  <a:lnTo>
                    <a:pt x="2372" y="212"/>
                  </a:lnTo>
                  <a:lnTo>
                    <a:pt x="2354" y="208"/>
                  </a:lnTo>
                  <a:lnTo>
                    <a:pt x="2344" y="206"/>
                  </a:lnTo>
                  <a:lnTo>
                    <a:pt x="2336" y="206"/>
                  </a:lnTo>
                  <a:lnTo>
                    <a:pt x="2326" y="208"/>
                  </a:lnTo>
                  <a:lnTo>
                    <a:pt x="2316" y="212"/>
                  </a:lnTo>
                  <a:lnTo>
                    <a:pt x="2306" y="222"/>
                  </a:lnTo>
                  <a:lnTo>
                    <a:pt x="2294" y="236"/>
                  </a:lnTo>
                  <a:lnTo>
                    <a:pt x="2286" y="248"/>
                  </a:lnTo>
                  <a:lnTo>
                    <a:pt x="2278" y="256"/>
                  </a:lnTo>
                  <a:lnTo>
                    <a:pt x="2266" y="264"/>
                  </a:lnTo>
                  <a:lnTo>
                    <a:pt x="2260" y="270"/>
                  </a:lnTo>
                  <a:lnTo>
                    <a:pt x="2252" y="278"/>
                  </a:lnTo>
                  <a:lnTo>
                    <a:pt x="2242" y="292"/>
                  </a:lnTo>
                  <a:lnTo>
                    <a:pt x="2230" y="314"/>
                  </a:lnTo>
                  <a:lnTo>
                    <a:pt x="2226" y="324"/>
                  </a:lnTo>
                  <a:lnTo>
                    <a:pt x="2226" y="328"/>
                  </a:lnTo>
                  <a:lnTo>
                    <a:pt x="2228" y="330"/>
                  </a:lnTo>
                  <a:lnTo>
                    <a:pt x="2238" y="328"/>
                  </a:lnTo>
                  <a:lnTo>
                    <a:pt x="2260" y="322"/>
                  </a:lnTo>
                  <a:close/>
                  <a:moveTo>
                    <a:pt x="2156" y="150"/>
                  </a:moveTo>
                  <a:lnTo>
                    <a:pt x="2156" y="150"/>
                  </a:lnTo>
                  <a:lnTo>
                    <a:pt x="2132" y="150"/>
                  </a:lnTo>
                  <a:lnTo>
                    <a:pt x="2100" y="148"/>
                  </a:lnTo>
                  <a:lnTo>
                    <a:pt x="2084" y="150"/>
                  </a:lnTo>
                  <a:lnTo>
                    <a:pt x="2068" y="152"/>
                  </a:lnTo>
                  <a:lnTo>
                    <a:pt x="2054" y="156"/>
                  </a:lnTo>
                  <a:lnTo>
                    <a:pt x="2042" y="162"/>
                  </a:lnTo>
                  <a:lnTo>
                    <a:pt x="2016" y="178"/>
                  </a:lnTo>
                  <a:lnTo>
                    <a:pt x="1988" y="192"/>
                  </a:lnTo>
                  <a:lnTo>
                    <a:pt x="1980" y="198"/>
                  </a:lnTo>
                  <a:lnTo>
                    <a:pt x="1978" y="200"/>
                  </a:lnTo>
                  <a:lnTo>
                    <a:pt x="1978" y="202"/>
                  </a:lnTo>
                  <a:lnTo>
                    <a:pt x="1980" y="204"/>
                  </a:lnTo>
                  <a:lnTo>
                    <a:pt x="1982" y="204"/>
                  </a:lnTo>
                  <a:lnTo>
                    <a:pt x="1996" y="206"/>
                  </a:lnTo>
                  <a:lnTo>
                    <a:pt x="2012" y="206"/>
                  </a:lnTo>
                  <a:lnTo>
                    <a:pt x="2020" y="208"/>
                  </a:lnTo>
                  <a:lnTo>
                    <a:pt x="2024" y="210"/>
                  </a:lnTo>
                  <a:lnTo>
                    <a:pt x="2024" y="214"/>
                  </a:lnTo>
                  <a:lnTo>
                    <a:pt x="2024" y="218"/>
                  </a:lnTo>
                  <a:lnTo>
                    <a:pt x="2026" y="224"/>
                  </a:lnTo>
                  <a:lnTo>
                    <a:pt x="2030" y="230"/>
                  </a:lnTo>
                  <a:lnTo>
                    <a:pt x="2038" y="234"/>
                  </a:lnTo>
                  <a:lnTo>
                    <a:pt x="2046" y="238"/>
                  </a:lnTo>
                  <a:lnTo>
                    <a:pt x="2054" y="238"/>
                  </a:lnTo>
                  <a:lnTo>
                    <a:pt x="2074" y="240"/>
                  </a:lnTo>
                  <a:lnTo>
                    <a:pt x="2100" y="244"/>
                  </a:lnTo>
                  <a:lnTo>
                    <a:pt x="2118" y="246"/>
                  </a:lnTo>
                  <a:lnTo>
                    <a:pt x="2138" y="252"/>
                  </a:lnTo>
                  <a:lnTo>
                    <a:pt x="2158" y="258"/>
                  </a:lnTo>
                  <a:lnTo>
                    <a:pt x="2180" y="260"/>
                  </a:lnTo>
                  <a:lnTo>
                    <a:pt x="2200" y="260"/>
                  </a:lnTo>
                  <a:lnTo>
                    <a:pt x="2218" y="258"/>
                  </a:lnTo>
                  <a:lnTo>
                    <a:pt x="2232" y="252"/>
                  </a:lnTo>
                  <a:lnTo>
                    <a:pt x="2240" y="248"/>
                  </a:lnTo>
                  <a:lnTo>
                    <a:pt x="2244" y="244"/>
                  </a:lnTo>
                  <a:lnTo>
                    <a:pt x="2244" y="240"/>
                  </a:lnTo>
                  <a:lnTo>
                    <a:pt x="2242" y="238"/>
                  </a:lnTo>
                  <a:lnTo>
                    <a:pt x="2240" y="234"/>
                  </a:lnTo>
                  <a:lnTo>
                    <a:pt x="2236" y="232"/>
                  </a:lnTo>
                  <a:lnTo>
                    <a:pt x="2236" y="228"/>
                  </a:lnTo>
                  <a:lnTo>
                    <a:pt x="2236" y="220"/>
                  </a:lnTo>
                  <a:lnTo>
                    <a:pt x="2238" y="210"/>
                  </a:lnTo>
                  <a:lnTo>
                    <a:pt x="2244" y="202"/>
                  </a:lnTo>
                  <a:lnTo>
                    <a:pt x="2248" y="192"/>
                  </a:lnTo>
                  <a:lnTo>
                    <a:pt x="2252" y="184"/>
                  </a:lnTo>
                  <a:lnTo>
                    <a:pt x="2252" y="180"/>
                  </a:lnTo>
                  <a:lnTo>
                    <a:pt x="2252" y="176"/>
                  </a:lnTo>
                  <a:lnTo>
                    <a:pt x="2250" y="174"/>
                  </a:lnTo>
                  <a:lnTo>
                    <a:pt x="2246" y="172"/>
                  </a:lnTo>
                  <a:lnTo>
                    <a:pt x="2238" y="166"/>
                  </a:lnTo>
                  <a:lnTo>
                    <a:pt x="2234" y="162"/>
                  </a:lnTo>
                  <a:lnTo>
                    <a:pt x="2230" y="160"/>
                  </a:lnTo>
                  <a:lnTo>
                    <a:pt x="2226" y="156"/>
                  </a:lnTo>
                  <a:lnTo>
                    <a:pt x="2220" y="156"/>
                  </a:lnTo>
                  <a:lnTo>
                    <a:pt x="2212" y="156"/>
                  </a:lnTo>
                  <a:lnTo>
                    <a:pt x="2184" y="164"/>
                  </a:lnTo>
                  <a:lnTo>
                    <a:pt x="2170" y="170"/>
                  </a:lnTo>
                  <a:lnTo>
                    <a:pt x="2162" y="170"/>
                  </a:lnTo>
                  <a:lnTo>
                    <a:pt x="2160" y="168"/>
                  </a:lnTo>
                  <a:lnTo>
                    <a:pt x="2162" y="164"/>
                  </a:lnTo>
                  <a:lnTo>
                    <a:pt x="2164" y="158"/>
                  </a:lnTo>
                  <a:lnTo>
                    <a:pt x="2164" y="154"/>
                  </a:lnTo>
                  <a:lnTo>
                    <a:pt x="2164" y="150"/>
                  </a:lnTo>
                  <a:lnTo>
                    <a:pt x="2156" y="150"/>
                  </a:lnTo>
                  <a:close/>
                  <a:moveTo>
                    <a:pt x="3192" y="724"/>
                  </a:moveTo>
                  <a:lnTo>
                    <a:pt x="3192" y="724"/>
                  </a:lnTo>
                  <a:lnTo>
                    <a:pt x="3218" y="728"/>
                  </a:lnTo>
                  <a:lnTo>
                    <a:pt x="3242" y="734"/>
                  </a:lnTo>
                  <a:lnTo>
                    <a:pt x="3268" y="744"/>
                  </a:lnTo>
                  <a:lnTo>
                    <a:pt x="3300" y="758"/>
                  </a:lnTo>
                  <a:lnTo>
                    <a:pt x="3308" y="762"/>
                  </a:lnTo>
                  <a:lnTo>
                    <a:pt x="3314" y="764"/>
                  </a:lnTo>
                  <a:lnTo>
                    <a:pt x="3316" y="762"/>
                  </a:lnTo>
                  <a:lnTo>
                    <a:pt x="3316" y="760"/>
                  </a:lnTo>
                  <a:lnTo>
                    <a:pt x="3314" y="752"/>
                  </a:lnTo>
                  <a:lnTo>
                    <a:pt x="3316" y="748"/>
                  </a:lnTo>
                  <a:lnTo>
                    <a:pt x="3320" y="746"/>
                  </a:lnTo>
                  <a:lnTo>
                    <a:pt x="3332" y="746"/>
                  </a:lnTo>
                  <a:lnTo>
                    <a:pt x="3338" y="746"/>
                  </a:lnTo>
                  <a:lnTo>
                    <a:pt x="3368" y="758"/>
                  </a:lnTo>
                  <a:lnTo>
                    <a:pt x="3390" y="768"/>
                  </a:lnTo>
                  <a:lnTo>
                    <a:pt x="3412" y="778"/>
                  </a:lnTo>
                  <a:lnTo>
                    <a:pt x="3420" y="782"/>
                  </a:lnTo>
                  <a:lnTo>
                    <a:pt x="3428" y="782"/>
                  </a:lnTo>
                  <a:lnTo>
                    <a:pt x="3434" y="778"/>
                  </a:lnTo>
                  <a:lnTo>
                    <a:pt x="3440" y="772"/>
                  </a:lnTo>
                  <a:lnTo>
                    <a:pt x="3440" y="766"/>
                  </a:lnTo>
                  <a:lnTo>
                    <a:pt x="3440" y="762"/>
                  </a:lnTo>
                  <a:lnTo>
                    <a:pt x="3436" y="756"/>
                  </a:lnTo>
                  <a:lnTo>
                    <a:pt x="3430" y="752"/>
                  </a:lnTo>
                  <a:lnTo>
                    <a:pt x="3422" y="748"/>
                  </a:lnTo>
                  <a:lnTo>
                    <a:pt x="3414" y="746"/>
                  </a:lnTo>
                  <a:lnTo>
                    <a:pt x="3412" y="744"/>
                  </a:lnTo>
                  <a:lnTo>
                    <a:pt x="3412" y="742"/>
                  </a:lnTo>
                  <a:lnTo>
                    <a:pt x="3414" y="742"/>
                  </a:lnTo>
                  <a:lnTo>
                    <a:pt x="3422" y="738"/>
                  </a:lnTo>
                  <a:lnTo>
                    <a:pt x="3432" y="736"/>
                  </a:lnTo>
                  <a:lnTo>
                    <a:pt x="3432" y="734"/>
                  </a:lnTo>
                  <a:lnTo>
                    <a:pt x="3432" y="732"/>
                  </a:lnTo>
                  <a:lnTo>
                    <a:pt x="3426" y="730"/>
                  </a:lnTo>
                  <a:lnTo>
                    <a:pt x="3418" y="726"/>
                  </a:lnTo>
                  <a:lnTo>
                    <a:pt x="3410" y="724"/>
                  </a:lnTo>
                  <a:lnTo>
                    <a:pt x="3406" y="720"/>
                  </a:lnTo>
                  <a:lnTo>
                    <a:pt x="3406" y="718"/>
                  </a:lnTo>
                  <a:lnTo>
                    <a:pt x="3416" y="714"/>
                  </a:lnTo>
                  <a:lnTo>
                    <a:pt x="3428" y="710"/>
                  </a:lnTo>
                  <a:lnTo>
                    <a:pt x="3430" y="708"/>
                  </a:lnTo>
                  <a:lnTo>
                    <a:pt x="3430" y="706"/>
                  </a:lnTo>
                  <a:lnTo>
                    <a:pt x="3426" y="702"/>
                  </a:lnTo>
                  <a:lnTo>
                    <a:pt x="3418" y="696"/>
                  </a:lnTo>
                  <a:lnTo>
                    <a:pt x="3392" y="686"/>
                  </a:lnTo>
                  <a:lnTo>
                    <a:pt x="3364" y="676"/>
                  </a:lnTo>
                  <a:lnTo>
                    <a:pt x="3352" y="674"/>
                  </a:lnTo>
                  <a:lnTo>
                    <a:pt x="3342" y="676"/>
                  </a:lnTo>
                  <a:lnTo>
                    <a:pt x="3336" y="678"/>
                  </a:lnTo>
                  <a:lnTo>
                    <a:pt x="3330" y="684"/>
                  </a:lnTo>
                  <a:lnTo>
                    <a:pt x="3326" y="688"/>
                  </a:lnTo>
                  <a:lnTo>
                    <a:pt x="3322" y="690"/>
                  </a:lnTo>
                  <a:lnTo>
                    <a:pt x="3320" y="688"/>
                  </a:lnTo>
                  <a:lnTo>
                    <a:pt x="3316" y="682"/>
                  </a:lnTo>
                  <a:lnTo>
                    <a:pt x="3312" y="676"/>
                  </a:lnTo>
                  <a:lnTo>
                    <a:pt x="3306" y="672"/>
                  </a:lnTo>
                  <a:lnTo>
                    <a:pt x="3302" y="668"/>
                  </a:lnTo>
                  <a:lnTo>
                    <a:pt x="3294" y="668"/>
                  </a:lnTo>
                  <a:lnTo>
                    <a:pt x="3278" y="666"/>
                  </a:lnTo>
                  <a:lnTo>
                    <a:pt x="3270" y="664"/>
                  </a:lnTo>
                  <a:lnTo>
                    <a:pt x="3258" y="660"/>
                  </a:lnTo>
                  <a:lnTo>
                    <a:pt x="3244" y="656"/>
                  </a:lnTo>
                  <a:lnTo>
                    <a:pt x="3230" y="654"/>
                  </a:lnTo>
                  <a:lnTo>
                    <a:pt x="3216" y="656"/>
                  </a:lnTo>
                  <a:lnTo>
                    <a:pt x="3204" y="660"/>
                  </a:lnTo>
                  <a:lnTo>
                    <a:pt x="3194" y="666"/>
                  </a:lnTo>
                  <a:lnTo>
                    <a:pt x="3186" y="674"/>
                  </a:lnTo>
                  <a:lnTo>
                    <a:pt x="3186" y="676"/>
                  </a:lnTo>
                  <a:lnTo>
                    <a:pt x="3186" y="680"/>
                  </a:lnTo>
                  <a:lnTo>
                    <a:pt x="3188" y="684"/>
                  </a:lnTo>
                  <a:lnTo>
                    <a:pt x="3190" y="688"/>
                  </a:lnTo>
                  <a:lnTo>
                    <a:pt x="3194" y="692"/>
                  </a:lnTo>
                  <a:lnTo>
                    <a:pt x="3196" y="696"/>
                  </a:lnTo>
                  <a:lnTo>
                    <a:pt x="3196" y="700"/>
                  </a:lnTo>
                  <a:lnTo>
                    <a:pt x="3196" y="702"/>
                  </a:lnTo>
                  <a:lnTo>
                    <a:pt x="3190" y="706"/>
                  </a:lnTo>
                  <a:lnTo>
                    <a:pt x="3184" y="712"/>
                  </a:lnTo>
                  <a:lnTo>
                    <a:pt x="3178" y="714"/>
                  </a:lnTo>
                  <a:lnTo>
                    <a:pt x="3176" y="718"/>
                  </a:lnTo>
                  <a:lnTo>
                    <a:pt x="3180" y="720"/>
                  </a:lnTo>
                  <a:lnTo>
                    <a:pt x="3192" y="724"/>
                  </a:lnTo>
                  <a:close/>
                  <a:moveTo>
                    <a:pt x="614" y="10"/>
                  </a:moveTo>
                  <a:lnTo>
                    <a:pt x="614" y="10"/>
                  </a:lnTo>
                  <a:lnTo>
                    <a:pt x="614" y="8"/>
                  </a:lnTo>
                  <a:lnTo>
                    <a:pt x="612" y="6"/>
                  </a:lnTo>
                  <a:lnTo>
                    <a:pt x="606" y="4"/>
                  </a:lnTo>
                  <a:lnTo>
                    <a:pt x="588" y="0"/>
                  </a:lnTo>
                  <a:lnTo>
                    <a:pt x="576" y="0"/>
                  </a:lnTo>
                  <a:lnTo>
                    <a:pt x="566" y="2"/>
                  </a:lnTo>
                  <a:lnTo>
                    <a:pt x="558" y="4"/>
                  </a:lnTo>
                  <a:lnTo>
                    <a:pt x="554" y="10"/>
                  </a:lnTo>
                  <a:lnTo>
                    <a:pt x="552" y="12"/>
                  </a:lnTo>
                  <a:lnTo>
                    <a:pt x="554" y="14"/>
                  </a:lnTo>
                  <a:lnTo>
                    <a:pt x="558" y="18"/>
                  </a:lnTo>
                  <a:lnTo>
                    <a:pt x="568" y="18"/>
                  </a:lnTo>
                  <a:lnTo>
                    <a:pt x="578" y="18"/>
                  </a:lnTo>
                  <a:lnTo>
                    <a:pt x="602" y="16"/>
                  </a:lnTo>
                  <a:lnTo>
                    <a:pt x="610" y="12"/>
                  </a:lnTo>
                  <a:lnTo>
                    <a:pt x="614" y="10"/>
                  </a:lnTo>
                  <a:close/>
                  <a:moveTo>
                    <a:pt x="444" y="80"/>
                  </a:moveTo>
                  <a:lnTo>
                    <a:pt x="444" y="80"/>
                  </a:lnTo>
                  <a:lnTo>
                    <a:pt x="450" y="82"/>
                  </a:lnTo>
                  <a:lnTo>
                    <a:pt x="450" y="84"/>
                  </a:lnTo>
                  <a:lnTo>
                    <a:pt x="456" y="86"/>
                  </a:lnTo>
                  <a:lnTo>
                    <a:pt x="474" y="88"/>
                  </a:lnTo>
                  <a:lnTo>
                    <a:pt x="502" y="94"/>
                  </a:lnTo>
                  <a:lnTo>
                    <a:pt x="514" y="100"/>
                  </a:lnTo>
                  <a:lnTo>
                    <a:pt x="524" y="102"/>
                  </a:lnTo>
                  <a:lnTo>
                    <a:pt x="536" y="100"/>
                  </a:lnTo>
                  <a:lnTo>
                    <a:pt x="544" y="96"/>
                  </a:lnTo>
                  <a:lnTo>
                    <a:pt x="546" y="94"/>
                  </a:lnTo>
                  <a:lnTo>
                    <a:pt x="544" y="94"/>
                  </a:lnTo>
                  <a:lnTo>
                    <a:pt x="520" y="88"/>
                  </a:lnTo>
                  <a:lnTo>
                    <a:pt x="492" y="76"/>
                  </a:lnTo>
                  <a:lnTo>
                    <a:pt x="478" y="74"/>
                  </a:lnTo>
                  <a:lnTo>
                    <a:pt x="466" y="76"/>
                  </a:lnTo>
                  <a:lnTo>
                    <a:pt x="458" y="76"/>
                  </a:lnTo>
                  <a:lnTo>
                    <a:pt x="452" y="74"/>
                  </a:lnTo>
                  <a:lnTo>
                    <a:pt x="438" y="70"/>
                  </a:lnTo>
                  <a:lnTo>
                    <a:pt x="432" y="68"/>
                  </a:lnTo>
                  <a:lnTo>
                    <a:pt x="426" y="66"/>
                  </a:lnTo>
                  <a:lnTo>
                    <a:pt x="420" y="68"/>
                  </a:lnTo>
                  <a:lnTo>
                    <a:pt x="414" y="74"/>
                  </a:lnTo>
                  <a:lnTo>
                    <a:pt x="412" y="76"/>
                  </a:lnTo>
                  <a:lnTo>
                    <a:pt x="414" y="76"/>
                  </a:lnTo>
                  <a:lnTo>
                    <a:pt x="420" y="78"/>
                  </a:lnTo>
                  <a:lnTo>
                    <a:pt x="432" y="78"/>
                  </a:lnTo>
                  <a:lnTo>
                    <a:pt x="444" y="80"/>
                  </a:lnTo>
                  <a:close/>
                  <a:moveTo>
                    <a:pt x="296" y="786"/>
                  </a:moveTo>
                  <a:lnTo>
                    <a:pt x="296" y="786"/>
                  </a:lnTo>
                  <a:lnTo>
                    <a:pt x="290" y="806"/>
                  </a:lnTo>
                  <a:lnTo>
                    <a:pt x="288" y="812"/>
                  </a:lnTo>
                  <a:lnTo>
                    <a:pt x="288" y="818"/>
                  </a:lnTo>
                  <a:lnTo>
                    <a:pt x="292" y="822"/>
                  </a:lnTo>
                  <a:lnTo>
                    <a:pt x="300" y="826"/>
                  </a:lnTo>
                  <a:lnTo>
                    <a:pt x="310" y="828"/>
                  </a:lnTo>
                  <a:lnTo>
                    <a:pt x="324" y="828"/>
                  </a:lnTo>
                  <a:lnTo>
                    <a:pt x="340" y="828"/>
                  </a:lnTo>
                  <a:lnTo>
                    <a:pt x="338" y="830"/>
                  </a:lnTo>
                  <a:lnTo>
                    <a:pt x="334" y="832"/>
                  </a:lnTo>
                  <a:lnTo>
                    <a:pt x="330" y="836"/>
                  </a:lnTo>
                  <a:lnTo>
                    <a:pt x="330" y="842"/>
                  </a:lnTo>
                  <a:lnTo>
                    <a:pt x="330" y="844"/>
                  </a:lnTo>
                  <a:lnTo>
                    <a:pt x="332" y="848"/>
                  </a:lnTo>
                  <a:lnTo>
                    <a:pt x="344" y="856"/>
                  </a:lnTo>
                  <a:lnTo>
                    <a:pt x="350" y="858"/>
                  </a:lnTo>
                  <a:lnTo>
                    <a:pt x="356" y="860"/>
                  </a:lnTo>
                  <a:lnTo>
                    <a:pt x="360" y="860"/>
                  </a:lnTo>
                  <a:lnTo>
                    <a:pt x="362" y="858"/>
                  </a:lnTo>
                  <a:lnTo>
                    <a:pt x="364" y="852"/>
                  </a:lnTo>
                  <a:lnTo>
                    <a:pt x="366" y="844"/>
                  </a:lnTo>
                  <a:lnTo>
                    <a:pt x="366" y="838"/>
                  </a:lnTo>
                  <a:lnTo>
                    <a:pt x="366" y="834"/>
                  </a:lnTo>
                  <a:lnTo>
                    <a:pt x="368" y="832"/>
                  </a:lnTo>
                  <a:lnTo>
                    <a:pt x="370" y="834"/>
                  </a:lnTo>
                  <a:lnTo>
                    <a:pt x="376" y="842"/>
                  </a:lnTo>
                  <a:lnTo>
                    <a:pt x="380" y="848"/>
                  </a:lnTo>
                  <a:lnTo>
                    <a:pt x="382" y="852"/>
                  </a:lnTo>
                  <a:lnTo>
                    <a:pt x="382" y="856"/>
                  </a:lnTo>
                  <a:lnTo>
                    <a:pt x="382" y="860"/>
                  </a:lnTo>
                  <a:lnTo>
                    <a:pt x="378" y="866"/>
                  </a:lnTo>
                  <a:lnTo>
                    <a:pt x="372" y="870"/>
                  </a:lnTo>
                  <a:lnTo>
                    <a:pt x="368" y="874"/>
                  </a:lnTo>
                  <a:lnTo>
                    <a:pt x="368" y="876"/>
                  </a:lnTo>
                  <a:lnTo>
                    <a:pt x="374" y="878"/>
                  </a:lnTo>
                  <a:lnTo>
                    <a:pt x="388" y="880"/>
                  </a:lnTo>
                  <a:lnTo>
                    <a:pt x="404" y="882"/>
                  </a:lnTo>
                  <a:lnTo>
                    <a:pt x="414" y="884"/>
                  </a:lnTo>
                  <a:lnTo>
                    <a:pt x="420" y="886"/>
                  </a:lnTo>
                  <a:lnTo>
                    <a:pt x="424" y="888"/>
                  </a:lnTo>
                  <a:lnTo>
                    <a:pt x="426" y="890"/>
                  </a:lnTo>
                  <a:lnTo>
                    <a:pt x="430" y="892"/>
                  </a:lnTo>
                  <a:lnTo>
                    <a:pt x="450" y="892"/>
                  </a:lnTo>
                  <a:lnTo>
                    <a:pt x="464" y="894"/>
                  </a:lnTo>
                  <a:lnTo>
                    <a:pt x="476" y="894"/>
                  </a:lnTo>
                  <a:lnTo>
                    <a:pt x="494" y="898"/>
                  </a:lnTo>
                  <a:lnTo>
                    <a:pt x="504" y="898"/>
                  </a:lnTo>
                  <a:lnTo>
                    <a:pt x="514" y="898"/>
                  </a:lnTo>
                  <a:lnTo>
                    <a:pt x="524" y="894"/>
                  </a:lnTo>
                  <a:lnTo>
                    <a:pt x="536" y="888"/>
                  </a:lnTo>
                  <a:lnTo>
                    <a:pt x="540" y="886"/>
                  </a:lnTo>
                  <a:lnTo>
                    <a:pt x="540" y="884"/>
                  </a:lnTo>
                  <a:lnTo>
                    <a:pt x="540" y="882"/>
                  </a:lnTo>
                  <a:lnTo>
                    <a:pt x="538" y="878"/>
                  </a:lnTo>
                  <a:lnTo>
                    <a:pt x="530" y="874"/>
                  </a:lnTo>
                  <a:lnTo>
                    <a:pt x="518" y="868"/>
                  </a:lnTo>
                  <a:lnTo>
                    <a:pt x="506" y="862"/>
                  </a:lnTo>
                  <a:lnTo>
                    <a:pt x="494" y="854"/>
                  </a:lnTo>
                  <a:lnTo>
                    <a:pt x="484" y="846"/>
                  </a:lnTo>
                  <a:lnTo>
                    <a:pt x="476" y="836"/>
                  </a:lnTo>
                  <a:lnTo>
                    <a:pt x="472" y="826"/>
                  </a:lnTo>
                  <a:lnTo>
                    <a:pt x="466" y="820"/>
                  </a:lnTo>
                  <a:lnTo>
                    <a:pt x="456" y="808"/>
                  </a:lnTo>
                  <a:lnTo>
                    <a:pt x="452" y="800"/>
                  </a:lnTo>
                  <a:lnTo>
                    <a:pt x="448" y="792"/>
                  </a:lnTo>
                  <a:lnTo>
                    <a:pt x="448" y="780"/>
                  </a:lnTo>
                  <a:lnTo>
                    <a:pt x="450" y="764"/>
                  </a:lnTo>
                  <a:lnTo>
                    <a:pt x="452" y="756"/>
                  </a:lnTo>
                  <a:lnTo>
                    <a:pt x="456" y="748"/>
                  </a:lnTo>
                  <a:lnTo>
                    <a:pt x="464" y="736"/>
                  </a:lnTo>
                  <a:lnTo>
                    <a:pt x="474" y="726"/>
                  </a:lnTo>
                  <a:lnTo>
                    <a:pt x="482" y="718"/>
                  </a:lnTo>
                  <a:lnTo>
                    <a:pt x="490" y="712"/>
                  </a:lnTo>
                  <a:lnTo>
                    <a:pt x="492" y="706"/>
                  </a:lnTo>
                  <a:lnTo>
                    <a:pt x="492" y="704"/>
                  </a:lnTo>
                  <a:lnTo>
                    <a:pt x="488" y="702"/>
                  </a:lnTo>
                  <a:lnTo>
                    <a:pt x="478" y="696"/>
                  </a:lnTo>
                  <a:lnTo>
                    <a:pt x="458" y="688"/>
                  </a:lnTo>
                  <a:lnTo>
                    <a:pt x="454" y="686"/>
                  </a:lnTo>
                  <a:lnTo>
                    <a:pt x="448" y="686"/>
                  </a:lnTo>
                  <a:lnTo>
                    <a:pt x="434" y="688"/>
                  </a:lnTo>
                  <a:lnTo>
                    <a:pt x="400" y="694"/>
                  </a:lnTo>
                  <a:lnTo>
                    <a:pt x="378" y="698"/>
                  </a:lnTo>
                  <a:lnTo>
                    <a:pt x="366" y="700"/>
                  </a:lnTo>
                  <a:lnTo>
                    <a:pt x="362" y="702"/>
                  </a:lnTo>
                  <a:lnTo>
                    <a:pt x="362" y="706"/>
                  </a:lnTo>
                  <a:lnTo>
                    <a:pt x="362" y="708"/>
                  </a:lnTo>
                  <a:lnTo>
                    <a:pt x="362" y="712"/>
                  </a:lnTo>
                  <a:lnTo>
                    <a:pt x="358" y="716"/>
                  </a:lnTo>
                  <a:lnTo>
                    <a:pt x="348" y="720"/>
                  </a:lnTo>
                  <a:lnTo>
                    <a:pt x="338" y="726"/>
                  </a:lnTo>
                  <a:lnTo>
                    <a:pt x="334" y="730"/>
                  </a:lnTo>
                  <a:lnTo>
                    <a:pt x="332" y="734"/>
                  </a:lnTo>
                  <a:lnTo>
                    <a:pt x="334" y="736"/>
                  </a:lnTo>
                  <a:lnTo>
                    <a:pt x="338" y="742"/>
                  </a:lnTo>
                  <a:lnTo>
                    <a:pt x="340" y="746"/>
                  </a:lnTo>
                  <a:lnTo>
                    <a:pt x="340" y="754"/>
                  </a:lnTo>
                  <a:lnTo>
                    <a:pt x="336" y="764"/>
                  </a:lnTo>
                  <a:lnTo>
                    <a:pt x="330" y="774"/>
                  </a:lnTo>
                  <a:lnTo>
                    <a:pt x="324" y="778"/>
                  </a:lnTo>
                  <a:lnTo>
                    <a:pt x="320" y="778"/>
                  </a:lnTo>
                  <a:lnTo>
                    <a:pt x="316" y="776"/>
                  </a:lnTo>
                  <a:lnTo>
                    <a:pt x="310" y="774"/>
                  </a:lnTo>
                  <a:lnTo>
                    <a:pt x="306" y="774"/>
                  </a:lnTo>
                  <a:lnTo>
                    <a:pt x="302" y="778"/>
                  </a:lnTo>
                  <a:lnTo>
                    <a:pt x="296" y="786"/>
                  </a:lnTo>
                  <a:close/>
                  <a:moveTo>
                    <a:pt x="282" y="168"/>
                  </a:moveTo>
                  <a:lnTo>
                    <a:pt x="282" y="168"/>
                  </a:lnTo>
                  <a:lnTo>
                    <a:pt x="290" y="168"/>
                  </a:lnTo>
                  <a:lnTo>
                    <a:pt x="294" y="164"/>
                  </a:lnTo>
                  <a:lnTo>
                    <a:pt x="292" y="160"/>
                  </a:lnTo>
                  <a:lnTo>
                    <a:pt x="288" y="158"/>
                  </a:lnTo>
                  <a:lnTo>
                    <a:pt x="280" y="154"/>
                  </a:lnTo>
                  <a:lnTo>
                    <a:pt x="270" y="152"/>
                  </a:lnTo>
                  <a:lnTo>
                    <a:pt x="260" y="152"/>
                  </a:lnTo>
                  <a:lnTo>
                    <a:pt x="250" y="156"/>
                  </a:lnTo>
                  <a:lnTo>
                    <a:pt x="242" y="160"/>
                  </a:lnTo>
                  <a:lnTo>
                    <a:pt x="240" y="164"/>
                  </a:lnTo>
                  <a:lnTo>
                    <a:pt x="240" y="166"/>
                  </a:lnTo>
                  <a:lnTo>
                    <a:pt x="244" y="166"/>
                  </a:lnTo>
                  <a:lnTo>
                    <a:pt x="260" y="168"/>
                  </a:lnTo>
                  <a:lnTo>
                    <a:pt x="282" y="168"/>
                  </a:lnTo>
                  <a:close/>
                  <a:moveTo>
                    <a:pt x="416" y="96"/>
                  </a:moveTo>
                  <a:lnTo>
                    <a:pt x="416" y="96"/>
                  </a:lnTo>
                  <a:lnTo>
                    <a:pt x="424" y="96"/>
                  </a:lnTo>
                  <a:lnTo>
                    <a:pt x="428" y="100"/>
                  </a:lnTo>
                  <a:lnTo>
                    <a:pt x="432" y="100"/>
                  </a:lnTo>
                  <a:lnTo>
                    <a:pt x="440" y="100"/>
                  </a:lnTo>
                  <a:lnTo>
                    <a:pt x="452" y="98"/>
                  </a:lnTo>
                  <a:lnTo>
                    <a:pt x="464" y="96"/>
                  </a:lnTo>
                  <a:lnTo>
                    <a:pt x="470" y="96"/>
                  </a:lnTo>
                  <a:lnTo>
                    <a:pt x="472" y="96"/>
                  </a:lnTo>
                  <a:lnTo>
                    <a:pt x="470" y="94"/>
                  </a:lnTo>
                  <a:lnTo>
                    <a:pt x="452" y="88"/>
                  </a:lnTo>
                  <a:lnTo>
                    <a:pt x="440" y="86"/>
                  </a:lnTo>
                  <a:lnTo>
                    <a:pt x="436" y="86"/>
                  </a:lnTo>
                  <a:lnTo>
                    <a:pt x="432" y="88"/>
                  </a:lnTo>
                  <a:lnTo>
                    <a:pt x="428" y="90"/>
                  </a:lnTo>
                  <a:lnTo>
                    <a:pt x="424" y="90"/>
                  </a:lnTo>
                  <a:lnTo>
                    <a:pt x="414" y="88"/>
                  </a:lnTo>
                  <a:lnTo>
                    <a:pt x="404" y="86"/>
                  </a:lnTo>
                  <a:lnTo>
                    <a:pt x="398" y="88"/>
                  </a:lnTo>
                  <a:lnTo>
                    <a:pt x="396" y="92"/>
                  </a:lnTo>
                  <a:lnTo>
                    <a:pt x="394" y="94"/>
                  </a:lnTo>
                  <a:lnTo>
                    <a:pt x="398" y="96"/>
                  </a:lnTo>
                  <a:lnTo>
                    <a:pt x="416" y="96"/>
                  </a:lnTo>
                  <a:close/>
                  <a:moveTo>
                    <a:pt x="406" y="124"/>
                  </a:moveTo>
                  <a:lnTo>
                    <a:pt x="406" y="124"/>
                  </a:lnTo>
                  <a:lnTo>
                    <a:pt x="414" y="122"/>
                  </a:lnTo>
                  <a:lnTo>
                    <a:pt x="416" y="122"/>
                  </a:lnTo>
                  <a:lnTo>
                    <a:pt x="416" y="120"/>
                  </a:lnTo>
                  <a:lnTo>
                    <a:pt x="414" y="116"/>
                  </a:lnTo>
                  <a:lnTo>
                    <a:pt x="408" y="112"/>
                  </a:lnTo>
                  <a:lnTo>
                    <a:pt x="402" y="110"/>
                  </a:lnTo>
                  <a:lnTo>
                    <a:pt x="394" y="110"/>
                  </a:lnTo>
                  <a:lnTo>
                    <a:pt x="390" y="112"/>
                  </a:lnTo>
                  <a:lnTo>
                    <a:pt x="392" y="114"/>
                  </a:lnTo>
                  <a:lnTo>
                    <a:pt x="392" y="116"/>
                  </a:lnTo>
                  <a:lnTo>
                    <a:pt x="392" y="118"/>
                  </a:lnTo>
                  <a:lnTo>
                    <a:pt x="390" y="120"/>
                  </a:lnTo>
                  <a:lnTo>
                    <a:pt x="390" y="122"/>
                  </a:lnTo>
                  <a:lnTo>
                    <a:pt x="392" y="124"/>
                  </a:lnTo>
                  <a:lnTo>
                    <a:pt x="406" y="124"/>
                  </a:lnTo>
                  <a:close/>
                  <a:moveTo>
                    <a:pt x="382" y="134"/>
                  </a:moveTo>
                  <a:lnTo>
                    <a:pt x="382" y="134"/>
                  </a:lnTo>
                  <a:lnTo>
                    <a:pt x="372" y="126"/>
                  </a:lnTo>
                  <a:lnTo>
                    <a:pt x="368" y="124"/>
                  </a:lnTo>
                  <a:lnTo>
                    <a:pt x="364" y="124"/>
                  </a:lnTo>
                  <a:lnTo>
                    <a:pt x="350" y="128"/>
                  </a:lnTo>
                  <a:lnTo>
                    <a:pt x="330" y="136"/>
                  </a:lnTo>
                  <a:lnTo>
                    <a:pt x="328" y="138"/>
                  </a:lnTo>
                  <a:lnTo>
                    <a:pt x="326" y="140"/>
                  </a:lnTo>
                  <a:lnTo>
                    <a:pt x="328" y="142"/>
                  </a:lnTo>
                  <a:lnTo>
                    <a:pt x="332" y="144"/>
                  </a:lnTo>
                  <a:lnTo>
                    <a:pt x="342" y="146"/>
                  </a:lnTo>
                  <a:lnTo>
                    <a:pt x="356" y="148"/>
                  </a:lnTo>
                  <a:lnTo>
                    <a:pt x="370" y="148"/>
                  </a:lnTo>
                  <a:lnTo>
                    <a:pt x="380" y="146"/>
                  </a:lnTo>
                  <a:lnTo>
                    <a:pt x="384" y="144"/>
                  </a:lnTo>
                  <a:lnTo>
                    <a:pt x="386" y="142"/>
                  </a:lnTo>
                  <a:lnTo>
                    <a:pt x="386" y="138"/>
                  </a:lnTo>
                  <a:lnTo>
                    <a:pt x="382" y="134"/>
                  </a:lnTo>
                  <a:close/>
                  <a:moveTo>
                    <a:pt x="46" y="116"/>
                  </a:moveTo>
                  <a:lnTo>
                    <a:pt x="46" y="116"/>
                  </a:lnTo>
                  <a:lnTo>
                    <a:pt x="54" y="118"/>
                  </a:lnTo>
                  <a:lnTo>
                    <a:pt x="62" y="114"/>
                  </a:lnTo>
                  <a:lnTo>
                    <a:pt x="66" y="114"/>
                  </a:lnTo>
                  <a:lnTo>
                    <a:pt x="70" y="116"/>
                  </a:lnTo>
                  <a:lnTo>
                    <a:pt x="76" y="120"/>
                  </a:lnTo>
                  <a:lnTo>
                    <a:pt x="80" y="122"/>
                  </a:lnTo>
                  <a:lnTo>
                    <a:pt x="86" y="124"/>
                  </a:lnTo>
                  <a:lnTo>
                    <a:pt x="92" y="122"/>
                  </a:lnTo>
                  <a:lnTo>
                    <a:pt x="102" y="118"/>
                  </a:lnTo>
                  <a:lnTo>
                    <a:pt x="118" y="110"/>
                  </a:lnTo>
                  <a:lnTo>
                    <a:pt x="130" y="104"/>
                  </a:lnTo>
                  <a:lnTo>
                    <a:pt x="134" y="102"/>
                  </a:lnTo>
                  <a:lnTo>
                    <a:pt x="140" y="102"/>
                  </a:lnTo>
                  <a:lnTo>
                    <a:pt x="148" y="102"/>
                  </a:lnTo>
                  <a:lnTo>
                    <a:pt x="158" y="106"/>
                  </a:lnTo>
                  <a:lnTo>
                    <a:pt x="168" y="108"/>
                  </a:lnTo>
                  <a:lnTo>
                    <a:pt x="176" y="108"/>
                  </a:lnTo>
                  <a:lnTo>
                    <a:pt x="180" y="108"/>
                  </a:lnTo>
                  <a:lnTo>
                    <a:pt x="182" y="106"/>
                  </a:lnTo>
                  <a:lnTo>
                    <a:pt x="182" y="102"/>
                  </a:lnTo>
                  <a:lnTo>
                    <a:pt x="176" y="98"/>
                  </a:lnTo>
                  <a:lnTo>
                    <a:pt x="166" y="94"/>
                  </a:lnTo>
                  <a:lnTo>
                    <a:pt x="150" y="90"/>
                  </a:lnTo>
                  <a:lnTo>
                    <a:pt x="126" y="86"/>
                  </a:lnTo>
                  <a:lnTo>
                    <a:pt x="122" y="88"/>
                  </a:lnTo>
                  <a:lnTo>
                    <a:pt x="120" y="90"/>
                  </a:lnTo>
                  <a:lnTo>
                    <a:pt x="118" y="92"/>
                  </a:lnTo>
                  <a:lnTo>
                    <a:pt x="114" y="94"/>
                  </a:lnTo>
                  <a:lnTo>
                    <a:pt x="108" y="98"/>
                  </a:lnTo>
                  <a:lnTo>
                    <a:pt x="96" y="100"/>
                  </a:lnTo>
                  <a:lnTo>
                    <a:pt x="64" y="104"/>
                  </a:lnTo>
                  <a:lnTo>
                    <a:pt x="42" y="108"/>
                  </a:lnTo>
                  <a:lnTo>
                    <a:pt x="34" y="110"/>
                  </a:lnTo>
                  <a:lnTo>
                    <a:pt x="32" y="112"/>
                  </a:lnTo>
                  <a:lnTo>
                    <a:pt x="36" y="114"/>
                  </a:lnTo>
                  <a:lnTo>
                    <a:pt x="46" y="116"/>
                  </a:lnTo>
                  <a:close/>
                  <a:moveTo>
                    <a:pt x="202" y="100"/>
                  </a:moveTo>
                  <a:lnTo>
                    <a:pt x="202" y="100"/>
                  </a:lnTo>
                  <a:lnTo>
                    <a:pt x="210" y="106"/>
                  </a:lnTo>
                  <a:lnTo>
                    <a:pt x="210" y="108"/>
                  </a:lnTo>
                  <a:lnTo>
                    <a:pt x="210" y="112"/>
                  </a:lnTo>
                  <a:lnTo>
                    <a:pt x="208" y="114"/>
                  </a:lnTo>
                  <a:lnTo>
                    <a:pt x="202" y="116"/>
                  </a:lnTo>
                  <a:lnTo>
                    <a:pt x="178" y="118"/>
                  </a:lnTo>
                  <a:lnTo>
                    <a:pt x="152" y="118"/>
                  </a:lnTo>
                  <a:lnTo>
                    <a:pt x="136" y="118"/>
                  </a:lnTo>
                  <a:lnTo>
                    <a:pt x="132" y="120"/>
                  </a:lnTo>
                  <a:lnTo>
                    <a:pt x="134" y="124"/>
                  </a:lnTo>
                  <a:lnTo>
                    <a:pt x="140" y="126"/>
                  </a:lnTo>
                  <a:lnTo>
                    <a:pt x="146" y="132"/>
                  </a:lnTo>
                  <a:lnTo>
                    <a:pt x="146" y="134"/>
                  </a:lnTo>
                  <a:lnTo>
                    <a:pt x="144" y="134"/>
                  </a:lnTo>
                  <a:lnTo>
                    <a:pt x="124" y="132"/>
                  </a:lnTo>
                  <a:lnTo>
                    <a:pt x="110" y="132"/>
                  </a:lnTo>
                  <a:lnTo>
                    <a:pt x="100" y="132"/>
                  </a:lnTo>
                  <a:lnTo>
                    <a:pt x="96" y="134"/>
                  </a:lnTo>
                  <a:lnTo>
                    <a:pt x="96" y="136"/>
                  </a:lnTo>
                  <a:lnTo>
                    <a:pt x="100" y="140"/>
                  </a:lnTo>
                  <a:lnTo>
                    <a:pt x="110" y="144"/>
                  </a:lnTo>
                  <a:lnTo>
                    <a:pt x="118" y="148"/>
                  </a:lnTo>
                  <a:lnTo>
                    <a:pt x="122" y="148"/>
                  </a:lnTo>
                  <a:lnTo>
                    <a:pt x="128" y="144"/>
                  </a:lnTo>
                  <a:lnTo>
                    <a:pt x="140" y="140"/>
                  </a:lnTo>
                  <a:lnTo>
                    <a:pt x="146" y="140"/>
                  </a:lnTo>
                  <a:lnTo>
                    <a:pt x="148" y="140"/>
                  </a:lnTo>
                  <a:lnTo>
                    <a:pt x="146" y="146"/>
                  </a:lnTo>
                  <a:lnTo>
                    <a:pt x="146" y="150"/>
                  </a:lnTo>
                  <a:lnTo>
                    <a:pt x="146" y="152"/>
                  </a:lnTo>
                  <a:lnTo>
                    <a:pt x="150" y="152"/>
                  </a:lnTo>
                  <a:lnTo>
                    <a:pt x="160" y="150"/>
                  </a:lnTo>
                  <a:lnTo>
                    <a:pt x="168" y="148"/>
                  </a:lnTo>
                  <a:lnTo>
                    <a:pt x="176" y="146"/>
                  </a:lnTo>
                  <a:lnTo>
                    <a:pt x="184" y="148"/>
                  </a:lnTo>
                  <a:lnTo>
                    <a:pt x="190" y="150"/>
                  </a:lnTo>
                  <a:lnTo>
                    <a:pt x="192" y="150"/>
                  </a:lnTo>
                  <a:lnTo>
                    <a:pt x="196" y="148"/>
                  </a:lnTo>
                  <a:lnTo>
                    <a:pt x="200" y="144"/>
                  </a:lnTo>
                  <a:lnTo>
                    <a:pt x="198" y="142"/>
                  </a:lnTo>
                  <a:lnTo>
                    <a:pt x="192" y="140"/>
                  </a:lnTo>
                  <a:lnTo>
                    <a:pt x="184" y="138"/>
                  </a:lnTo>
                  <a:lnTo>
                    <a:pt x="184" y="136"/>
                  </a:lnTo>
                  <a:lnTo>
                    <a:pt x="186" y="134"/>
                  </a:lnTo>
                  <a:lnTo>
                    <a:pt x="196" y="130"/>
                  </a:lnTo>
                  <a:lnTo>
                    <a:pt x="206" y="130"/>
                  </a:lnTo>
                  <a:lnTo>
                    <a:pt x="216" y="128"/>
                  </a:lnTo>
                  <a:lnTo>
                    <a:pt x="220" y="126"/>
                  </a:lnTo>
                  <a:lnTo>
                    <a:pt x="226" y="124"/>
                  </a:lnTo>
                  <a:lnTo>
                    <a:pt x="230" y="120"/>
                  </a:lnTo>
                  <a:lnTo>
                    <a:pt x="234" y="118"/>
                  </a:lnTo>
                  <a:lnTo>
                    <a:pt x="246" y="118"/>
                  </a:lnTo>
                  <a:lnTo>
                    <a:pt x="262" y="118"/>
                  </a:lnTo>
                  <a:lnTo>
                    <a:pt x="286" y="114"/>
                  </a:lnTo>
                  <a:lnTo>
                    <a:pt x="298" y="112"/>
                  </a:lnTo>
                  <a:lnTo>
                    <a:pt x="304" y="108"/>
                  </a:lnTo>
                  <a:lnTo>
                    <a:pt x="306" y="104"/>
                  </a:lnTo>
                  <a:lnTo>
                    <a:pt x="304" y="102"/>
                  </a:lnTo>
                  <a:lnTo>
                    <a:pt x="298" y="98"/>
                  </a:lnTo>
                  <a:lnTo>
                    <a:pt x="290" y="96"/>
                  </a:lnTo>
                  <a:lnTo>
                    <a:pt x="280" y="96"/>
                  </a:lnTo>
                  <a:lnTo>
                    <a:pt x="270" y="98"/>
                  </a:lnTo>
                  <a:lnTo>
                    <a:pt x="256" y="98"/>
                  </a:lnTo>
                  <a:lnTo>
                    <a:pt x="258" y="98"/>
                  </a:lnTo>
                  <a:lnTo>
                    <a:pt x="260" y="96"/>
                  </a:lnTo>
                  <a:lnTo>
                    <a:pt x="262" y="94"/>
                  </a:lnTo>
                  <a:lnTo>
                    <a:pt x="262" y="92"/>
                  </a:lnTo>
                  <a:lnTo>
                    <a:pt x="258" y="90"/>
                  </a:lnTo>
                  <a:lnTo>
                    <a:pt x="250" y="88"/>
                  </a:lnTo>
                  <a:lnTo>
                    <a:pt x="228" y="88"/>
                  </a:lnTo>
                  <a:lnTo>
                    <a:pt x="208" y="90"/>
                  </a:lnTo>
                  <a:lnTo>
                    <a:pt x="202" y="92"/>
                  </a:lnTo>
                  <a:lnTo>
                    <a:pt x="198" y="96"/>
                  </a:lnTo>
                  <a:lnTo>
                    <a:pt x="198" y="98"/>
                  </a:lnTo>
                  <a:lnTo>
                    <a:pt x="202" y="100"/>
                  </a:lnTo>
                  <a:close/>
                  <a:moveTo>
                    <a:pt x="272" y="70"/>
                  </a:moveTo>
                  <a:lnTo>
                    <a:pt x="272" y="70"/>
                  </a:lnTo>
                  <a:lnTo>
                    <a:pt x="276" y="66"/>
                  </a:lnTo>
                  <a:lnTo>
                    <a:pt x="278" y="64"/>
                  </a:lnTo>
                  <a:lnTo>
                    <a:pt x="276" y="62"/>
                  </a:lnTo>
                  <a:lnTo>
                    <a:pt x="274" y="60"/>
                  </a:lnTo>
                  <a:lnTo>
                    <a:pt x="268" y="60"/>
                  </a:lnTo>
                  <a:lnTo>
                    <a:pt x="262" y="60"/>
                  </a:lnTo>
                  <a:lnTo>
                    <a:pt x="256" y="62"/>
                  </a:lnTo>
                  <a:lnTo>
                    <a:pt x="250" y="66"/>
                  </a:lnTo>
                  <a:lnTo>
                    <a:pt x="246" y="72"/>
                  </a:lnTo>
                  <a:lnTo>
                    <a:pt x="244" y="76"/>
                  </a:lnTo>
                  <a:lnTo>
                    <a:pt x="244" y="78"/>
                  </a:lnTo>
                  <a:lnTo>
                    <a:pt x="248" y="78"/>
                  </a:lnTo>
                  <a:lnTo>
                    <a:pt x="258" y="74"/>
                  </a:lnTo>
                  <a:lnTo>
                    <a:pt x="272" y="70"/>
                  </a:lnTo>
                  <a:close/>
                  <a:moveTo>
                    <a:pt x="228" y="142"/>
                  </a:moveTo>
                  <a:lnTo>
                    <a:pt x="228" y="142"/>
                  </a:lnTo>
                  <a:lnTo>
                    <a:pt x="222" y="144"/>
                  </a:lnTo>
                  <a:lnTo>
                    <a:pt x="220" y="146"/>
                  </a:lnTo>
                  <a:lnTo>
                    <a:pt x="218" y="150"/>
                  </a:lnTo>
                  <a:lnTo>
                    <a:pt x="220" y="152"/>
                  </a:lnTo>
                  <a:lnTo>
                    <a:pt x="222" y="156"/>
                  </a:lnTo>
                  <a:lnTo>
                    <a:pt x="226" y="156"/>
                  </a:lnTo>
                  <a:lnTo>
                    <a:pt x="232" y="156"/>
                  </a:lnTo>
                  <a:lnTo>
                    <a:pt x="238" y="154"/>
                  </a:lnTo>
                  <a:lnTo>
                    <a:pt x="246" y="148"/>
                  </a:lnTo>
                  <a:lnTo>
                    <a:pt x="248" y="144"/>
                  </a:lnTo>
                  <a:lnTo>
                    <a:pt x="248" y="142"/>
                  </a:lnTo>
                  <a:lnTo>
                    <a:pt x="246" y="140"/>
                  </a:lnTo>
                  <a:lnTo>
                    <a:pt x="242" y="138"/>
                  </a:lnTo>
                  <a:lnTo>
                    <a:pt x="228" y="142"/>
                  </a:lnTo>
                  <a:close/>
                  <a:moveTo>
                    <a:pt x="790" y="22"/>
                  </a:moveTo>
                  <a:lnTo>
                    <a:pt x="790" y="22"/>
                  </a:lnTo>
                  <a:lnTo>
                    <a:pt x="792" y="20"/>
                  </a:lnTo>
                  <a:lnTo>
                    <a:pt x="792" y="18"/>
                  </a:lnTo>
                  <a:lnTo>
                    <a:pt x="788" y="14"/>
                  </a:lnTo>
                  <a:lnTo>
                    <a:pt x="780" y="12"/>
                  </a:lnTo>
                  <a:lnTo>
                    <a:pt x="770" y="12"/>
                  </a:lnTo>
                  <a:lnTo>
                    <a:pt x="748" y="12"/>
                  </a:lnTo>
                  <a:lnTo>
                    <a:pt x="736" y="14"/>
                  </a:lnTo>
                  <a:lnTo>
                    <a:pt x="728" y="18"/>
                  </a:lnTo>
                  <a:lnTo>
                    <a:pt x="726" y="18"/>
                  </a:lnTo>
                  <a:lnTo>
                    <a:pt x="726" y="20"/>
                  </a:lnTo>
                  <a:lnTo>
                    <a:pt x="730" y="22"/>
                  </a:lnTo>
                  <a:lnTo>
                    <a:pt x="750" y="26"/>
                  </a:lnTo>
                  <a:lnTo>
                    <a:pt x="774" y="26"/>
                  </a:lnTo>
                  <a:lnTo>
                    <a:pt x="784" y="26"/>
                  </a:lnTo>
                  <a:lnTo>
                    <a:pt x="790" y="22"/>
                  </a:lnTo>
                  <a:close/>
                  <a:moveTo>
                    <a:pt x="596" y="154"/>
                  </a:moveTo>
                  <a:lnTo>
                    <a:pt x="596" y="154"/>
                  </a:lnTo>
                  <a:lnTo>
                    <a:pt x="588" y="158"/>
                  </a:lnTo>
                  <a:lnTo>
                    <a:pt x="586" y="160"/>
                  </a:lnTo>
                  <a:lnTo>
                    <a:pt x="588" y="162"/>
                  </a:lnTo>
                  <a:lnTo>
                    <a:pt x="592" y="164"/>
                  </a:lnTo>
                  <a:lnTo>
                    <a:pt x="608" y="164"/>
                  </a:lnTo>
                  <a:lnTo>
                    <a:pt x="628" y="164"/>
                  </a:lnTo>
                  <a:lnTo>
                    <a:pt x="634" y="162"/>
                  </a:lnTo>
                  <a:lnTo>
                    <a:pt x="638" y="160"/>
                  </a:lnTo>
                  <a:lnTo>
                    <a:pt x="636" y="158"/>
                  </a:lnTo>
                  <a:lnTo>
                    <a:pt x="632" y="156"/>
                  </a:lnTo>
                  <a:lnTo>
                    <a:pt x="618" y="152"/>
                  </a:lnTo>
                  <a:lnTo>
                    <a:pt x="610" y="152"/>
                  </a:lnTo>
                  <a:lnTo>
                    <a:pt x="600" y="154"/>
                  </a:lnTo>
                  <a:lnTo>
                    <a:pt x="596" y="154"/>
                  </a:lnTo>
                  <a:close/>
                  <a:moveTo>
                    <a:pt x="482" y="98"/>
                  </a:moveTo>
                  <a:lnTo>
                    <a:pt x="482" y="98"/>
                  </a:lnTo>
                  <a:lnTo>
                    <a:pt x="460" y="100"/>
                  </a:lnTo>
                  <a:lnTo>
                    <a:pt x="458" y="102"/>
                  </a:lnTo>
                  <a:lnTo>
                    <a:pt x="462" y="106"/>
                  </a:lnTo>
                  <a:lnTo>
                    <a:pt x="470" y="108"/>
                  </a:lnTo>
                  <a:lnTo>
                    <a:pt x="482" y="108"/>
                  </a:lnTo>
                  <a:lnTo>
                    <a:pt x="510" y="106"/>
                  </a:lnTo>
                  <a:lnTo>
                    <a:pt x="514" y="106"/>
                  </a:lnTo>
                  <a:lnTo>
                    <a:pt x="516" y="104"/>
                  </a:lnTo>
                  <a:lnTo>
                    <a:pt x="508" y="100"/>
                  </a:lnTo>
                  <a:lnTo>
                    <a:pt x="496" y="98"/>
                  </a:lnTo>
                  <a:lnTo>
                    <a:pt x="482" y="98"/>
                  </a:lnTo>
                  <a:close/>
                  <a:moveTo>
                    <a:pt x="796" y="100"/>
                  </a:moveTo>
                  <a:lnTo>
                    <a:pt x="796" y="100"/>
                  </a:lnTo>
                  <a:lnTo>
                    <a:pt x="822" y="96"/>
                  </a:lnTo>
                  <a:lnTo>
                    <a:pt x="842" y="92"/>
                  </a:lnTo>
                  <a:lnTo>
                    <a:pt x="848" y="90"/>
                  </a:lnTo>
                  <a:lnTo>
                    <a:pt x="854" y="88"/>
                  </a:lnTo>
                  <a:lnTo>
                    <a:pt x="856" y="84"/>
                  </a:lnTo>
                  <a:lnTo>
                    <a:pt x="858" y="78"/>
                  </a:lnTo>
                  <a:lnTo>
                    <a:pt x="856" y="70"/>
                  </a:lnTo>
                  <a:lnTo>
                    <a:pt x="852" y="66"/>
                  </a:lnTo>
                  <a:lnTo>
                    <a:pt x="844" y="62"/>
                  </a:lnTo>
                  <a:lnTo>
                    <a:pt x="836" y="60"/>
                  </a:lnTo>
                  <a:lnTo>
                    <a:pt x="828" y="60"/>
                  </a:lnTo>
                  <a:lnTo>
                    <a:pt x="820" y="60"/>
                  </a:lnTo>
                  <a:lnTo>
                    <a:pt x="812" y="62"/>
                  </a:lnTo>
                  <a:lnTo>
                    <a:pt x="806" y="66"/>
                  </a:lnTo>
                  <a:lnTo>
                    <a:pt x="800" y="70"/>
                  </a:lnTo>
                  <a:lnTo>
                    <a:pt x="796" y="72"/>
                  </a:lnTo>
                  <a:lnTo>
                    <a:pt x="784" y="74"/>
                  </a:lnTo>
                  <a:lnTo>
                    <a:pt x="768" y="76"/>
                  </a:lnTo>
                  <a:lnTo>
                    <a:pt x="758" y="80"/>
                  </a:lnTo>
                  <a:lnTo>
                    <a:pt x="748" y="86"/>
                  </a:lnTo>
                  <a:lnTo>
                    <a:pt x="742" y="90"/>
                  </a:lnTo>
                  <a:lnTo>
                    <a:pt x="740" y="94"/>
                  </a:lnTo>
                  <a:lnTo>
                    <a:pt x="742" y="98"/>
                  </a:lnTo>
                  <a:lnTo>
                    <a:pt x="748" y="100"/>
                  </a:lnTo>
                  <a:lnTo>
                    <a:pt x="758" y="102"/>
                  </a:lnTo>
                  <a:lnTo>
                    <a:pt x="768" y="102"/>
                  </a:lnTo>
                  <a:lnTo>
                    <a:pt x="796" y="100"/>
                  </a:lnTo>
                  <a:close/>
                  <a:moveTo>
                    <a:pt x="506" y="132"/>
                  </a:moveTo>
                  <a:lnTo>
                    <a:pt x="506" y="132"/>
                  </a:lnTo>
                  <a:lnTo>
                    <a:pt x="494" y="134"/>
                  </a:lnTo>
                  <a:lnTo>
                    <a:pt x="482" y="132"/>
                  </a:lnTo>
                  <a:lnTo>
                    <a:pt x="476" y="134"/>
                  </a:lnTo>
                  <a:lnTo>
                    <a:pt x="472" y="136"/>
                  </a:lnTo>
                  <a:lnTo>
                    <a:pt x="468" y="140"/>
                  </a:lnTo>
                  <a:lnTo>
                    <a:pt x="466" y="148"/>
                  </a:lnTo>
                  <a:lnTo>
                    <a:pt x="466" y="154"/>
                  </a:lnTo>
                  <a:lnTo>
                    <a:pt x="468" y="156"/>
                  </a:lnTo>
                  <a:lnTo>
                    <a:pt x="472" y="158"/>
                  </a:lnTo>
                  <a:lnTo>
                    <a:pt x="478" y="158"/>
                  </a:lnTo>
                  <a:lnTo>
                    <a:pt x="494" y="158"/>
                  </a:lnTo>
                  <a:lnTo>
                    <a:pt x="512" y="158"/>
                  </a:lnTo>
                  <a:lnTo>
                    <a:pt x="520" y="156"/>
                  </a:lnTo>
                  <a:lnTo>
                    <a:pt x="524" y="154"/>
                  </a:lnTo>
                  <a:lnTo>
                    <a:pt x="526" y="150"/>
                  </a:lnTo>
                  <a:lnTo>
                    <a:pt x="524" y="144"/>
                  </a:lnTo>
                  <a:lnTo>
                    <a:pt x="522" y="138"/>
                  </a:lnTo>
                  <a:lnTo>
                    <a:pt x="516" y="134"/>
                  </a:lnTo>
                  <a:lnTo>
                    <a:pt x="512" y="132"/>
                  </a:lnTo>
                  <a:lnTo>
                    <a:pt x="506" y="132"/>
                  </a:lnTo>
                  <a:close/>
                  <a:moveTo>
                    <a:pt x="456" y="58"/>
                  </a:moveTo>
                  <a:lnTo>
                    <a:pt x="456" y="58"/>
                  </a:lnTo>
                  <a:lnTo>
                    <a:pt x="460" y="58"/>
                  </a:lnTo>
                  <a:lnTo>
                    <a:pt x="464" y="58"/>
                  </a:lnTo>
                  <a:lnTo>
                    <a:pt x="470" y="58"/>
                  </a:lnTo>
                  <a:lnTo>
                    <a:pt x="480" y="58"/>
                  </a:lnTo>
                  <a:lnTo>
                    <a:pt x="486" y="58"/>
                  </a:lnTo>
                  <a:lnTo>
                    <a:pt x="492" y="62"/>
                  </a:lnTo>
                  <a:lnTo>
                    <a:pt x="496" y="64"/>
                  </a:lnTo>
                  <a:lnTo>
                    <a:pt x="500" y="64"/>
                  </a:lnTo>
                  <a:lnTo>
                    <a:pt x="508" y="60"/>
                  </a:lnTo>
                  <a:lnTo>
                    <a:pt x="524" y="56"/>
                  </a:lnTo>
                  <a:lnTo>
                    <a:pt x="548" y="52"/>
                  </a:lnTo>
                  <a:lnTo>
                    <a:pt x="552" y="52"/>
                  </a:lnTo>
                  <a:lnTo>
                    <a:pt x="550" y="50"/>
                  </a:lnTo>
                  <a:lnTo>
                    <a:pt x="540" y="48"/>
                  </a:lnTo>
                  <a:lnTo>
                    <a:pt x="498" y="44"/>
                  </a:lnTo>
                  <a:lnTo>
                    <a:pt x="492" y="44"/>
                  </a:lnTo>
                  <a:lnTo>
                    <a:pt x="488" y="44"/>
                  </a:lnTo>
                  <a:lnTo>
                    <a:pt x="488" y="46"/>
                  </a:lnTo>
                  <a:lnTo>
                    <a:pt x="490" y="48"/>
                  </a:lnTo>
                  <a:lnTo>
                    <a:pt x="494" y="52"/>
                  </a:lnTo>
                  <a:lnTo>
                    <a:pt x="492" y="54"/>
                  </a:lnTo>
                  <a:lnTo>
                    <a:pt x="488" y="54"/>
                  </a:lnTo>
                  <a:lnTo>
                    <a:pt x="462" y="52"/>
                  </a:lnTo>
                  <a:lnTo>
                    <a:pt x="454" y="54"/>
                  </a:lnTo>
                  <a:lnTo>
                    <a:pt x="454" y="56"/>
                  </a:lnTo>
                  <a:lnTo>
                    <a:pt x="456" y="58"/>
                  </a:lnTo>
                  <a:close/>
                  <a:moveTo>
                    <a:pt x="678" y="84"/>
                  </a:moveTo>
                  <a:lnTo>
                    <a:pt x="678" y="84"/>
                  </a:lnTo>
                  <a:lnTo>
                    <a:pt x="688" y="82"/>
                  </a:lnTo>
                  <a:lnTo>
                    <a:pt x="696" y="78"/>
                  </a:lnTo>
                  <a:lnTo>
                    <a:pt x="704" y="74"/>
                  </a:lnTo>
                  <a:lnTo>
                    <a:pt x="710" y="70"/>
                  </a:lnTo>
                  <a:lnTo>
                    <a:pt x="710" y="68"/>
                  </a:lnTo>
                  <a:lnTo>
                    <a:pt x="710" y="66"/>
                  </a:lnTo>
                  <a:lnTo>
                    <a:pt x="704" y="64"/>
                  </a:lnTo>
                  <a:lnTo>
                    <a:pt x="692" y="64"/>
                  </a:lnTo>
                  <a:lnTo>
                    <a:pt x="670" y="68"/>
                  </a:lnTo>
                  <a:lnTo>
                    <a:pt x="654" y="72"/>
                  </a:lnTo>
                  <a:lnTo>
                    <a:pt x="646" y="76"/>
                  </a:lnTo>
                  <a:lnTo>
                    <a:pt x="644" y="80"/>
                  </a:lnTo>
                  <a:lnTo>
                    <a:pt x="646" y="82"/>
                  </a:lnTo>
                  <a:lnTo>
                    <a:pt x="658" y="84"/>
                  </a:lnTo>
                  <a:lnTo>
                    <a:pt x="678" y="84"/>
                  </a:lnTo>
                  <a:close/>
                  <a:moveTo>
                    <a:pt x="568" y="44"/>
                  </a:moveTo>
                  <a:lnTo>
                    <a:pt x="568" y="44"/>
                  </a:lnTo>
                  <a:lnTo>
                    <a:pt x="580" y="44"/>
                  </a:lnTo>
                  <a:lnTo>
                    <a:pt x="582" y="44"/>
                  </a:lnTo>
                  <a:lnTo>
                    <a:pt x="580" y="42"/>
                  </a:lnTo>
                  <a:lnTo>
                    <a:pt x="570" y="38"/>
                  </a:lnTo>
                  <a:lnTo>
                    <a:pt x="556" y="34"/>
                  </a:lnTo>
                  <a:lnTo>
                    <a:pt x="544" y="30"/>
                  </a:lnTo>
                  <a:lnTo>
                    <a:pt x="536" y="28"/>
                  </a:lnTo>
                  <a:lnTo>
                    <a:pt x="528" y="30"/>
                  </a:lnTo>
                  <a:lnTo>
                    <a:pt x="518" y="34"/>
                  </a:lnTo>
                  <a:lnTo>
                    <a:pt x="510" y="38"/>
                  </a:lnTo>
                  <a:lnTo>
                    <a:pt x="508" y="40"/>
                  </a:lnTo>
                  <a:lnTo>
                    <a:pt x="510" y="40"/>
                  </a:lnTo>
                  <a:lnTo>
                    <a:pt x="520" y="40"/>
                  </a:lnTo>
                  <a:lnTo>
                    <a:pt x="542" y="42"/>
                  </a:lnTo>
                  <a:lnTo>
                    <a:pt x="568" y="44"/>
                  </a:lnTo>
                  <a:close/>
                  <a:moveTo>
                    <a:pt x="672" y="122"/>
                  </a:moveTo>
                  <a:lnTo>
                    <a:pt x="672" y="122"/>
                  </a:lnTo>
                  <a:lnTo>
                    <a:pt x="682" y="124"/>
                  </a:lnTo>
                  <a:lnTo>
                    <a:pt x="690" y="124"/>
                  </a:lnTo>
                  <a:lnTo>
                    <a:pt x="694" y="124"/>
                  </a:lnTo>
                  <a:lnTo>
                    <a:pt x="698" y="120"/>
                  </a:lnTo>
                  <a:lnTo>
                    <a:pt x="706" y="116"/>
                  </a:lnTo>
                  <a:lnTo>
                    <a:pt x="710" y="112"/>
                  </a:lnTo>
                  <a:lnTo>
                    <a:pt x="718" y="112"/>
                  </a:lnTo>
                  <a:lnTo>
                    <a:pt x="724" y="110"/>
                  </a:lnTo>
                  <a:lnTo>
                    <a:pt x="728" y="106"/>
                  </a:lnTo>
                  <a:lnTo>
                    <a:pt x="730" y="100"/>
                  </a:lnTo>
                  <a:lnTo>
                    <a:pt x="728" y="94"/>
                  </a:lnTo>
                  <a:lnTo>
                    <a:pt x="724" y="88"/>
                  </a:lnTo>
                  <a:lnTo>
                    <a:pt x="716" y="84"/>
                  </a:lnTo>
                  <a:lnTo>
                    <a:pt x="704" y="84"/>
                  </a:lnTo>
                  <a:lnTo>
                    <a:pt x="688" y="88"/>
                  </a:lnTo>
                  <a:lnTo>
                    <a:pt x="670" y="94"/>
                  </a:lnTo>
                  <a:lnTo>
                    <a:pt x="656" y="94"/>
                  </a:lnTo>
                  <a:lnTo>
                    <a:pt x="644" y="92"/>
                  </a:lnTo>
                  <a:lnTo>
                    <a:pt x="634" y="90"/>
                  </a:lnTo>
                  <a:lnTo>
                    <a:pt x="626" y="90"/>
                  </a:lnTo>
                  <a:lnTo>
                    <a:pt x="620" y="90"/>
                  </a:lnTo>
                  <a:lnTo>
                    <a:pt x="614" y="94"/>
                  </a:lnTo>
                  <a:lnTo>
                    <a:pt x="608" y="104"/>
                  </a:lnTo>
                  <a:lnTo>
                    <a:pt x="606" y="116"/>
                  </a:lnTo>
                  <a:lnTo>
                    <a:pt x="606" y="118"/>
                  </a:lnTo>
                  <a:lnTo>
                    <a:pt x="608" y="122"/>
                  </a:lnTo>
                  <a:lnTo>
                    <a:pt x="614" y="124"/>
                  </a:lnTo>
                  <a:lnTo>
                    <a:pt x="622" y="124"/>
                  </a:lnTo>
                  <a:lnTo>
                    <a:pt x="646" y="120"/>
                  </a:lnTo>
                  <a:lnTo>
                    <a:pt x="660" y="120"/>
                  </a:lnTo>
                  <a:lnTo>
                    <a:pt x="672" y="122"/>
                  </a:lnTo>
                  <a:close/>
                  <a:moveTo>
                    <a:pt x="4428" y="2314"/>
                  </a:moveTo>
                  <a:lnTo>
                    <a:pt x="4428" y="2314"/>
                  </a:lnTo>
                  <a:lnTo>
                    <a:pt x="4426" y="2314"/>
                  </a:lnTo>
                  <a:lnTo>
                    <a:pt x="4428" y="2314"/>
                  </a:lnTo>
                  <a:lnTo>
                    <a:pt x="4432" y="2310"/>
                  </a:lnTo>
                  <a:lnTo>
                    <a:pt x="4436" y="2306"/>
                  </a:lnTo>
                  <a:lnTo>
                    <a:pt x="4436" y="2302"/>
                  </a:lnTo>
                  <a:lnTo>
                    <a:pt x="4432" y="2304"/>
                  </a:lnTo>
                  <a:lnTo>
                    <a:pt x="4428" y="2314"/>
                  </a:lnTo>
                  <a:close/>
                  <a:moveTo>
                    <a:pt x="4510" y="2192"/>
                  </a:moveTo>
                  <a:lnTo>
                    <a:pt x="4510" y="2192"/>
                  </a:lnTo>
                  <a:lnTo>
                    <a:pt x="4508" y="2194"/>
                  </a:lnTo>
                  <a:lnTo>
                    <a:pt x="4506" y="2196"/>
                  </a:lnTo>
                  <a:lnTo>
                    <a:pt x="4502" y="2202"/>
                  </a:lnTo>
                  <a:lnTo>
                    <a:pt x="4498" y="2210"/>
                  </a:lnTo>
                  <a:lnTo>
                    <a:pt x="4496" y="2214"/>
                  </a:lnTo>
                  <a:lnTo>
                    <a:pt x="4492" y="2216"/>
                  </a:lnTo>
                  <a:lnTo>
                    <a:pt x="4482" y="2220"/>
                  </a:lnTo>
                  <a:lnTo>
                    <a:pt x="4476" y="2224"/>
                  </a:lnTo>
                  <a:lnTo>
                    <a:pt x="4476" y="2226"/>
                  </a:lnTo>
                  <a:lnTo>
                    <a:pt x="4474" y="2228"/>
                  </a:lnTo>
                  <a:lnTo>
                    <a:pt x="4478" y="2236"/>
                  </a:lnTo>
                  <a:lnTo>
                    <a:pt x="4480" y="2238"/>
                  </a:lnTo>
                  <a:lnTo>
                    <a:pt x="4482" y="2238"/>
                  </a:lnTo>
                  <a:lnTo>
                    <a:pt x="4484" y="2236"/>
                  </a:lnTo>
                  <a:lnTo>
                    <a:pt x="4490" y="2230"/>
                  </a:lnTo>
                  <a:lnTo>
                    <a:pt x="4494" y="2228"/>
                  </a:lnTo>
                  <a:lnTo>
                    <a:pt x="4498" y="2226"/>
                  </a:lnTo>
                  <a:lnTo>
                    <a:pt x="4504" y="2224"/>
                  </a:lnTo>
                  <a:lnTo>
                    <a:pt x="4508" y="2220"/>
                  </a:lnTo>
                  <a:lnTo>
                    <a:pt x="4510" y="2214"/>
                  </a:lnTo>
                  <a:lnTo>
                    <a:pt x="4512" y="2208"/>
                  </a:lnTo>
                  <a:lnTo>
                    <a:pt x="4512" y="2198"/>
                  </a:lnTo>
                  <a:lnTo>
                    <a:pt x="4512" y="2194"/>
                  </a:lnTo>
                  <a:lnTo>
                    <a:pt x="4510" y="2192"/>
                  </a:lnTo>
                  <a:close/>
                  <a:moveTo>
                    <a:pt x="4462" y="2262"/>
                  </a:moveTo>
                  <a:lnTo>
                    <a:pt x="4462" y="2262"/>
                  </a:lnTo>
                  <a:lnTo>
                    <a:pt x="4460" y="2260"/>
                  </a:lnTo>
                  <a:lnTo>
                    <a:pt x="4456" y="2262"/>
                  </a:lnTo>
                  <a:lnTo>
                    <a:pt x="4452" y="2272"/>
                  </a:lnTo>
                  <a:lnTo>
                    <a:pt x="4448" y="2284"/>
                  </a:lnTo>
                  <a:lnTo>
                    <a:pt x="4448" y="2292"/>
                  </a:lnTo>
                  <a:lnTo>
                    <a:pt x="4448" y="2294"/>
                  </a:lnTo>
                  <a:lnTo>
                    <a:pt x="4452" y="2292"/>
                  </a:lnTo>
                  <a:lnTo>
                    <a:pt x="4458" y="2282"/>
                  </a:lnTo>
                  <a:lnTo>
                    <a:pt x="4462" y="2272"/>
                  </a:lnTo>
                  <a:lnTo>
                    <a:pt x="4462" y="2266"/>
                  </a:lnTo>
                  <a:lnTo>
                    <a:pt x="4462" y="2262"/>
                  </a:lnTo>
                  <a:close/>
                  <a:moveTo>
                    <a:pt x="4486" y="4072"/>
                  </a:moveTo>
                  <a:lnTo>
                    <a:pt x="4486" y="4072"/>
                  </a:lnTo>
                  <a:lnTo>
                    <a:pt x="4482" y="4070"/>
                  </a:lnTo>
                  <a:lnTo>
                    <a:pt x="4482" y="4068"/>
                  </a:lnTo>
                  <a:lnTo>
                    <a:pt x="4480" y="4066"/>
                  </a:lnTo>
                  <a:lnTo>
                    <a:pt x="4478" y="4064"/>
                  </a:lnTo>
                  <a:lnTo>
                    <a:pt x="4474" y="4064"/>
                  </a:lnTo>
                  <a:lnTo>
                    <a:pt x="4470" y="4064"/>
                  </a:lnTo>
                  <a:lnTo>
                    <a:pt x="4460" y="4068"/>
                  </a:lnTo>
                  <a:lnTo>
                    <a:pt x="4450" y="4076"/>
                  </a:lnTo>
                  <a:lnTo>
                    <a:pt x="4448" y="4080"/>
                  </a:lnTo>
                  <a:lnTo>
                    <a:pt x="4448" y="4084"/>
                  </a:lnTo>
                  <a:lnTo>
                    <a:pt x="4446" y="4088"/>
                  </a:lnTo>
                  <a:lnTo>
                    <a:pt x="4442" y="4094"/>
                  </a:lnTo>
                  <a:lnTo>
                    <a:pt x="4440" y="4100"/>
                  </a:lnTo>
                  <a:lnTo>
                    <a:pt x="4438" y="4104"/>
                  </a:lnTo>
                  <a:lnTo>
                    <a:pt x="4440" y="4106"/>
                  </a:lnTo>
                  <a:lnTo>
                    <a:pt x="4442" y="4104"/>
                  </a:lnTo>
                  <a:lnTo>
                    <a:pt x="4448" y="4104"/>
                  </a:lnTo>
                  <a:lnTo>
                    <a:pt x="4458" y="4106"/>
                  </a:lnTo>
                  <a:lnTo>
                    <a:pt x="4462" y="4106"/>
                  </a:lnTo>
                  <a:lnTo>
                    <a:pt x="4466" y="4106"/>
                  </a:lnTo>
                  <a:lnTo>
                    <a:pt x="4470" y="4102"/>
                  </a:lnTo>
                  <a:lnTo>
                    <a:pt x="4474" y="4098"/>
                  </a:lnTo>
                  <a:lnTo>
                    <a:pt x="4478" y="4094"/>
                  </a:lnTo>
                  <a:lnTo>
                    <a:pt x="4480" y="4092"/>
                  </a:lnTo>
                  <a:lnTo>
                    <a:pt x="4482" y="4090"/>
                  </a:lnTo>
                  <a:lnTo>
                    <a:pt x="4484" y="4082"/>
                  </a:lnTo>
                  <a:lnTo>
                    <a:pt x="4488" y="4074"/>
                  </a:lnTo>
                  <a:lnTo>
                    <a:pt x="4488" y="4072"/>
                  </a:lnTo>
                  <a:lnTo>
                    <a:pt x="4486" y="4072"/>
                  </a:lnTo>
                  <a:close/>
                  <a:moveTo>
                    <a:pt x="2916" y="5240"/>
                  </a:moveTo>
                  <a:lnTo>
                    <a:pt x="2916" y="5240"/>
                  </a:lnTo>
                  <a:lnTo>
                    <a:pt x="2912" y="5240"/>
                  </a:lnTo>
                  <a:lnTo>
                    <a:pt x="2908" y="5240"/>
                  </a:lnTo>
                  <a:lnTo>
                    <a:pt x="2902" y="5244"/>
                  </a:lnTo>
                  <a:lnTo>
                    <a:pt x="2898" y="5248"/>
                  </a:lnTo>
                  <a:lnTo>
                    <a:pt x="2896" y="5252"/>
                  </a:lnTo>
                  <a:lnTo>
                    <a:pt x="2896" y="5260"/>
                  </a:lnTo>
                  <a:lnTo>
                    <a:pt x="2896" y="5264"/>
                  </a:lnTo>
                  <a:lnTo>
                    <a:pt x="2894" y="5266"/>
                  </a:lnTo>
                  <a:lnTo>
                    <a:pt x="2890" y="5266"/>
                  </a:lnTo>
                  <a:lnTo>
                    <a:pt x="2888" y="5270"/>
                  </a:lnTo>
                  <a:lnTo>
                    <a:pt x="2892" y="5272"/>
                  </a:lnTo>
                  <a:lnTo>
                    <a:pt x="2904" y="5274"/>
                  </a:lnTo>
                  <a:lnTo>
                    <a:pt x="2914" y="5274"/>
                  </a:lnTo>
                  <a:lnTo>
                    <a:pt x="2916" y="5272"/>
                  </a:lnTo>
                  <a:lnTo>
                    <a:pt x="2918" y="5272"/>
                  </a:lnTo>
                  <a:lnTo>
                    <a:pt x="2918" y="5266"/>
                  </a:lnTo>
                  <a:lnTo>
                    <a:pt x="2920" y="5258"/>
                  </a:lnTo>
                  <a:lnTo>
                    <a:pt x="2924" y="5250"/>
                  </a:lnTo>
                  <a:lnTo>
                    <a:pt x="2924" y="5246"/>
                  </a:lnTo>
                  <a:lnTo>
                    <a:pt x="2922" y="5242"/>
                  </a:lnTo>
                  <a:lnTo>
                    <a:pt x="2916" y="5240"/>
                  </a:lnTo>
                  <a:close/>
                  <a:moveTo>
                    <a:pt x="2868" y="5234"/>
                  </a:moveTo>
                  <a:lnTo>
                    <a:pt x="2868" y="5234"/>
                  </a:lnTo>
                  <a:lnTo>
                    <a:pt x="2866" y="5232"/>
                  </a:lnTo>
                  <a:lnTo>
                    <a:pt x="2864" y="5232"/>
                  </a:lnTo>
                  <a:lnTo>
                    <a:pt x="2860" y="5234"/>
                  </a:lnTo>
                  <a:lnTo>
                    <a:pt x="2854" y="5238"/>
                  </a:lnTo>
                  <a:lnTo>
                    <a:pt x="2850" y="5238"/>
                  </a:lnTo>
                  <a:lnTo>
                    <a:pt x="2844" y="5236"/>
                  </a:lnTo>
                  <a:lnTo>
                    <a:pt x="2838" y="5234"/>
                  </a:lnTo>
                  <a:lnTo>
                    <a:pt x="2836" y="5234"/>
                  </a:lnTo>
                  <a:lnTo>
                    <a:pt x="2834" y="5236"/>
                  </a:lnTo>
                  <a:lnTo>
                    <a:pt x="2834" y="5240"/>
                  </a:lnTo>
                  <a:lnTo>
                    <a:pt x="2836" y="5246"/>
                  </a:lnTo>
                  <a:lnTo>
                    <a:pt x="2840" y="5248"/>
                  </a:lnTo>
                  <a:lnTo>
                    <a:pt x="2844" y="5250"/>
                  </a:lnTo>
                  <a:lnTo>
                    <a:pt x="2850" y="5252"/>
                  </a:lnTo>
                  <a:lnTo>
                    <a:pt x="2856" y="5256"/>
                  </a:lnTo>
                  <a:lnTo>
                    <a:pt x="2860" y="5262"/>
                  </a:lnTo>
                  <a:lnTo>
                    <a:pt x="2860" y="5266"/>
                  </a:lnTo>
                  <a:lnTo>
                    <a:pt x="2860" y="5270"/>
                  </a:lnTo>
                  <a:lnTo>
                    <a:pt x="2862" y="5270"/>
                  </a:lnTo>
                  <a:lnTo>
                    <a:pt x="2866" y="5270"/>
                  </a:lnTo>
                  <a:lnTo>
                    <a:pt x="2868" y="5266"/>
                  </a:lnTo>
                  <a:lnTo>
                    <a:pt x="2870" y="5260"/>
                  </a:lnTo>
                  <a:lnTo>
                    <a:pt x="2876" y="5254"/>
                  </a:lnTo>
                  <a:lnTo>
                    <a:pt x="2882" y="5250"/>
                  </a:lnTo>
                  <a:lnTo>
                    <a:pt x="2882" y="5246"/>
                  </a:lnTo>
                  <a:lnTo>
                    <a:pt x="2882" y="5244"/>
                  </a:lnTo>
                  <a:lnTo>
                    <a:pt x="2876" y="5240"/>
                  </a:lnTo>
                  <a:lnTo>
                    <a:pt x="2868" y="5234"/>
                  </a:lnTo>
                  <a:close/>
                  <a:moveTo>
                    <a:pt x="2906" y="5026"/>
                  </a:moveTo>
                  <a:lnTo>
                    <a:pt x="2906" y="5026"/>
                  </a:lnTo>
                  <a:lnTo>
                    <a:pt x="2906" y="5016"/>
                  </a:lnTo>
                  <a:lnTo>
                    <a:pt x="2906" y="5006"/>
                  </a:lnTo>
                  <a:lnTo>
                    <a:pt x="2904" y="5000"/>
                  </a:lnTo>
                  <a:lnTo>
                    <a:pt x="2902" y="5000"/>
                  </a:lnTo>
                  <a:lnTo>
                    <a:pt x="2900" y="5002"/>
                  </a:lnTo>
                  <a:lnTo>
                    <a:pt x="2898" y="5010"/>
                  </a:lnTo>
                  <a:lnTo>
                    <a:pt x="2898" y="5018"/>
                  </a:lnTo>
                  <a:lnTo>
                    <a:pt x="2898" y="5026"/>
                  </a:lnTo>
                  <a:lnTo>
                    <a:pt x="2896" y="5036"/>
                  </a:lnTo>
                  <a:lnTo>
                    <a:pt x="2896" y="5038"/>
                  </a:lnTo>
                  <a:lnTo>
                    <a:pt x="2898" y="5038"/>
                  </a:lnTo>
                  <a:lnTo>
                    <a:pt x="2902" y="5034"/>
                  </a:lnTo>
                  <a:lnTo>
                    <a:pt x="2906" y="5026"/>
                  </a:lnTo>
                  <a:close/>
                  <a:moveTo>
                    <a:pt x="3284" y="4314"/>
                  </a:moveTo>
                  <a:lnTo>
                    <a:pt x="3284" y="4314"/>
                  </a:lnTo>
                  <a:lnTo>
                    <a:pt x="3286" y="4316"/>
                  </a:lnTo>
                  <a:lnTo>
                    <a:pt x="3288" y="4318"/>
                  </a:lnTo>
                  <a:lnTo>
                    <a:pt x="3290" y="4318"/>
                  </a:lnTo>
                  <a:lnTo>
                    <a:pt x="3290" y="4316"/>
                  </a:lnTo>
                  <a:lnTo>
                    <a:pt x="3290" y="4314"/>
                  </a:lnTo>
                  <a:lnTo>
                    <a:pt x="3288" y="4312"/>
                  </a:lnTo>
                  <a:lnTo>
                    <a:pt x="3284" y="4314"/>
                  </a:lnTo>
                  <a:close/>
                  <a:moveTo>
                    <a:pt x="3284" y="4332"/>
                  </a:moveTo>
                  <a:lnTo>
                    <a:pt x="3284" y="4332"/>
                  </a:lnTo>
                  <a:lnTo>
                    <a:pt x="3284" y="4330"/>
                  </a:lnTo>
                  <a:lnTo>
                    <a:pt x="3282" y="4330"/>
                  </a:lnTo>
                  <a:lnTo>
                    <a:pt x="3278" y="4336"/>
                  </a:lnTo>
                  <a:lnTo>
                    <a:pt x="3278" y="4344"/>
                  </a:lnTo>
                  <a:lnTo>
                    <a:pt x="3278" y="4350"/>
                  </a:lnTo>
                  <a:lnTo>
                    <a:pt x="3282" y="4354"/>
                  </a:lnTo>
                  <a:lnTo>
                    <a:pt x="3284" y="4358"/>
                  </a:lnTo>
                  <a:lnTo>
                    <a:pt x="3286" y="4358"/>
                  </a:lnTo>
                  <a:lnTo>
                    <a:pt x="3286" y="4354"/>
                  </a:lnTo>
                  <a:lnTo>
                    <a:pt x="3284" y="4332"/>
                  </a:lnTo>
                  <a:close/>
                  <a:moveTo>
                    <a:pt x="2868" y="5178"/>
                  </a:moveTo>
                  <a:lnTo>
                    <a:pt x="2868" y="5178"/>
                  </a:lnTo>
                  <a:lnTo>
                    <a:pt x="2870" y="5178"/>
                  </a:lnTo>
                  <a:lnTo>
                    <a:pt x="2872" y="5178"/>
                  </a:lnTo>
                  <a:lnTo>
                    <a:pt x="2874" y="5178"/>
                  </a:lnTo>
                  <a:lnTo>
                    <a:pt x="2876" y="5178"/>
                  </a:lnTo>
                  <a:lnTo>
                    <a:pt x="2876" y="5176"/>
                  </a:lnTo>
                  <a:lnTo>
                    <a:pt x="2874" y="5174"/>
                  </a:lnTo>
                  <a:lnTo>
                    <a:pt x="2872" y="5172"/>
                  </a:lnTo>
                  <a:lnTo>
                    <a:pt x="2866" y="5172"/>
                  </a:lnTo>
                  <a:lnTo>
                    <a:pt x="2862" y="5174"/>
                  </a:lnTo>
                  <a:lnTo>
                    <a:pt x="2864" y="5176"/>
                  </a:lnTo>
                  <a:lnTo>
                    <a:pt x="2866" y="5178"/>
                  </a:lnTo>
                  <a:lnTo>
                    <a:pt x="2868" y="5178"/>
                  </a:lnTo>
                  <a:close/>
                  <a:moveTo>
                    <a:pt x="2798" y="5190"/>
                  </a:moveTo>
                  <a:lnTo>
                    <a:pt x="2798" y="5190"/>
                  </a:lnTo>
                  <a:lnTo>
                    <a:pt x="2804" y="5186"/>
                  </a:lnTo>
                  <a:lnTo>
                    <a:pt x="2812" y="5182"/>
                  </a:lnTo>
                  <a:lnTo>
                    <a:pt x="2818" y="5180"/>
                  </a:lnTo>
                  <a:lnTo>
                    <a:pt x="2818" y="5178"/>
                  </a:lnTo>
                  <a:lnTo>
                    <a:pt x="2818" y="5176"/>
                  </a:lnTo>
                  <a:lnTo>
                    <a:pt x="2814" y="5174"/>
                  </a:lnTo>
                  <a:lnTo>
                    <a:pt x="2810" y="5174"/>
                  </a:lnTo>
                  <a:lnTo>
                    <a:pt x="2804" y="5176"/>
                  </a:lnTo>
                  <a:lnTo>
                    <a:pt x="2794" y="5176"/>
                  </a:lnTo>
                  <a:lnTo>
                    <a:pt x="2780" y="5174"/>
                  </a:lnTo>
                  <a:lnTo>
                    <a:pt x="2770" y="5176"/>
                  </a:lnTo>
                  <a:lnTo>
                    <a:pt x="2764" y="5180"/>
                  </a:lnTo>
                  <a:lnTo>
                    <a:pt x="2764" y="5182"/>
                  </a:lnTo>
                  <a:lnTo>
                    <a:pt x="2764" y="5186"/>
                  </a:lnTo>
                  <a:lnTo>
                    <a:pt x="2768" y="5188"/>
                  </a:lnTo>
                  <a:lnTo>
                    <a:pt x="2780" y="5192"/>
                  </a:lnTo>
                  <a:lnTo>
                    <a:pt x="2790" y="5192"/>
                  </a:lnTo>
                  <a:lnTo>
                    <a:pt x="2796" y="5192"/>
                  </a:lnTo>
                  <a:lnTo>
                    <a:pt x="2798" y="5190"/>
                  </a:lnTo>
                  <a:close/>
                  <a:moveTo>
                    <a:pt x="4914" y="1916"/>
                  </a:moveTo>
                  <a:lnTo>
                    <a:pt x="4914" y="1916"/>
                  </a:lnTo>
                  <a:lnTo>
                    <a:pt x="4910" y="1920"/>
                  </a:lnTo>
                  <a:lnTo>
                    <a:pt x="4910" y="1924"/>
                  </a:lnTo>
                  <a:lnTo>
                    <a:pt x="4912" y="1928"/>
                  </a:lnTo>
                  <a:lnTo>
                    <a:pt x="4914" y="1934"/>
                  </a:lnTo>
                  <a:lnTo>
                    <a:pt x="4926" y="1944"/>
                  </a:lnTo>
                  <a:lnTo>
                    <a:pt x="4938" y="1954"/>
                  </a:lnTo>
                  <a:lnTo>
                    <a:pt x="4942" y="1958"/>
                  </a:lnTo>
                  <a:lnTo>
                    <a:pt x="4942" y="1954"/>
                  </a:lnTo>
                  <a:lnTo>
                    <a:pt x="4940" y="1946"/>
                  </a:lnTo>
                  <a:lnTo>
                    <a:pt x="4936" y="1936"/>
                  </a:lnTo>
                  <a:lnTo>
                    <a:pt x="4930" y="1926"/>
                  </a:lnTo>
                  <a:lnTo>
                    <a:pt x="4924" y="1918"/>
                  </a:lnTo>
                  <a:lnTo>
                    <a:pt x="4918" y="1914"/>
                  </a:lnTo>
                  <a:lnTo>
                    <a:pt x="4916" y="1914"/>
                  </a:lnTo>
                  <a:lnTo>
                    <a:pt x="4914" y="1916"/>
                  </a:lnTo>
                  <a:close/>
                  <a:moveTo>
                    <a:pt x="4520" y="2200"/>
                  </a:moveTo>
                  <a:lnTo>
                    <a:pt x="4520" y="2200"/>
                  </a:lnTo>
                  <a:lnTo>
                    <a:pt x="4522" y="2200"/>
                  </a:lnTo>
                  <a:lnTo>
                    <a:pt x="4524" y="2200"/>
                  </a:lnTo>
                  <a:lnTo>
                    <a:pt x="4528" y="2196"/>
                  </a:lnTo>
                  <a:lnTo>
                    <a:pt x="4528" y="2192"/>
                  </a:lnTo>
                  <a:lnTo>
                    <a:pt x="4528" y="2188"/>
                  </a:lnTo>
                  <a:lnTo>
                    <a:pt x="4524" y="2188"/>
                  </a:lnTo>
                  <a:lnTo>
                    <a:pt x="4520" y="2190"/>
                  </a:lnTo>
                  <a:lnTo>
                    <a:pt x="4518" y="2194"/>
                  </a:lnTo>
                  <a:lnTo>
                    <a:pt x="4518" y="2196"/>
                  </a:lnTo>
                  <a:lnTo>
                    <a:pt x="4520" y="2200"/>
                  </a:lnTo>
                  <a:close/>
                  <a:moveTo>
                    <a:pt x="4814" y="1702"/>
                  </a:moveTo>
                  <a:lnTo>
                    <a:pt x="4814" y="1702"/>
                  </a:lnTo>
                  <a:lnTo>
                    <a:pt x="4812" y="1704"/>
                  </a:lnTo>
                  <a:lnTo>
                    <a:pt x="4812" y="1706"/>
                  </a:lnTo>
                  <a:lnTo>
                    <a:pt x="4816" y="1706"/>
                  </a:lnTo>
                  <a:lnTo>
                    <a:pt x="4832" y="1700"/>
                  </a:lnTo>
                  <a:lnTo>
                    <a:pt x="4842" y="1696"/>
                  </a:lnTo>
                  <a:lnTo>
                    <a:pt x="4850" y="1690"/>
                  </a:lnTo>
                  <a:lnTo>
                    <a:pt x="4856" y="1684"/>
                  </a:lnTo>
                  <a:lnTo>
                    <a:pt x="4858" y="1678"/>
                  </a:lnTo>
                  <a:lnTo>
                    <a:pt x="4856" y="1674"/>
                  </a:lnTo>
                  <a:lnTo>
                    <a:pt x="4852" y="1672"/>
                  </a:lnTo>
                  <a:lnTo>
                    <a:pt x="4848" y="1672"/>
                  </a:lnTo>
                  <a:lnTo>
                    <a:pt x="4842" y="1674"/>
                  </a:lnTo>
                  <a:lnTo>
                    <a:pt x="4828" y="1686"/>
                  </a:lnTo>
                  <a:lnTo>
                    <a:pt x="4814" y="1702"/>
                  </a:lnTo>
                  <a:close/>
                  <a:moveTo>
                    <a:pt x="3278" y="4364"/>
                  </a:moveTo>
                  <a:lnTo>
                    <a:pt x="3278" y="4364"/>
                  </a:lnTo>
                  <a:lnTo>
                    <a:pt x="3276" y="4362"/>
                  </a:lnTo>
                  <a:lnTo>
                    <a:pt x="3274" y="4362"/>
                  </a:lnTo>
                  <a:lnTo>
                    <a:pt x="3278" y="4384"/>
                  </a:lnTo>
                  <a:lnTo>
                    <a:pt x="3278" y="4398"/>
                  </a:lnTo>
                  <a:lnTo>
                    <a:pt x="3278" y="4400"/>
                  </a:lnTo>
                  <a:lnTo>
                    <a:pt x="3276" y="4402"/>
                  </a:lnTo>
                  <a:lnTo>
                    <a:pt x="3272" y="4402"/>
                  </a:lnTo>
                  <a:lnTo>
                    <a:pt x="3266" y="4398"/>
                  </a:lnTo>
                  <a:lnTo>
                    <a:pt x="3264" y="4400"/>
                  </a:lnTo>
                  <a:lnTo>
                    <a:pt x="3264" y="4406"/>
                  </a:lnTo>
                  <a:lnTo>
                    <a:pt x="3262" y="4408"/>
                  </a:lnTo>
                  <a:lnTo>
                    <a:pt x="3260" y="4408"/>
                  </a:lnTo>
                  <a:lnTo>
                    <a:pt x="3256" y="4404"/>
                  </a:lnTo>
                  <a:lnTo>
                    <a:pt x="3254" y="4402"/>
                  </a:lnTo>
                  <a:lnTo>
                    <a:pt x="3252" y="4400"/>
                  </a:lnTo>
                  <a:lnTo>
                    <a:pt x="3250" y="4402"/>
                  </a:lnTo>
                  <a:lnTo>
                    <a:pt x="3248" y="4404"/>
                  </a:lnTo>
                  <a:lnTo>
                    <a:pt x="3248" y="4424"/>
                  </a:lnTo>
                  <a:lnTo>
                    <a:pt x="3248" y="4426"/>
                  </a:lnTo>
                  <a:lnTo>
                    <a:pt x="3246" y="4426"/>
                  </a:lnTo>
                  <a:lnTo>
                    <a:pt x="3240" y="4422"/>
                  </a:lnTo>
                  <a:lnTo>
                    <a:pt x="3238" y="4422"/>
                  </a:lnTo>
                  <a:lnTo>
                    <a:pt x="3234" y="4420"/>
                  </a:lnTo>
                  <a:lnTo>
                    <a:pt x="3232" y="4422"/>
                  </a:lnTo>
                  <a:lnTo>
                    <a:pt x="3230" y="4428"/>
                  </a:lnTo>
                  <a:lnTo>
                    <a:pt x="3226" y="4438"/>
                  </a:lnTo>
                  <a:lnTo>
                    <a:pt x="3224" y="4440"/>
                  </a:lnTo>
                  <a:lnTo>
                    <a:pt x="3220" y="4440"/>
                  </a:lnTo>
                  <a:lnTo>
                    <a:pt x="3214" y="4444"/>
                  </a:lnTo>
                  <a:lnTo>
                    <a:pt x="3210" y="4446"/>
                  </a:lnTo>
                  <a:lnTo>
                    <a:pt x="3212" y="4440"/>
                  </a:lnTo>
                  <a:lnTo>
                    <a:pt x="3212" y="4432"/>
                  </a:lnTo>
                  <a:lnTo>
                    <a:pt x="3210" y="4424"/>
                  </a:lnTo>
                  <a:lnTo>
                    <a:pt x="3208" y="4420"/>
                  </a:lnTo>
                  <a:lnTo>
                    <a:pt x="3204" y="4418"/>
                  </a:lnTo>
                  <a:lnTo>
                    <a:pt x="3200" y="4418"/>
                  </a:lnTo>
                  <a:lnTo>
                    <a:pt x="3198" y="4420"/>
                  </a:lnTo>
                  <a:lnTo>
                    <a:pt x="3198" y="4418"/>
                  </a:lnTo>
                  <a:lnTo>
                    <a:pt x="3196" y="4416"/>
                  </a:lnTo>
                  <a:lnTo>
                    <a:pt x="3194" y="4414"/>
                  </a:lnTo>
                  <a:lnTo>
                    <a:pt x="3192" y="4416"/>
                  </a:lnTo>
                  <a:lnTo>
                    <a:pt x="3192" y="4420"/>
                  </a:lnTo>
                  <a:lnTo>
                    <a:pt x="3190" y="4422"/>
                  </a:lnTo>
                  <a:lnTo>
                    <a:pt x="3188" y="4424"/>
                  </a:lnTo>
                  <a:lnTo>
                    <a:pt x="3186" y="4424"/>
                  </a:lnTo>
                  <a:lnTo>
                    <a:pt x="3182" y="4424"/>
                  </a:lnTo>
                  <a:lnTo>
                    <a:pt x="3178" y="4428"/>
                  </a:lnTo>
                  <a:lnTo>
                    <a:pt x="3176" y="4432"/>
                  </a:lnTo>
                  <a:lnTo>
                    <a:pt x="3178" y="4438"/>
                  </a:lnTo>
                  <a:lnTo>
                    <a:pt x="3178" y="4440"/>
                  </a:lnTo>
                  <a:lnTo>
                    <a:pt x="3174" y="4442"/>
                  </a:lnTo>
                  <a:lnTo>
                    <a:pt x="3170" y="4444"/>
                  </a:lnTo>
                  <a:lnTo>
                    <a:pt x="3166" y="4442"/>
                  </a:lnTo>
                  <a:lnTo>
                    <a:pt x="3164" y="4442"/>
                  </a:lnTo>
                  <a:lnTo>
                    <a:pt x="3162" y="4442"/>
                  </a:lnTo>
                  <a:lnTo>
                    <a:pt x="3160" y="4444"/>
                  </a:lnTo>
                  <a:lnTo>
                    <a:pt x="3156" y="4446"/>
                  </a:lnTo>
                  <a:lnTo>
                    <a:pt x="3150" y="4448"/>
                  </a:lnTo>
                  <a:lnTo>
                    <a:pt x="3146" y="4452"/>
                  </a:lnTo>
                  <a:lnTo>
                    <a:pt x="3142" y="4458"/>
                  </a:lnTo>
                  <a:lnTo>
                    <a:pt x="3140" y="4462"/>
                  </a:lnTo>
                  <a:lnTo>
                    <a:pt x="3140" y="4472"/>
                  </a:lnTo>
                  <a:lnTo>
                    <a:pt x="3138" y="4478"/>
                  </a:lnTo>
                  <a:lnTo>
                    <a:pt x="3134" y="4488"/>
                  </a:lnTo>
                  <a:lnTo>
                    <a:pt x="3132" y="4492"/>
                  </a:lnTo>
                  <a:lnTo>
                    <a:pt x="3134" y="4496"/>
                  </a:lnTo>
                  <a:lnTo>
                    <a:pt x="3136" y="4500"/>
                  </a:lnTo>
                  <a:lnTo>
                    <a:pt x="3138" y="4504"/>
                  </a:lnTo>
                  <a:lnTo>
                    <a:pt x="3140" y="4504"/>
                  </a:lnTo>
                  <a:lnTo>
                    <a:pt x="3144" y="4500"/>
                  </a:lnTo>
                  <a:lnTo>
                    <a:pt x="3148" y="4488"/>
                  </a:lnTo>
                  <a:lnTo>
                    <a:pt x="3150" y="4480"/>
                  </a:lnTo>
                  <a:lnTo>
                    <a:pt x="3152" y="4478"/>
                  </a:lnTo>
                  <a:lnTo>
                    <a:pt x="3152" y="4476"/>
                  </a:lnTo>
                  <a:lnTo>
                    <a:pt x="3154" y="4474"/>
                  </a:lnTo>
                  <a:lnTo>
                    <a:pt x="3156" y="4472"/>
                  </a:lnTo>
                  <a:lnTo>
                    <a:pt x="3156" y="4470"/>
                  </a:lnTo>
                  <a:lnTo>
                    <a:pt x="3158" y="4466"/>
                  </a:lnTo>
                  <a:lnTo>
                    <a:pt x="3160" y="4462"/>
                  </a:lnTo>
                  <a:lnTo>
                    <a:pt x="3164" y="4460"/>
                  </a:lnTo>
                  <a:lnTo>
                    <a:pt x="3168" y="4462"/>
                  </a:lnTo>
                  <a:lnTo>
                    <a:pt x="3170" y="4466"/>
                  </a:lnTo>
                  <a:lnTo>
                    <a:pt x="3168" y="4472"/>
                  </a:lnTo>
                  <a:lnTo>
                    <a:pt x="3168" y="4474"/>
                  </a:lnTo>
                  <a:lnTo>
                    <a:pt x="3172" y="4474"/>
                  </a:lnTo>
                  <a:lnTo>
                    <a:pt x="3178" y="4472"/>
                  </a:lnTo>
                  <a:lnTo>
                    <a:pt x="3182" y="4466"/>
                  </a:lnTo>
                  <a:lnTo>
                    <a:pt x="3184" y="4462"/>
                  </a:lnTo>
                  <a:lnTo>
                    <a:pt x="3184" y="4466"/>
                  </a:lnTo>
                  <a:lnTo>
                    <a:pt x="3184" y="4472"/>
                  </a:lnTo>
                  <a:lnTo>
                    <a:pt x="3184" y="4474"/>
                  </a:lnTo>
                  <a:lnTo>
                    <a:pt x="3186" y="4476"/>
                  </a:lnTo>
                  <a:lnTo>
                    <a:pt x="3192" y="4478"/>
                  </a:lnTo>
                  <a:lnTo>
                    <a:pt x="3194" y="4480"/>
                  </a:lnTo>
                  <a:lnTo>
                    <a:pt x="3194" y="4476"/>
                  </a:lnTo>
                  <a:lnTo>
                    <a:pt x="3194" y="4470"/>
                  </a:lnTo>
                  <a:lnTo>
                    <a:pt x="3196" y="4466"/>
                  </a:lnTo>
                  <a:lnTo>
                    <a:pt x="3198" y="4464"/>
                  </a:lnTo>
                  <a:lnTo>
                    <a:pt x="3196" y="4462"/>
                  </a:lnTo>
                  <a:lnTo>
                    <a:pt x="3194" y="4460"/>
                  </a:lnTo>
                  <a:lnTo>
                    <a:pt x="3196" y="4458"/>
                  </a:lnTo>
                  <a:lnTo>
                    <a:pt x="3200" y="4458"/>
                  </a:lnTo>
                  <a:lnTo>
                    <a:pt x="3206" y="4460"/>
                  </a:lnTo>
                  <a:lnTo>
                    <a:pt x="3210" y="4464"/>
                  </a:lnTo>
                  <a:lnTo>
                    <a:pt x="3216" y="4466"/>
                  </a:lnTo>
                  <a:lnTo>
                    <a:pt x="3218" y="4468"/>
                  </a:lnTo>
                  <a:lnTo>
                    <a:pt x="3222" y="4472"/>
                  </a:lnTo>
                  <a:lnTo>
                    <a:pt x="3222" y="4476"/>
                  </a:lnTo>
                  <a:lnTo>
                    <a:pt x="3224" y="4478"/>
                  </a:lnTo>
                  <a:lnTo>
                    <a:pt x="3226" y="4478"/>
                  </a:lnTo>
                  <a:lnTo>
                    <a:pt x="3226" y="4482"/>
                  </a:lnTo>
                  <a:lnTo>
                    <a:pt x="3224" y="4486"/>
                  </a:lnTo>
                  <a:lnTo>
                    <a:pt x="3220" y="4492"/>
                  </a:lnTo>
                  <a:lnTo>
                    <a:pt x="3216" y="4500"/>
                  </a:lnTo>
                  <a:lnTo>
                    <a:pt x="3216" y="4502"/>
                  </a:lnTo>
                  <a:lnTo>
                    <a:pt x="3216" y="4506"/>
                  </a:lnTo>
                  <a:lnTo>
                    <a:pt x="3218" y="4520"/>
                  </a:lnTo>
                  <a:lnTo>
                    <a:pt x="3220" y="4526"/>
                  </a:lnTo>
                  <a:lnTo>
                    <a:pt x="3222" y="4532"/>
                  </a:lnTo>
                  <a:lnTo>
                    <a:pt x="3224" y="4534"/>
                  </a:lnTo>
                  <a:lnTo>
                    <a:pt x="3224" y="4536"/>
                  </a:lnTo>
                  <a:lnTo>
                    <a:pt x="3226" y="4538"/>
                  </a:lnTo>
                  <a:lnTo>
                    <a:pt x="3234" y="4544"/>
                  </a:lnTo>
                  <a:lnTo>
                    <a:pt x="3252" y="4552"/>
                  </a:lnTo>
                  <a:lnTo>
                    <a:pt x="3256" y="4554"/>
                  </a:lnTo>
                  <a:lnTo>
                    <a:pt x="3260" y="4548"/>
                  </a:lnTo>
                  <a:lnTo>
                    <a:pt x="3264" y="4542"/>
                  </a:lnTo>
                  <a:lnTo>
                    <a:pt x="3266" y="4542"/>
                  </a:lnTo>
                  <a:lnTo>
                    <a:pt x="3268" y="4544"/>
                  </a:lnTo>
                  <a:lnTo>
                    <a:pt x="3266" y="4550"/>
                  </a:lnTo>
                  <a:lnTo>
                    <a:pt x="3266" y="4556"/>
                  </a:lnTo>
                  <a:lnTo>
                    <a:pt x="3268" y="4564"/>
                  </a:lnTo>
                  <a:lnTo>
                    <a:pt x="3270" y="4566"/>
                  </a:lnTo>
                  <a:lnTo>
                    <a:pt x="3272" y="4568"/>
                  </a:lnTo>
                  <a:lnTo>
                    <a:pt x="3274" y="4566"/>
                  </a:lnTo>
                  <a:lnTo>
                    <a:pt x="3278" y="4564"/>
                  </a:lnTo>
                  <a:lnTo>
                    <a:pt x="3282" y="4554"/>
                  </a:lnTo>
                  <a:lnTo>
                    <a:pt x="3284" y="4546"/>
                  </a:lnTo>
                  <a:lnTo>
                    <a:pt x="3286" y="4540"/>
                  </a:lnTo>
                  <a:lnTo>
                    <a:pt x="3284" y="4534"/>
                  </a:lnTo>
                  <a:lnTo>
                    <a:pt x="3280" y="4524"/>
                  </a:lnTo>
                  <a:lnTo>
                    <a:pt x="3278" y="4520"/>
                  </a:lnTo>
                  <a:lnTo>
                    <a:pt x="3276" y="4518"/>
                  </a:lnTo>
                  <a:lnTo>
                    <a:pt x="3274" y="4516"/>
                  </a:lnTo>
                  <a:lnTo>
                    <a:pt x="3274" y="4514"/>
                  </a:lnTo>
                  <a:lnTo>
                    <a:pt x="3274" y="4508"/>
                  </a:lnTo>
                  <a:lnTo>
                    <a:pt x="3276" y="4500"/>
                  </a:lnTo>
                  <a:lnTo>
                    <a:pt x="3280" y="4496"/>
                  </a:lnTo>
                  <a:lnTo>
                    <a:pt x="3284" y="4494"/>
                  </a:lnTo>
                  <a:lnTo>
                    <a:pt x="3284" y="4490"/>
                  </a:lnTo>
                  <a:lnTo>
                    <a:pt x="3284" y="4486"/>
                  </a:lnTo>
                  <a:lnTo>
                    <a:pt x="3288" y="4484"/>
                  </a:lnTo>
                  <a:lnTo>
                    <a:pt x="3290" y="4482"/>
                  </a:lnTo>
                  <a:lnTo>
                    <a:pt x="3292" y="4482"/>
                  </a:lnTo>
                  <a:lnTo>
                    <a:pt x="3292" y="4490"/>
                  </a:lnTo>
                  <a:lnTo>
                    <a:pt x="3294" y="4498"/>
                  </a:lnTo>
                  <a:lnTo>
                    <a:pt x="3296" y="4502"/>
                  </a:lnTo>
                  <a:lnTo>
                    <a:pt x="3300" y="4506"/>
                  </a:lnTo>
                  <a:lnTo>
                    <a:pt x="3302" y="4510"/>
                  </a:lnTo>
                  <a:lnTo>
                    <a:pt x="3300" y="4512"/>
                  </a:lnTo>
                  <a:lnTo>
                    <a:pt x="3300" y="4518"/>
                  </a:lnTo>
                  <a:lnTo>
                    <a:pt x="3302" y="4528"/>
                  </a:lnTo>
                  <a:lnTo>
                    <a:pt x="3304" y="4530"/>
                  </a:lnTo>
                  <a:lnTo>
                    <a:pt x="3306" y="4530"/>
                  </a:lnTo>
                  <a:lnTo>
                    <a:pt x="3306" y="4526"/>
                  </a:lnTo>
                  <a:lnTo>
                    <a:pt x="3308" y="4518"/>
                  </a:lnTo>
                  <a:lnTo>
                    <a:pt x="3306" y="4508"/>
                  </a:lnTo>
                  <a:lnTo>
                    <a:pt x="3304" y="4502"/>
                  </a:lnTo>
                  <a:lnTo>
                    <a:pt x="3308" y="4504"/>
                  </a:lnTo>
                  <a:lnTo>
                    <a:pt x="3310" y="4506"/>
                  </a:lnTo>
                  <a:lnTo>
                    <a:pt x="3312" y="4506"/>
                  </a:lnTo>
                  <a:lnTo>
                    <a:pt x="3310" y="4504"/>
                  </a:lnTo>
                  <a:lnTo>
                    <a:pt x="3310" y="4500"/>
                  </a:lnTo>
                  <a:lnTo>
                    <a:pt x="3312" y="4498"/>
                  </a:lnTo>
                  <a:lnTo>
                    <a:pt x="3316" y="4498"/>
                  </a:lnTo>
                  <a:lnTo>
                    <a:pt x="3320" y="4492"/>
                  </a:lnTo>
                  <a:lnTo>
                    <a:pt x="3322" y="4488"/>
                  </a:lnTo>
                  <a:lnTo>
                    <a:pt x="3322" y="4482"/>
                  </a:lnTo>
                  <a:lnTo>
                    <a:pt x="3320" y="4468"/>
                  </a:lnTo>
                  <a:lnTo>
                    <a:pt x="3320" y="4464"/>
                  </a:lnTo>
                  <a:lnTo>
                    <a:pt x="3318" y="4462"/>
                  </a:lnTo>
                  <a:lnTo>
                    <a:pt x="3316" y="4460"/>
                  </a:lnTo>
                  <a:lnTo>
                    <a:pt x="3314" y="4458"/>
                  </a:lnTo>
                  <a:lnTo>
                    <a:pt x="3314" y="4452"/>
                  </a:lnTo>
                  <a:lnTo>
                    <a:pt x="3316" y="4446"/>
                  </a:lnTo>
                  <a:lnTo>
                    <a:pt x="3316" y="4442"/>
                  </a:lnTo>
                  <a:lnTo>
                    <a:pt x="3314" y="4438"/>
                  </a:lnTo>
                  <a:lnTo>
                    <a:pt x="3314" y="4432"/>
                  </a:lnTo>
                  <a:lnTo>
                    <a:pt x="3314" y="4428"/>
                  </a:lnTo>
                  <a:lnTo>
                    <a:pt x="3312" y="4424"/>
                  </a:lnTo>
                  <a:lnTo>
                    <a:pt x="3310" y="4424"/>
                  </a:lnTo>
                  <a:lnTo>
                    <a:pt x="3308" y="4424"/>
                  </a:lnTo>
                  <a:lnTo>
                    <a:pt x="3304" y="4424"/>
                  </a:lnTo>
                  <a:lnTo>
                    <a:pt x="3302" y="4422"/>
                  </a:lnTo>
                  <a:lnTo>
                    <a:pt x="3302" y="4420"/>
                  </a:lnTo>
                  <a:lnTo>
                    <a:pt x="3304" y="4418"/>
                  </a:lnTo>
                  <a:lnTo>
                    <a:pt x="3308" y="4416"/>
                  </a:lnTo>
                  <a:lnTo>
                    <a:pt x="3310" y="4412"/>
                  </a:lnTo>
                  <a:lnTo>
                    <a:pt x="3312" y="4406"/>
                  </a:lnTo>
                  <a:lnTo>
                    <a:pt x="3308" y="4400"/>
                  </a:lnTo>
                  <a:lnTo>
                    <a:pt x="3306" y="4396"/>
                  </a:lnTo>
                  <a:lnTo>
                    <a:pt x="3306" y="4390"/>
                  </a:lnTo>
                  <a:lnTo>
                    <a:pt x="3306" y="4386"/>
                  </a:lnTo>
                  <a:lnTo>
                    <a:pt x="3302" y="4388"/>
                  </a:lnTo>
                  <a:lnTo>
                    <a:pt x="3300" y="4388"/>
                  </a:lnTo>
                  <a:lnTo>
                    <a:pt x="3298" y="4384"/>
                  </a:lnTo>
                  <a:lnTo>
                    <a:pt x="3296" y="4380"/>
                  </a:lnTo>
                  <a:lnTo>
                    <a:pt x="3292" y="4376"/>
                  </a:lnTo>
                  <a:lnTo>
                    <a:pt x="3288" y="4374"/>
                  </a:lnTo>
                  <a:lnTo>
                    <a:pt x="3284" y="4372"/>
                  </a:lnTo>
                  <a:lnTo>
                    <a:pt x="3282" y="4368"/>
                  </a:lnTo>
                  <a:lnTo>
                    <a:pt x="3282" y="4366"/>
                  </a:lnTo>
                  <a:lnTo>
                    <a:pt x="3278" y="4364"/>
                  </a:lnTo>
                  <a:close/>
                  <a:moveTo>
                    <a:pt x="3136" y="4268"/>
                  </a:moveTo>
                  <a:lnTo>
                    <a:pt x="3136" y="4268"/>
                  </a:lnTo>
                  <a:lnTo>
                    <a:pt x="3138" y="4270"/>
                  </a:lnTo>
                  <a:lnTo>
                    <a:pt x="3140" y="4272"/>
                  </a:lnTo>
                  <a:lnTo>
                    <a:pt x="3140" y="4278"/>
                  </a:lnTo>
                  <a:lnTo>
                    <a:pt x="3138" y="4286"/>
                  </a:lnTo>
                  <a:lnTo>
                    <a:pt x="3138" y="4296"/>
                  </a:lnTo>
                  <a:lnTo>
                    <a:pt x="3140" y="4302"/>
                  </a:lnTo>
                  <a:lnTo>
                    <a:pt x="3136" y="4306"/>
                  </a:lnTo>
                  <a:lnTo>
                    <a:pt x="3134" y="4312"/>
                  </a:lnTo>
                  <a:lnTo>
                    <a:pt x="3134" y="4324"/>
                  </a:lnTo>
                  <a:lnTo>
                    <a:pt x="3134" y="4328"/>
                  </a:lnTo>
                  <a:lnTo>
                    <a:pt x="3136" y="4330"/>
                  </a:lnTo>
                  <a:lnTo>
                    <a:pt x="3138" y="4330"/>
                  </a:lnTo>
                  <a:lnTo>
                    <a:pt x="3140" y="4328"/>
                  </a:lnTo>
                  <a:lnTo>
                    <a:pt x="3146" y="4324"/>
                  </a:lnTo>
                  <a:lnTo>
                    <a:pt x="3148" y="4320"/>
                  </a:lnTo>
                  <a:lnTo>
                    <a:pt x="3152" y="4320"/>
                  </a:lnTo>
                  <a:lnTo>
                    <a:pt x="3158" y="4318"/>
                  </a:lnTo>
                  <a:lnTo>
                    <a:pt x="3166" y="4312"/>
                  </a:lnTo>
                  <a:lnTo>
                    <a:pt x="3178" y="4298"/>
                  </a:lnTo>
                  <a:lnTo>
                    <a:pt x="3182" y="4296"/>
                  </a:lnTo>
                  <a:lnTo>
                    <a:pt x="3182" y="4292"/>
                  </a:lnTo>
                  <a:lnTo>
                    <a:pt x="3184" y="4282"/>
                  </a:lnTo>
                  <a:lnTo>
                    <a:pt x="3182" y="4276"/>
                  </a:lnTo>
                  <a:lnTo>
                    <a:pt x="3180" y="4276"/>
                  </a:lnTo>
                  <a:lnTo>
                    <a:pt x="3178" y="4276"/>
                  </a:lnTo>
                  <a:lnTo>
                    <a:pt x="3176" y="4278"/>
                  </a:lnTo>
                  <a:lnTo>
                    <a:pt x="3172" y="4276"/>
                  </a:lnTo>
                  <a:lnTo>
                    <a:pt x="3168" y="4274"/>
                  </a:lnTo>
                  <a:lnTo>
                    <a:pt x="3166" y="4274"/>
                  </a:lnTo>
                  <a:lnTo>
                    <a:pt x="3164" y="4274"/>
                  </a:lnTo>
                  <a:lnTo>
                    <a:pt x="3162" y="4276"/>
                  </a:lnTo>
                  <a:lnTo>
                    <a:pt x="3160" y="4274"/>
                  </a:lnTo>
                  <a:lnTo>
                    <a:pt x="3154" y="4270"/>
                  </a:lnTo>
                  <a:lnTo>
                    <a:pt x="3146" y="4264"/>
                  </a:lnTo>
                  <a:lnTo>
                    <a:pt x="3138" y="4258"/>
                  </a:lnTo>
                  <a:lnTo>
                    <a:pt x="3132" y="4258"/>
                  </a:lnTo>
                  <a:lnTo>
                    <a:pt x="3130" y="4260"/>
                  </a:lnTo>
                  <a:lnTo>
                    <a:pt x="3130" y="4264"/>
                  </a:lnTo>
                  <a:lnTo>
                    <a:pt x="3136" y="4268"/>
                  </a:lnTo>
                  <a:close/>
                  <a:moveTo>
                    <a:pt x="3270" y="4928"/>
                  </a:moveTo>
                  <a:lnTo>
                    <a:pt x="3270" y="4928"/>
                  </a:lnTo>
                  <a:lnTo>
                    <a:pt x="3268" y="4926"/>
                  </a:lnTo>
                  <a:lnTo>
                    <a:pt x="3264" y="4924"/>
                  </a:lnTo>
                  <a:lnTo>
                    <a:pt x="3250" y="4920"/>
                  </a:lnTo>
                  <a:lnTo>
                    <a:pt x="3244" y="4920"/>
                  </a:lnTo>
                  <a:lnTo>
                    <a:pt x="3238" y="4920"/>
                  </a:lnTo>
                  <a:lnTo>
                    <a:pt x="3232" y="4924"/>
                  </a:lnTo>
                  <a:lnTo>
                    <a:pt x="3230" y="4930"/>
                  </a:lnTo>
                  <a:lnTo>
                    <a:pt x="3232" y="4934"/>
                  </a:lnTo>
                  <a:lnTo>
                    <a:pt x="3236" y="4936"/>
                  </a:lnTo>
                  <a:lnTo>
                    <a:pt x="3242" y="4936"/>
                  </a:lnTo>
                  <a:lnTo>
                    <a:pt x="3250" y="4936"/>
                  </a:lnTo>
                  <a:lnTo>
                    <a:pt x="3264" y="4934"/>
                  </a:lnTo>
                  <a:lnTo>
                    <a:pt x="3268" y="4932"/>
                  </a:lnTo>
                  <a:lnTo>
                    <a:pt x="3270" y="4928"/>
                  </a:lnTo>
                  <a:close/>
                  <a:moveTo>
                    <a:pt x="3148" y="4520"/>
                  </a:moveTo>
                  <a:lnTo>
                    <a:pt x="3148" y="4520"/>
                  </a:lnTo>
                  <a:lnTo>
                    <a:pt x="3146" y="4516"/>
                  </a:lnTo>
                  <a:lnTo>
                    <a:pt x="3138" y="4512"/>
                  </a:lnTo>
                  <a:lnTo>
                    <a:pt x="3136" y="4512"/>
                  </a:lnTo>
                  <a:lnTo>
                    <a:pt x="3132" y="4512"/>
                  </a:lnTo>
                  <a:lnTo>
                    <a:pt x="3130" y="4516"/>
                  </a:lnTo>
                  <a:lnTo>
                    <a:pt x="3130" y="4520"/>
                  </a:lnTo>
                  <a:lnTo>
                    <a:pt x="3130" y="4524"/>
                  </a:lnTo>
                  <a:lnTo>
                    <a:pt x="3132" y="4526"/>
                  </a:lnTo>
                  <a:lnTo>
                    <a:pt x="3136" y="4528"/>
                  </a:lnTo>
                  <a:lnTo>
                    <a:pt x="3140" y="4526"/>
                  </a:lnTo>
                  <a:lnTo>
                    <a:pt x="3146" y="4524"/>
                  </a:lnTo>
                  <a:lnTo>
                    <a:pt x="3148" y="4520"/>
                  </a:lnTo>
                  <a:close/>
                  <a:moveTo>
                    <a:pt x="3204" y="4288"/>
                  </a:moveTo>
                  <a:lnTo>
                    <a:pt x="3204" y="4288"/>
                  </a:lnTo>
                  <a:lnTo>
                    <a:pt x="3204" y="4290"/>
                  </a:lnTo>
                  <a:lnTo>
                    <a:pt x="3204" y="4294"/>
                  </a:lnTo>
                  <a:lnTo>
                    <a:pt x="3206" y="4296"/>
                  </a:lnTo>
                  <a:lnTo>
                    <a:pt x="3208" y="4296"/>
                  </a:lnTo>
                  <a:lnTo>
                    <a:pt x="3208" y="4294"/>
                  </a:lnTo>
                  <a:lnTo>
                    <a:pt x="3208" y="4292"/>
                  </a:lnTo>
                  <a:lnTo>
                    <a:pt x="3206" y="4288"/>
                  </a:lnTo>
                  <a:lnTo>
                    <a:pt x="3204" y="4288"/>
                  </a:lnTo>
                  <a:close/>
                  <a:moveTo>
                    <a:pt x="3186" y="4210"/>
                  </a:moveTo>
                  <a:lnTo>
                    <a:pt x="3186" y="4210"/>
                  </a:lnTo>
                  <a:lnTo>
                    <a:pt x="3184" y="4208"/>
                  </a:lnTo>
                  <a:lnTo>
                    <a:pt x="3182" y="4204"/>
                  </a:lnTo>
                  <a:lnTo>
                    <a:pt x="3178" y="4200"/>
                  </a:lnTo>
                  <a:lnTo>
                    <a:pt x="3174" y="4198"/>
                  </a:lnTo>
                  <a:lnTo>
                    <a:pt x="3174" y="4200"/>
                  </a:lnTo>
                  <a:lnTo>
                    <a:pt x="3174" y="4202"/>
                  </a:lnTo>
                  <a:lnTo>
                    <a:pt x="3178" y="4206"/>
                  </a:lnTo>
                  <a:lnTo>
                    <a:pt x="3180" y="4212"/>
                  </a:lnTo>
                  <a:lnTo>
                    <a:pt x="3184" y="4214"/>
                  </a:lnTo>
                  <a:lnTo>
                    <a:pt x="3190" y="4220"/>
                  </a:lnTo>
                  <a:lnTo>
                    <a:pt x="3192" y="4220"/>
                  </a:lnTo>
                  <a:lnTo>
                    <a:pt x="3190" y="4216"/>
                  </a:lnTo>
                  <a:lnTo>
                    <a:pt x="3188" y="4212"/>
                  </a:lnTo>
                  <a:lnTo>
                    <a:pt x="3186" y="4210"/>
                  </a:lnTo>
                  <a:close/>
                  <a:moveTo>
                    <a:pt x="3250" y="5238"/>
                  </a:moveTo>
                  <a:lnTo>
                    <a:pt x="3250" y="5238"/>
                  </a:lnTo>
                  <a:lnTo>
                    <a:pt x="3240" y="5236"/>
                  </a:lnTo>
                  <a:lnTo>
                    <a:pt x="3236" y="5234"/>
                  </a:lnTo>
                  <a:lnTo>
                    <a:pt x="3234" y="5234"/>
                  </a:lnTo>
                  <a:lnTo>
                    <a:pt x="3232" y="5242"/>
                  </a:lnTo>
                  <a:lnTo>
                    <a:pt x="3230" y="5250"/>
                  </a:lnTo>
                  <a:lnTo>
                    <a:pt x="3232" y="5250"/>
                  </a:lnTo>
                  <a:lnTo>
                    <a:pt x="3234" y="5250"/>
                  </a:lnTo>
                  <a:lnTo>
                    <a:pt x="3244" y="5248"/>
                  </a:lnTo>
                  <a:lnTo>
                    <a:pt x="3256" y="5248"/>
                  </a:lnTo>
                  <a:lnTo>
                    <a:pt x="3260" y="5246"/>
                  </a:lnTo>
                  <a:lnTo>
                    <a:pt x="3262" y="5246"/>
                  </a:lnTo>
                  <a:lnTo>
                    <a:pt x="3264" y="5244"/>
                  </a:lnTo>
                  <a:lnTo>
                    <a:pt x="3262" y="5242"/>
                  </a:lnTo>
                  <a:lnTo>
                    <a:pt x="3258" y="5238"/>
                  </a:lnTo>
                  <a:lnTo>
                    <a:pt x="3254" y="5236"/>
                  </a:lnTo>
                  <a:lnTo>
                    <a:pt x="3250" y="5238"/>
                  </a:lnTo>
                  <a:close/>
                  <a:moveTo>
                    <a:pt x="3160" y="4332"/>
                  </a:moveTo>
                  <a:lnTo>
                    <a:pt x="3160" y="4332"/>
                  </a:lnTo>
                  <a:lnTo>
                    <a:pt x="3162" y="4332"/>
                  </a:lnTo>
                  <a:lnTo>
                    <a:pt x="3166" y="4328"/>
                  </a:lnTo>
                  <a:lnTo>
                    <a:pt x="3168" y="4322"/>
                  </a:lnTo>
                  <a:lnTo>
                    <a:pt x="3166" y="4318"/>
                  </a:lnTo>
                  <a:lnTo>
                    <a:pt x="3164" y="4318"/>
                  </a:lnTo>
                  <a:lnTo>
                    <a:pt x="3162" y="4320"/>
                  </a:lnTo>
                  <a:lnTo>
                    <a:pt x="3160" y="4322"/>
                  </a:lnTo>
                  <a:lnTo>
                    <a:pt x="3160" y="4326"/>
                  </a:lnTo>
                  <a:lnTo>
                    <a:pt x="3160" y="4328"/>
                  </a:lnTo>
                  <a:lnTo>
                    <a:pt x="3158" y="4328"/>
                  </a:lnTo>
                  <a:lnTo>
                    <a:pt x="3158" y="4330"/>
                  </a:lnTo>
                  <a:lnTo>
                    <a:pt x="3160" y="4332"/>
                  </a:lnTo>
                  <a:close/>
                  <a:moveTo>
                    <a:pt x="3190" y="5244"/>
                  </a:moveTo>
                  <a:lnTo>
                    <a:pt x="3190" y="5244"/>
                  </a:lnTo>
                  <a:lnTo>
                    <a:pt x="3188" y="5242"/>
                  </a:lnTo>
                  <a:lnTo>
                    <a:pt x="3186" y="5240"/>
                  </a:lnTo>
                  <a:lnTo>
                    <a:pt x="3182" y="5242"/>
                  </a:lnTo>
                  <a:lnTo>
                    <a:pt x="3178" y="5244"/>
                  </a:lnTo>
                  <a:lnTo>
                    <a:pt x="3176" y="5248"/>
                  </a:lnTo>
                  <a:lnTo>
                    <a:pt x="3178" y="5248"/>
                  </a:lnTo>
                  <a:lnTo>
                    <a:pt x="3184" y="5248"/>
                  </a:lnTo>
                  <a:lnTo>
                    <a:pt x="3188" y="5248"/>
                  </a:lnTo>
                  <a:lnTo>
                    <a:pt x="3190" y="5244"/>
                  </a:lnTo>
                  <a:close/>
                  <a:moveTo>
                    <a:pt x="3176" y="5252"/>
                  </a:moveTo>
                  <a:lnTo>
                    <a:pt x="3176" y="5252"/>
                  </a:lnTo>
                  <a:lnTo>
                    <a:pt x="3172" y="5254"/>
                  </a:lnTo>
                  <a:lnTo>
                    <a:pt x="3172" y="5256"/>
                  </a:lnTo>
                  <a:lnTo>
                    <a:pt x="3176" y="5258"/>
                  </a:lnTo>
                  <a:lnTo>
                    <a:pt x="3180" y="5254"/>
                  </a:lnTo>
                  <a:lnTo>
                    <a:pt x="3182" y="5252"/>
                  </a:lnTo>
                  <a:lnTo>
                    <a:pt x="3182" y="5250"/>
                  </a:lnTo>
                  <a:lnTo>
                    <a:pt x="3176" y="5252"/>
                  </a:lnTo>
                  <a:close/>
                  <a:moveTo>
                    <a:pt x="3224" y="5242"/>
                  </a:moveTo>
                  <a:lnTo>
                    <a:pt x="3224" y="5242"/>
                  </a:lnTo>
                  <a:lnTo>
                    <a:pt x="3220" y="5246"/>
                  </a:lnTo>
                  <a:lnTo>
                    <a:pt x="3218" y="5246"/>
                  </a:lnTo>
                  <a:lnTo>
                    <a:pt x="3216" y="5244"/>
                  </a:lnTo>
                  <a:lnTo>
                    <a:pt x="3214" y="5248"/>
                  </a:lnTo>
                  <a:lnTo>
                    <a:pt x="3214" y="5250"/>
                  </a:lnTo>
                  <a:lnTo>
                    <a:pt x="3216" y="5254"/>
                  </a:lnTo>
                  <a:lnTo>
                    <a:pt x="3220" y="5256"/>
                  </a:lnTo>
                  <a:lnTo>
                    <a:pt x="3222" y="5254"/>
                  </a:lnTo>
                  <a:lnTo>
                    <a:pt x="3224" y="5252"/>
                  </a:lnTo>
                  <a:lnTo>
                    <a:pt x="3228" y="5246"/>
                  </a:lnTo>
                  <a:lnTo>
                    <a:pt x="3228" y="5240"/>
                  </a:lnTo>
                  <a:lnTo>
                    <a:pt x="3228" y="5238"/>
                  </a:lnTo>
                  <a:lnTo>
                    <a:pt x="3226" y="5238"/>
                  </a:lnTo>
                  <a:lnTo>
                    <a:pt x="3224" y="5242"/>
                  </a:lnTo>
                  <a:close/>
                  <a:moveTo>
                    <a:pt x="3202" y="5252"/>
                  </a:moveTo>
                  <a:lnTo>
                    <a:pt x="3202" y="5252"/>
                  </a:lnTo>
                  <a:lnTo>
                    <a:pt x="3204" y="5250"/>
                  </a:lnTo>
                  <a:lnTo>
                    <a:pt x="3206" y="5248"/>
                  </a:lnTo>
                  <a:lnTo>
                    <a:pt x="3206" y="5246"/>
                  </a:lnTo>
                  <a:lnTo>
                    <a:pt x="3210" y="5244"/>
                  </a:lnTo>
                  <a:lnTo>
                    <a:pt x="3212" y="5240"/>
                  </a:lnTo>
                  <a:lnTo>
                    <a:pt x="3208" y="5240"/>
                  </a:lnTo>
                  <a:lnTo>
                    <a:pt x="3198" y="5240"/>
                  </a:lnTo>
                  <a:lnTo>
                    <a:pt x="3194" y="5242"/>
                  </a:lnTo>
                  <a:lnTo>
                    <a:pt x="3194" y="5246"/>
                  </a:lnTo>
                  <a:lnTo>
                    <a:pt x="3194" y="5248"/>
                  </a:lnTo>
                  <a:lnTo>
                    <a:pt x="3188" y="5254"/>
                  </a:lnTo>
                  <a:lnTo>
                    <a:pt x="3184" y="5256"/>
                  </a:lnTo>
                  <a:lnTo>
                    <a:pt x="3186" y="5256"/>
                  </a:lnTo>
                  <a:lnTo>
                    <a:pt x="3196" y="5258"/>
                  </a:lnTo>
                  <a:lnTo>
                    <a:pt x="3200" y="5256"/>
                  </a:lnTo>
                  <a:lnTo>
                    <a:pt x="3200" y="5254"/>
                  </a:lnTo>
                  <a:lnTo>
                    <a:pt x="3202" y="5252"/>
                  </a:lnTo>
                  <a:close/>
                  <a:moveTo>
                    <a:pt x="3244" y="4390"/>
                  </a:moveTo>
                  <a:lnTo>
                    <a:pt x="3244" y="4390"/>
                  </a:lnTo>
                  <a:lnTo>
                    <a:pt x="3242" y="4392"/>
                  </a:lnTo>
                  <a:lnTo>
                    <a:pt x="3242" y="4394"/>
                  </a:lnTo>
                  <a:lnTo>
                    <a:pt x="3246" y="4396"/>
                  </a:lnTo>
                  <a:lnTo>
                    <a:pt x="3250" y="4396"/>
                  </a:lnTo>
                  <a:lnTo>
                    <a:pt x="3252" y="4394"/>
                  </a:lnTo>
                  <a:lnTo>
                    <a:pt x="3250" y="4392"/>
                  </a:lnTo>
                  <a:lnTo>
                    <a:pt x="3246" y="4390"/>
                  </a:lnTo>
                  <a:lnTo>
                    <a:pt x="3244" y="4390"/>
                  </a:lnTo>
                  <a:close/>
                  <a:moveTo>
                    <a:pt x="3228" y="4278"/>
                  </a:moveTo>
                  <a:lnTo>
                    <a:pt x="3228" y="4278"/>
                  </a:lnTo>
                  <a:lnTo>
                    <a:pt x="3228" y="4280"/>
                  </a:lnTo>
                  <a:lnTo>
                    <a:pt x="3230" y="4284"/>
                  </a:lnTo>
                  <a:lnTo>
                    <a:pt x="3234" y="4290"/>
                  </a:lnTo>
                  <a:lnTo>
                    <a:pt x="3234" y="4294"/>
                  </a:lnTo>
                  <a:lnTo>
                    <a:pt x="3232" y="4298"/>
                  </a:lnTo>
                  <a:lnTo>
                    <a:pt x="3234" y="4300"/>
                  </a:lnTo>
                  <a:lnTo>
                    <a:pt x="3234" y="4302"/>
                  </a:lnTo>
                  <a:lnTo>
                    <a:pt x="3232" y="4304"/>
                  </a:lnTo>
                  <a:lnTo>
                    <a:pt x="3232" y="4306"/>
                  </a:lnTo>
                  <a:lnTo>
                    <a:pt x="3234" y="4308"/>
                  </a:lnTo>
                  <a:lnTo>
                    <a:pt x="3238" y="4308"/>
                  </a:lnTo>
                  <a:lnTo>
                    <a:pt x="3240" y="4306"/>
                  </a:lnTo>
                  <a:lnTo>
                    <a:pt x="3240" y="4304"/>
                  </a:lnTo>
                  <a:lnTo>
                    <a:pt x="3242" y="4304"/>
                  </a:lnTo>
                  <a:lnTo>
                    <a:pt x="3246" y="4308"/>
                  </a:lnTo>
                  <a:lnTo>
                    <a:pt x="3248" y="4314"/>
                  </a:lnTo>
                  <a:lnTo>
                    <a:pt x="3248" y="4318"/>
                  </a:lnTo>
                  <a:lnTo>
                    <a:pt x="3248" y="4322"/>
                  </a:lnTo>
                  <a:lnTo>
                    <a:pt x="3246" y="4328"/>
                  </a:lnTo>
                  <a:lnTo>
                    <a:pt x="3248" y="4332"/>
                  </a:lnTo>
                  <a:lnTo>
                    <a:pt x="3248" y="4334"/>
                  </a:lnTo>
                  <a:lnTo>
                    <a:pt x="3248" y="4338"/>
                  </a:lnTo>
                  <a:lnTo>
                    <a:pt x="3246" y="4342"/>
                  </a:lnTo>
                  <a:lnTo>
                    <a:pt x="3248" y="4344"/>
                  </a:lnTo>
                  <a:lnTo>
                    <a:pt x="3256" y="4348"/>
                  </a:lnTo>
                  <a:lnTo>
                    <a:pt x="3258" y="4350"/>
                  </a:lnTo>
                  <a:lnTo>
                    <a:pt x="3258" y="4344"/>
                  </a:lnTo>
                  <a:lnTo>
                    <a:pt x="3256" y="4338"/>
                  </a:lnTo>
                  <a:lnTo>
                    <a:pt x="3256" y="4336"/>
                  </a:lnTo>
                  <a:lnTo>
                    <a:pt x="3256" y="4334"/>
                  </a:lnTo>
                  <a:lnTo>
                    <a:pt x="3258" y="4336"/>
                  </a:lnTo>
                  <a:lnTo>
                    <a:pt x="3260" y="4342"/>
                  </a:lnTo>
                  <a:lnTo>
                    <a:pt x="3262" y="4348"/>
                  </a:lnTo>
                  <a:lnTo>
                    <a:pt x="3266" y="4354"/>
                  </a:lnTo>
                  <a:lnTo>
                    <a:pt x="3270" y="4356"/>
                  </a:lnTo>
                  <a:lnTo>
                    <a:pt x="3270" y="4354"/>
                  </a:lnTo>
                  <a:lnTo>
                    <a:pt x="3266" y="4344"/>
                  </a:lnTo>
                  <a:lnTo>
                    <a:pt x="3264" y="4342"/>
                  </a:lnTo>
                  <a:lnTo>
                    <a:pt x="3266" y="4342"/>
                  </a:lnTo>
                  <a:lnTo>
                    <a:pt x="3268" y="4340"/>
                  </a:lnTo>
                  <a:lnTo>
                    <a:pt x="3270" y="4338"/>
                  </a:lnTo>
                  <a:lnTo>
                    <a:pt x="3268" y="4332"/>
                  </a:lnTo>
                  <a:lnTo>
                    <a:pt x="3266" y="4330"/>
                  </a:lnTo>
                  <a:lnTo>
                    <a:pt x="3266" y="4326"/>
                  </a:lnTo>
                  <a:lnTo>
                    <a:pt x="3264" y="4322"/>
                  </a:lnTo>
                  <a:lnTo>
                    <a:pt x="3260" y="4318"/>
                  </a:lnTo>
                  <a:lnTo>
                    <a:pt x="3260" y="4316"/>
                  </a:lnTo>
                  <a:lnTo>
                    <a:pt x="3258" y="4312"/>
                  </a:lnTo>
                  <a:lnTo>
                    <a:pt x="3258" y="4304"/>
                  </a:lnTo>
                  <a:lnTo>
                    <a:pt x="3258" y="4296"/>
                  </a:lnTo>
                  <a:lnTo>
                    <a:pt x="3258" y="4294"/>
                  </a:lnTo>
                  <a:lnTo>
                    <a:pt x="3256" y="4292"/>
                  </a:lnTo>
                  <a:lnTo>
                    <a:pt x="3254" y="4290"/>
                  </a:lnTo>
                  <a:lnTo>
                    <a:pt x="3256" y="4288"/>
                  </a:lnTo>
                  <a:lnTo>
                    <a:pt x="3256" y="4284"/>
                  </a:lnTo>
                  <a:lnTo>
                    <a:pt x="3252" y="4284"/>
                  </a:lnTo>
                  <a:lnTo>
                    <a:pt x="3248" y="4284"/>
                  </a:lnTo>
                  <a:lnTo>
                    <a:pt x="3246" y="4286"/>
                  </a:lnTo>
                  <a:lnTo>
                    <a:pt x="3244" y="4288"/>
                  </a:lnTo>
                  <a:lnTo>
                    <a:pt x="3240" y="4286"/>
                  </a:lnTo>
                  <a:lnTo>
                    <a:pt x="3234" y="4280"/>
                  </a:lnTo>
                  <a:lnTo>
                    <a:pt x="3230" y="4278"/>
                  </a:lnTo>
                  <a:lnTo>
                    <a:pt x="3228" y="4278"/>
                  </a:lnTo>
                  <a:close/>
                  <a:moveTo>
                    <a:pt x="3292" y="3100"/>
                  </a:moveTo>
                  <a:lnTo>
                    <a:pt x="3292" y="3100"/>
                  </a:lnTo>
                  <a:lnTo>
                    <a:pt x="3294" y="3100"/>
                  </a:lnTo>
                  <a:lnTo>
                    <a:pt x="3296" y="3094"/>
                  </a:lnTo>
                  <a:lnTo>
                    <a:pt x="3296" y="3092"/>
                  </a:lnTo>
                  <a:lnTo>
                    <a:pt x="3294" y="3094"/>
                  </a:lnTo>
                  <a:lnTo>
                    <a:pt x="3292" y="3096"/>
                  </a:lnTo>
                  <a:lnTo>
                    <a:pt x="3292" y="3100"/>
                  </a:lnTo>
                  <a:close/>
                  <a:moveTo>
                    <a:pt x="3208" y="4238"/>
                  </a:moveTo>
                  <a:lnTo>
                    <a:pt x="3208" y="4238"/>
                  </a:lnTo>
                  <a:lnTo>
                    <a:pt x="3210" y="4234"/>
                  </a:lnTo>
                  <a:lnTo>
                    <a:pt x="3208" y="4228"/>
                  </a:lnTo>
                  <a:lnTo>
                    <a:pt x="3204" y="4224"/>
                  </a:lnTo>
                  <a:lnTo>
                    <a:pt x="3202" y="4222"/>
                  </a:lnTo>
                  <a:lnTo>
                    <a:pt x="3200" y="4222"/>
                  </a:lnTo>
                  <a:lnTo>
                    <a:pt x="3200" y="4224"/>
                  </a:lnTo>
                  <a:lnTo>
                    <a:pt x="3204" y="4230"/>
                  </a:lnTo>
                  <a:lnTo>
                    <a:pt x="3208" y="4238"/>
                  </a:lnTo>
                  <a:close/>
                  <a:moveTo>
                    <a:pt x="3164" y="4238"/>
                  </a:moveTo>
                  <a:lnTo>
                    <a:pt x="3164" y="4238"/>
                  </a:lnTo>
                  <a:lnTo>
                    <a:pt x="3164" y="4232"/>
                  </a:lnTo>
                  <a:lnTo>
                    <a:pt x="3162" y="4230"/>
                  </a:lnTo>
                  <a:lnTo>
                    <a:pt x="3158" y="4230"/>
                  </a:lnTo>
                  <a:lnTo>
                    <a:pt x="3154" y="4232"/>
                  </a:lnTo>
                  <a:lnTo>
                    <a:pt x="3152" y="4232"/>
                  </a:lnTo>
                  <a:lnTo>
                    <a:pt x="3154" y="4234"/>
                  </a:lnTo>
                  <a:lnTo>
                    <a:pt x="3156" y="4236"/>
                  </a:lnTo>
                  <a:lnTo>
                    <a:pt x="3160" y="4240"/>
                  </a:lnTo>
                  <a:lnTo>
                    <a:pt x="3162" y="4240"/>
                  </a:lnTo>
                  <a:lnTo>
                    <a:pt x="3164" y="4238"/>
                  </a:lnTo>
                  <a:close/>
                  <a:moveTo>
                    <a:pt x="3196" y="4228"/>
                  </a:moveTo>
                  <a:lnTo>
                    <a:pt x="3196" y="4228"/>
                  </a:lnTo>
                  <a:lnTo>
                    <a:pt x="3192" y="4228"/>
                  </a:lnTo>
                  <a:lnTo>
                    <a:pt x="3190" y="4228"/>
                  </a:lnTo>
                  <a:lnTo>
                    <a:pt x="3188" y="4228"/>
                  </a:lnTo>
                  <a:lnTo>
                    <a:pt x="3186" y="4232"/>
                  </a:lnTo>
                  <a:lnTo>
                    <a:pt x="3188" y="4238"/>
                  </a:lnTo>
                  <a:lnTo>
                    <a:pt x="3186" y="4242"/>
                  </a:lnTo>
                  <a:lnTo>
                    <a:pt x="3182" y="4256"/>
                  </a:lnTo>
                  <a:lnTo>
                    <a:pt x="3182" y="4258"/>
                  </a:lnTo>
                  <a:lnTo>
                    <a:pt x="3184" y="4258"/>
                  </a:lnTo>
                  <a:lnTo>
                    <a:pt x="3186" y="4254"/>
                  </a:lnTo>
                  <a:lnTo>
                    <a:pt x="3196" y="4244"/>
                  </a:lnTo>
                  <a:lnTo>
                    <a:pt x="3198" y="4244"/>
                  </a:lnTo>
                  <a:lnTo>
                    <a:pt x="3200" y="4244"/>
                  </a:lnTo>
                  <a:lnTo>
                    <a:pt x="3202" y="4250"/>
                  </a:lnTo>
                  <a:lnTo>
                    <a:pt x="3204" y="4256"/>
                  </a:lnTo>
                  <a:lnTo>
                    <a:pt x="3206" y="4258"/>
                  </a:lnTo>
                  <a:lnTo>
                    <a:pt x="3208" y="4260"/>
                  </a:lnTo>
                  <a:lnTo>
                    <a:pt x="3212" y="4262"/>
                  </a:lnTo>
                  <a:lnTo>
                    <a:pt x="3218" y="4266"/>
                  </a:lnTo>
                  <a:lnTo>
                    <a:pt x="3222" y="4268"/>
                  </a:lnTo>
                  <a:lnTo>
                    <a:pt x="3220" y="4264"/>
                  </a:lnTo>
                  <a:lnTo>
                    <a:pt x="3218" y="4258"/>
                  </a:lnTo>
                  <a:lnTo>
                    <a:pt x="3216" y="4252"/>
                  </a:lnTo>
                  <a:lnTo>
                    <a:pt x="3214" y="4246"/>
                  </a:lnTo>
                  <a:lnTo>
                    <a:pt x="3210" y="4242"/>
                  </a:lnTo>
                  <a:lnTo>
                    <a:pt x="3206" y="4240"/>
                  </a:lnTo>
                  <a:lnTo>
                    <a:pt x="3202" y="4234"/>
                  </a:lnTo>
                  <a:lnTo>
                    <a:pt x="3198" y="4230"/>
                  </a:lnTo>
                  <a:lnTo>
                    <a:pt x="3196" y="4228"/>
                  </a:lnTo>
                  <a:close/>
                  <a:moveTo>
                    <a:pt x="3152" y="5104"/>
                  </a:moveTo>
                  <a:lnTo>
                    <a:pt x="3152" y="5104"/>
                  </a:lnTo>
                  <a:lnTo>
                    <a:pt x="3160" y="5100"/>
                  </a:lnTo>
                  <a:lnTo>
                    <a:pt x="3162" y="5098"/>
                  </a:lnTo>
                  <a:lnTo>
                    <a:pt x="3162" y="5094"/>
                  </a:lnTo>
                  <a:lnTo>
                    <a:pt x="3160" y="5090"/>
                  </a:lnTo>
                  <a:lnTo>
                    <a:pt x="3162" y="5084"/>
                  </a:lnTo>
                  <a:lnTo>
                    <a:pt x="3164" y="5078"/>
                  </a:lnTo>
                  <a:lnTo>
                    <a:pt x="3166" y="5070"/>
                  </a:lnTo>
                  <a:lnTo>
                    <a:pt x="3164" y="5066"/>
                  </a:lnTo>
                  <a:lnTo>
                    <a:pt x="3164" y="5064"/>
                  </a:lnTo>
                  <a:lnTo>
                    <a:pt x="3160" y="5064"/>
                  </a:lnTo>
                  <a:lnTo>
                    <a:pt x="3158" y="5064"/>
                  </a:lnTo>
                  <a:lnTo>
                    <a:pt x="3152" y="5070"/>
                  </a:lnTo>
                  <a:lnTo>
                    <a:pt x="3150" y="5074"/>
                  </a:lnTo>
                  <a:lnTo>
                    <a:pt x="3150" y="5078"/>
                  </a:lnTo>
                  <a:lnTo>
                    <a:pt x="3150" y="5090"/>
                  </a:lnTo>
                  <a:lnTo>
                    <a:pt x="3148" y="5098"/>
                  </a:lnTo>
                  <a:lnTo>
                    <a:pt x="3148" y="5104"/>
                  </a:lnTo>
                  <a:lnTo>
                    <a:pt x="3148" y="5106"/>
                  </a:lnTo>
                  <a:lnTo>
                    <a:pt x="3152" y="5104"/>
                  </a:lnTo>
                  <a:close/>
                  <a:moveTo>
                    <a:pt x="3192" y="4332"/>
                  </a:moveTo>
                  <a:lnTo>
                    <a:pt x="3192" y="4332"/>
                  </a:lnTo>
                  <a:lnTo>
                    <a:pt x="3198" y="4322"/>
                  </a:lnTo>
                  <a:lnTo>
                    <a:pt x="3198" y="4314"/>
                  </a:lnTo>
                  <a:lnTo>
                    <a:pt x="3196" y="4308"/>
                  </a:lnTo>
                  <a:lnTo>
                    <a:pt x="3196" y="4306"/>
                  </a:lnTo>
                  <a:lnTo>
                    <a:pt x="3192" y="4306"/>
                  </a:lnTo>
                  <a:lnTo>
                    <a:pt x="3190" y="4304"/>
                  </a:lnTo>
                  <a:lnTo>
                    <a:pt x="3186" y="4304"/>
                  </a:lnTo>
                  <a:lnTo>
                    <a:pt x="3184" y="4304"/>
                  </a:lnTo>
                  <a:lnTo>
                    <a:pt x="3178" y="4306"/>
                  </a:lnTo>
                  <a:lnTo>
                    <a:pt x="3176" y="4310"/>
                  </a:lnTo>
                  <a:lnTo>
                    <a:pt x="3174" y="4312"/>
                  </a:lnTo>
                  <a:lnTo>
                    <a:pt x="3174" y="4316"/>
                  </a:lnTo>
                  <a:lnTo>
                    <a:pt x="3176" y="4320"/>
                  </a:lnTo>
                  <a:lnTo>
                    <a:pt x="3174" y="4322"/>
                  </a:lnTo>
                  <a:lnTo>
                    <a:pt x="3172" y="4324"/>
                  </a:lnTo>
                  <a:lnTo>
                    <a:pt x="3170" y="4326"/>
                  </a:lnTo>
                  <a:lnTo>
                    <a:pt x="3170" y="4330"/>
                  </a:lnTo>
                  <a:lnTo>
                    <a:pt x="3172" y="4336"/>
                  </a:lnTo>
                  <a:lnTo>
                    <a:pt x="3172" y="4344"/>
                  </a:lnTo>
                  <a:lnTo>
                    <a:pt x="3172" y="4348"/>
                  </a:lnTo>
                  <a:lnTo>
                    <a:pt x="3168" y="4352"/>
                  </a:lnTo>
                  <a:lnTo>
                    <a:pt x="3164" y="4354"/>
                  </a:lnTo>
                  <a:lnTo>
                    <a:pt x="3162" y="4354"/>
                  </a:lnTo>
                  <a:lnTo>
                    <a:pt x="3158" y="4352"/>
                  </a:lnTo>
                  <a:lnTo>
                    <a:pt x="3154" y="4352"/>
                  </a:lnTo>
                  <a:lnTo>
                    <a:pt x="3152" y="4358"/>
                  </a:lnTo>
                  <a:lnTo>
                    <a:pt x="3152" y="4364"/>
                  </a:lnTo>
                  <a:lnTo>
                    <a:pt x="3156" y="4372"/>
                  </a:lnTo>
                  <a:lnTo>
                    <a:pt x="3162" y="4380"/>
                  </a:lnTo>
                  <a:lnTo>
                    <a:pt x="3166" y="4382"/>
                  </a:lnTo>
                  <a:lnTo>
                    <a:pt x="3170" y="4384"/>
                  </a:lnTo>
                  <a:lnTo>
                    <a:pt x="3172" y="4392"/>
                  </a:lnTo>
                  <a:lnTo>
                    <a:pt x="3176" y="4398"/>
                  </a:lnTo>
                  <a:lnTo>
                    <a:pt x="3178" y="4400"/>
                  </a:lnTo>
                  <a:lnTo>
                    <a:pt x="3180" y="4400"/>
                  </a:lnTo>
                  <a:lnTo>
                    <a:pt x="3184" y="4396"/>
                  </a:lnTo>
                  <a:lnTo>
                    <a:pt x="3188" y="4392"/>
                  </a:lnTo>
                  <a:lnTo>
                    <a:pt x="3190" y="4388"/>
                  </a:lnTo>
                  <a:lnTo>
                    <a:pt x="3190" y="4384"/>
                  </a:lnTo>
                  <a:lnTo>
                    <a:pt x="3186" y="4376"/>
                  </a:lnTo>
                  <a:lnTo>
                    <a:pt x="3182" y="4364"/>
                  </a:lnTo>
                  <a:lnTo>
                    <a:pt x="3182" y="4360"/>
                  </a:lnTo>
                  <a:lnTo>
                    <a:pt x="3184" y="4356"/>
                  </a:lnTo>
                  <a:lnTo>
                    <a:pt x="3188" y="4348"/>
                  </a:lnTo>
                  <a:lnTo>
                    <a:pt x="3188" y="4344"/>
                  </a:lnTo>
                  <a:lnTo>
                    <a:pt x="3190" y="4338"/>
                  </a:lnTo>
                  <a:lnTo>
                    <a:pt x="3192" y="4332"/>
                  </a:lnTo>
                  <a:close/>
                  <a:moveTo>
                    <a:pt x="3202" y="4390"/>
                  </a:moveTo>
                  <a:lnTo>
                    <a:pt x="3202" y="4390"/>
                  </a:lnTo>
                  <a:lnTo>
                    <a:pt x="3200" y="4392"/>
                  </a:lnTo>
                  <a:lnTo>
                    <a:pt x="3196" y="4392"/>
                  </a:lnTo>
                  <a:lnTo>
                    <a:pt x="3198" y="4394"/>
                  </a:lnTo>
                  <a:lnTo>
                    <a:pt x="3202" y="4396"/>
                  </a:lnTo>
                  <a:lnTo>
                    <a:pt x="3204" y="4396"/>
                  </a:lnTo>
                  <a:lnTo>
                    <a:pt x="3206" y="4394"/>
                  </a:lnTo>
                  <a:lnTo>
                    <a:pt x="3204" y="4390"/>
                  </a:lnTo>
                  <a:lnTo>
                    <a:pt x="3202" y="4388"/>
                  </a:lnTo>
                  <a:lnTo>
                    <a:pt x="3202" y="4390"/>
                  </a:lnTo>
                  <a:close/>
                  <a:moveTo>
                    <a:pt x="3218" y="4324"/>
                  </a:moveTo>
                  <a:lnTo>
                    <a:pt x="3218" y="4324"/>
                  </a:lnTo>
                  <a:lnTo>
                    <a:pt x="3218" y="4318"/>
                  </a:lnTo>
                  <a:lnTo>
                    <a:pt x="3220" y="4314"/>
                  </a:lnTo>
                  <a:lnTo>
                    <a:pt x="3222" y="4310"/>
                  </a:lnTo>
                  <a:lnTo>
                    <a:pt x="3222" y="4308"/>
                  </a:lnTo>
                  <a:lnTo>
                    <a:pt x="3220" y="4300"/>
                  </a:lnTo>
                  <a:lnTo>
                    <a:pt x="3220" y="4292"/>
                  </a:lnTo>
                  <a:lnTo>
                    <a:pt x="3218" y="4290"/>
                  </a:lnTo>
                  <a:lnTo>
                    <a:pt x="3216" y="4298"/>
                  </a:lnTo>
                  <a:lnTo>
                    <a:pt x="3210" y="4312"/>
                  </a:lnTo>
                  <a:lnTo>
                    <a:pt x="3208" y="4316"/>
                  </a:lnTo>
                  <a:lnTo>
                    <a:pt x="3206" y="4324"/>
                  </a:lnTo>
                  <a:lnTo>
                    <a:pt x="3204" y="4334"/>
                  </a:lnTo>
                  <a:lnTo>
                    <a:pt x="3198" y="4342"/>
                  </a:lnTo>
                  <a:lnTo>
                    <a:pt x="3194" y="4348"/>
                  </a:lnTo>
                  <a:lnTo>
                    <a:pt x="3192" y="4354"/>
                  </a:lnTo>
                  <a:lnTo>
                    <a:pt x="3192" y="4362"/>
                  </a:lnTo>
                  <a:lnTo>
                    <a:pt x="3190" y="4374"/>
                  </a:lnTo>
                  <a:lnTo>
                    <a:pt x="3190" y="4380"/>
                  </a:lnTo>
                  <a:lnTo>
                    <a:pt x="3192" y="4380"/>
                  </a:lnTo>
                  <a:lnTo>
                    <a:pt x="3194" y="4376"/>
                  </a:lnTo>
                  <a:lnTo>
                    <a:pt x="3198" y="4368"/>
                  </a:lnTo>
                  <a:lnTo>
                    <a:pt x="3200" y="4362"/>
                  </a:lnTo>
                  <a:lnTo>
                    <a:pt x="3202" y="4360"/>
                  </a:lnTo>
                  <a:lnTo>
                    <a:pt x="3204" y="4358"/>
                  </a:lnTo>
                  <a:lnTo>
                    <a:pt x="3204" y="4352"/>
                  </a:lnTo>
                  <a:lnTo>
                    <a:pt x="3204" y="4348"/>
                  </a:lnTo>
                  <a:lnTo>
                    <a:pt x="3206" y="4344"/>
                  </a:lnTo>
                  <a:lnTo>
                    <a:pt x="3212" y="4340"/>
                  </a:lnTo>
                  <a:lnTo>
                    <a:pt x="3218" y="4332"/>
                  </a:lnTo>
                  <a:lnTo>
                    <a:pt x="3220" y="4328"/>
                  </a:lnTo>
                  <a:lnTo>
                    <a:pt x="3218" y="4324"/>
                  </a:lnTo>
                  <a:close/>
                  <a:moveTo>
                    <a:pt x="3226" y="4342"/>
                  </a:moveTo>
                  <a:lnTo>
                    <a:pt x="3226" y="4342"/>
                  </a:lnTo>
                  <a:lnTo>
                    <a:pt x="3222" y="4350"/>
                  </a:lnTo>
                  <a:lnTo>
                    <a:pt x="3216" y="4354"/>
                  </a:lnTo>
                  <a:lnTo>
                    <a:pt x="3214" y="4356"/>
                  </a:lnTo>
                  <a:lnTo>
                    <a:pt x="3210" y="4360"/>
                  </a:lnTo>
                  <a:lnTo>
                    <a:pt x="3210" y="4364"/>
                  </a:lnTo>
                  <a:lnTo>
                    <a:pt x="3212" y="4368"/>
                  </a:lnTo>
                  <a:lnTo>
                    <a:pt x="3214" y="4370"/>
                  </a:lnTo>
                  <a:lnTo>
                    <a:pt x="3216" y="4372"/>
                  </a:lnTo>
                  <a:lnTo>
                    <a:pt x="3224" y="4372"/>
                  </a:lnTo>
                  <a:lnTo>
                    <a:pt x="3230" y="4370"/>
                  </a:lnTo>
                  <a:lnTo>
                    <a:pt x="3234" y="4368"/>
                  </a:lnTo>
                  <a:lnTo>
                    <a:pt x="3236" y="4366"/>
                  </a:lnTo>
                  <a:lnTo>
                    <a:pt x="3240" y="4366"/>
                  </a:lnTo>
                  <a:lnTo>
                    <a:pt x="3240" y="4364"/>
                  </a:lnTo>
                  <a:lnTo>
                    <a:pt x="3240" y="4362"/>
                  </a:lnTo>
                  <a:lnTo>
                    <a:pt x="3240" y="4356"/>
                  </a:lnTo>
                  <a:lnTo>
                    <a:pt x="3242" y="4352"/>
                  </a:lnTo>
                  <a:lnTo>
                    <a:pt x="3242" y="4346"/>
                  </a:lnTo>
                  <a:lnTo>
                    <a:pt x="3242" y="4344"/>
                  </a:lnTo>
                  <a:lnTo>
                    <a:pt x="3240" y="4344"/>
                  </a:lnTo>
                  <a:lnTo>
                    <a:pt x="3238" y="4346"/>
                  </a:lnTo>
                  <a:lnTo>
                    <a:pt x="3238" y="4348"/>
                  </a:lnTo>
                  <a:lnTo>
                    <a:pt x="3234" y="4348"/>
                  </a:lnTo>
                  <a:lnTo>
                    <a:pt x="3232" y="4346"/>
                  </a:lnTo>
                  <a:lnTo>
                    <a:pt x="3228" y="4342"/>
                  </a:lnTo>
                  <a:lnTo>
                    <a:pt x="3228" y="4340"/>
                  </a:lnTo>
                  <a:lnTo>
                    <a:pt x="3226" y="4342"/>
                  </a:lnTo>
                  <a:close/>
                  <a:moveTo>
                    <a:pt x="3240" y="4278"/>
                  </a:moveTo>
                  <a:lnTo>
                    <a:pt x="3240" y="4278"/>
                  </a:lnTo>
                  <a:lnTo>
                    <a:pt x="3242" y="4278"/>
                  </a:lnTo>
                  <a:lnTo>
                    <a:pt x="3242" y="4274"/>
                  </a:lnTo>
                  <a:lnTo>
                    <a:pt x="3240" y="4270"/>
                  </a:lnTo>
                  <a:lnTo>
                    <a:pt x="3236" y="4270"/>
                  </a:lnTo>
                  <a:lnTo>
                    <a:pt x="3234" y="4270"/>
                  </a:lnTo>
                  <a:lnTo>
                    <a:pt x="3234" y="4274"/>
                  </a:lnTo>
                  <a:lnTo>
                    <a:pt x="3236" y="4278"/>
                  </a:lnTo>
                  <a:lnTo>
                    <a:pt x="3240" y="4278"/>
                  </a:lnTo>
                  <a:close/>
                  <a:moveTo>
                    <a:pt x="3164" y="5116"/>
                  </a:moveTo>
                  <a:lnTo>
                    <a:pt x="3164" y="5116"/>
                  </a:lnTo>
                  <a:lnTo>
                    <a:pt x="3166" y="5118"/>
                  </a:lnTo>
                  <a:lnTo>
                    <a:pt x="3168" y="5116"/>
                  </a:lnTo>
                  <a:lnTo>
                    <a:pt x="3172" y="5110"/>
                  </a:lnTo>
                  <a:lnTo>
                    <a:pt x="3174" y="5106"/>
                  </a:lnTo>
                  <a:lnTo>
                    <a:pt x="3176" y="5104"/>
                  </a:lnTo>
                  <a:lnTo>
                    <a:pt x="3182" y="5102"/>
                  </a:lnTo>
                  <a:lnTo>
                    <a:pt x="3184" y="5102"/>
                  </a:lnTo>
                  <a:lnTo>
                    <a:pt x="3186" y="5100"/>
                  </a:lnTo>
                  <a:lnTo>
                    <a:pt x="3180" y="5092"/>
                  </a:lnTo>
                  <a:lnTo>
                    <a:pt x="3176" y="5086"/>
                  </a:lnTo>
                  <a:lnTo>
                    <a:pt x="3176" y="5082"/>
                  </a:lnTo>
                  <a:lnTo>
                    <a:pt x="3176" y="5078"/>
                  </a:lnTo>
                  <a:lnTo>
                    <a:pt x="3178" y="5076"/>
                  </a:lnTo>
                  <a:lnTo>
                    <a:pt x="3184" y="5070"/>
                  </a:lnTo>
                  <a:lnTo>
                    <a:pt x="3184" y="5064"/>
                  </a:lnTo>
                  <a:lnTo>
                    <a:pt x="3182" y="5058"/>
                  </a:lnTo>
                  <a:lnTo>
                    <a:pt x="3180" y="5054"/>
                  </a:lnTo>
                  <a:lnTo>
                    <a:pt x="3178" y="5052"/>
                  </a:lnTo>
                  <a:lnTo>
                    <a:pt x="3174" y="5054"/>
                  </a:lnTo>
                  <a:lnTo>
                    <a:pt x="3172" y="5058"/>
                  </a:lnTo>
                  <a:lnTo>
                    <a:pt x="3170" y="5070"/>
                  </a:lnTo>
                  <a:lnTo>
                    <a:pt x="3168" y="5086"/>
                  </a:lnTo>
                  <a:lnTo>
                    <a:pt x="3166" y="5094"/>
                  </a:lnTo>
                  <a:lnTo>
                    <a:pt x="3164" y="5100"/>
                  </a:lnTo>
                  <a:lnTo>
                    <a:pt x="3160" y="5108"/>
                  </a:lnTo>
                  <a:lnTo>
                    <a:pt x="3158" y="5110"/>
                  </a:lnTo>
                  <a:lnTo>
                    <a:pt x="3158" y="5112"/>
                  </a:lnTo>
                  <a:lnTo>
                    <a:pt x="3164" y="5116"/>
                  </a:lnTo>
                  <a:close/>
                  <a:moveTo>
                    <a:pt x="3346" y="4866"/>
                  </a:moveTo>
                  <a:lnTo>
                    <a:pt x="3346" y="4866"/>
                  </a:lnTo>
                  <a:lnTo>
                    <a:pt x="3348" y="4862"/>
                  </a:lnTo>
                  <a:lnTo>
                    <a:pt x="3348" y="4858"/>
                  </a:lnTo>
                  <a:lnTo>
                    <a:pt x="3348" y="4852"/>
                  </a:lnTo>
                  <a:lnTo>
                    <a:pt x="3346" y="4852"/>
                  </a:lnTo>
                  <a:lnTo>
                    <a:pt x="3344" y="4852"/>
                  </a:lnTo>
                  <a:lnTo>
                    <a:pt x="3342" y="4856"/>
                  </a:lnTo>
                  <a:lnTo>
                    <a:pt x="3342" y="4860"/>
                  </a:lnTo>
                  <a:lnTo>
                    <a:pt x="3342" y="4864"/>
                  </a:lnTo>
                  <a:lnTo>
                    <a:pt x="3344" y="4866"/>
                  </a:lnTo>
                  <a:lnTo>
                    <a:pt x="3346" y="4866"/>
                  </a:lnTo>
                  <a:close/>
                  <a:moveTo>
                    <a:pt x="3342" y="4998"/>
                  </a:moveTo>
                  <a:lnTo>
                    <a:pt x="3342" y="4998"/>
                  </a:lnTo>
                  <a:lnTo>
                    <a:pt x="3336" y="4992"/>
                  </a:lnTo>
                  <a:lnTo>
                    <a:pt x="3330" y="4990"/>
                  </a:lnTo>
                  <a:lnTo>
                    <a:pt x="3324" y="4986"/>
                  </a:lnTo>
                  <a:lnTo>
                    <a:pt x="3316" y="4986"/>
                  </a:lnTo>
                  <a:lnTo>
                    <a:pt x="3310" y="4986"/>
                  </a:lnTo>
                  <a:lnTo>
                    <a:pt x="3304" y="4988"/>
                  </a:lnTo>
                  <a:lnTo>
                    <a:pt x="3300" y="4992"/>
                  </a:lnTo>
                  <a:lnTo>
                    <a:pt x="3298" y="4996"/>
                  </a:lnTo>
                  <a:lnTo>
                    <a:pt x="3298" y="5002"/>
                  </a:lnTo>
                  <a:lnTo>
                    <a:pt x="3304" y="5010"/>
                  </a:lnTo>
                  <a:lnTo>
                    <a:pt x="3312" y="5016"/>
                  </a:lnTo>
                  <a:lnTo>
                    <a:pt x="3320" y="5024"/>
                  </a:lnTo>
                  <a:lnTo>
                    <a:pt x="3326" y="5026"/>
                  </a:lnTo>
                  <a:lnTo>
                    <a:pt x="3332" y="5026"/>
                  </a:lnTo>
                  <a:lnTo>
                    <a:pt x="3336" y="5024"/>
                  </a:lnTo>
                  <a:lnTo>
                    <a:pt x="3342" y="5020"/>
                  </a:lnTo>
                  <a:lnTo>
                    <a:pt x="3344" y="5016"/>
                  </a:lnTo>
                  <a:lnTo>
                    <a:pt x="3346" y="5010"/>
                  </a:lnTo>
                  <a:lnTo>
                    <a:pt x="3344" y="5004"/>
                  </a:lnTo>
                  <a:lnTo>
                    <a:pt x="3342" y="4998"/>
                  </a:lnTo>
                  <a:close/>
                  <a:moveTo>
                    <a:pt x="3330" y="5214"/>
                  </a:moveTo>
                  <a:lnTo>
                    <a:pt x="3330" y="5214"/>
                  </a:lnTo>
                  <a:lnTo>
                    <a:pt x="3328" y="5212"/>
                  </a:lnTo>
                  <a:lnTo>
                    <a:pt x="3326" y="5210"/>
                  </a:lnTo>
                  <a:lnTo>
                    <a:pt x="3314" y="5210"/>
                  </a:lnTo>
                  <a:lnTo>
                    <a:pt x="3302" y="5214"/>
                  </a:lnTo>
                  <a:lnTo>
                    <a:pt x="3296" y="5216"/>
                  </a:lnTo>
                  <a:lnTo>
                    <a:pt x="3290" y="5220"/>
                  </a:lnTo>
                  <a:lnTo>
                    <a:pt x="3290" y="5224"/>
                  </a:lnTo>
                  <a:lnTo>
                    <a:pt x="3292" y="5224"/>
                  </a:lnTo>
                  <a:lnTo>
                    <a:pt x="3306" y="5224"/>
                  </a:lnTo>
                  <a:lnTo>
                    <a:pt x="3322" y="5220"/>
                  </a:lnTo>
                  <a:lnTo>
                    <a:pt x="3328" y="5216"/>
                  </a:lnTo>
                  <a:lnTo>
                    <a:pt x="3330" y="5214"/>
                  </a:lnTo>
                  <a:close/>
                  <a:moveTo>
                    <a:pt x="3294" y="4936"/>
                  </a:moveTo>
                  <a:lnTo>
                    <a:pt x="3294" y="4936"/>
                  </a:lnTo>
                  <a:lnTo>
                    <a:pt x="3292" y="4938"/>
                  </a:lnTo>
                  <a:lnTo>
                    <a:pt x="3292" y="4942"/>
                  </a:lnTo>
                  <a:lnTo>
                    <a:pt x="3296" y="4956"/>
                  </a:lnTo>
                  <a:lnTo>
                    <a:pt x="3298" y="4960"/>
                  </a:lnTo>
                  <a:lnTo>
                    <a:pt x="3300" y="4960"/>
                  </a:lnTo>
                  <a:lnTo>
                    <a:pt x="3300" y="4956"/>
                  </a:lnTo>
                  <a:lnTo>
                    <a:pt x="3298" y="4950"/>
                  </a:lnTo>
                  <a:lnTo>
                    <a:pt x="3298" y="4944"/>
                  </a:lnTo>
                  <a:lnTo>
                    <a:pt x="3296" y="4938"/>
                  </a:lnTo>
                  <a:lnTo>
                    <a:pt x="3296" y="4936"/>
                  </a:lnTo>
                  <a:lnTo>
                    <a:pt x="3294" y="4936"/>
                  </a:lnTo>
                  <a:close/>
                  <a:moveTo>
                    <a:pt x="3344" y="5246"/>
                  </a:moveTo>
                  <a:lnTo>
                    <a:pt x="3344" y="5246"/>
                  </a:lnTo>
                  <a:lnTo>
                    <a:pt x="3340" y="5244"/>
                  </a:lnTo>
                  <a:lnTo>
                    <a:pt x="3336" y="5244"/>
                  </a:lnTo>
                  <a:lnTo>
                    <a:pt x="3330" y="5248"/>
                  </a:lnTo>
                  <a:lnTo>
                    <a:pt x="3322" y="5250"/>
                  </a:lnTo>
                  <a:lnTo>
                    <a:pt x="3316" y="5250"/>
                  </a:lnTo>
                  <a:lnTo>
                    <a:pt x="3312" y="5250"/>
                  </a:lnTo>
                  <a:lnTo>
                    <a:pt x="3306" y="5252"/>
                  </a:lnTo>
                  <a:lnTo>
                    <a:pt x="3300" y="5254"/>
                  </a:lnTo>
                  <a:lnTo>
                    <a:pt x="3296" y="5254"/>
                  </a:lnTo>
                  <a:lnTo>
                    <a:pt x="3292" y="5254"/>
                  </a:lnTo>
                  <a:lnTo>
                    <a:pt x="3286" y="5254"/>
                  </a:lnTo>
                  <a:lnTo>
                    <a:pt x="3268" y="5258"/>
                  </a:lnTo>
                  <a:lnTo>
                    <a:pt x="3260" y="5262"/>
                  </a:lnTo>
                  <a:lnTo>
                    <a:pt x="3258" y="5266"/>
                  </a:lnTo>
                  <a:lnTo>
                    <a:pt x="3256" y="5272"/>
                  </a:lnTo>
                  <a:lnTo>
                    <a:pt x="3248" y="5278"/>
                  </a:lnTo>
                  <a:lnTo>
                    <a:pt x="3240" y="5284"/>
                  </a:lnTo>
                  <a:lnTo>
                    <a:pt x="3234" y="5286"/>
                  </a:lnTo>
                  <a:lnTo>
                    <a:pt x="3226" y="5290"/>
                  </a:lnTo>
                  <a:lnTo>
                    <a:pt x="3216" y="5296"/>
                  </a:lnTo>
                  <a:lnTo>
                    <a:pt x="3206" y="5304"/>
                  </a:lnTo>
                  <a:lnTo>
                    <a:pt x="3202" y="5310"/>
                  </a:lnTo>
                  <a:lnTo>
                    <a:pt x="3200" y="5322"/>
                  </a:lnTo>
                  <a:lnTo>
                    <a:pt x="3198" y="5326"/>
                  </a:lnTo>
                  <a:lnTo>
                    <a:pt x="3200" y="5328"/>
                  </a:lnTo>
                  <a:lnTo>
                    <a:pt x="3202" y="5330"/>
                  </a:lnTo>
                  <a:lnTo>
                    <a:pt x="3204" y="5330"/>
                  </a:lnTo>
                  <a:lnTo>
                    <a:pt x="3202" y="5332"/>
                  </a:lnTo>
                  <a:lnTo>
                    <a:pt x="3198" y="5336"/>
                  </a:lnTo>
                  <a:lnTo>
                    <a:pt x="3194" y="5340"/>
                  </a:lnTo>
                  <a:lnTo>
                    <a:pt x="3194" y="5342"/>
                  </a:lnTo>
                  <a:lnTo>
                    <a:pt x="3194" y="5344"/>
                  </a:lnTo>
                  <a:lnTo>
                    <a:pt x="3202" y="5346"/>
                  </a:lnTo>
                  <a:lnTo>
                    <a:pt x="3206" y="5346"/>
                  </a:lnTo>
                  <a:lnTo>
                    <a:pt x="3210" y="5344"/>
                  </a:lnTo>
                  <a:lnTo>
                    <a:pt x="3216" y="5340"/>
                  </a:lnTo>
                  <a:lnTo>
                    <a:pt x="3220" y="5336"/>
                  </a:lnTo>
                  <a:lnTo>
                    <a:pt x="3222" y="5336"/>
                  </a:lnTo>
                  <a:lnTo>
                    <a:pt x="3226" y="5336"/>
                  </a:lnTo>
                  <a:lnTo>
                    <a:pt x="3230" y="5336"/>
                  </a:lnTo>
                  <a:lnTo>
                    <a:pt x="3234" y="5334"/>
                  </a:lnTo>
                  <a:lnTo>
                    <a:pt x="3244" y="5320"/>
                  </a:lnTo>
                  <a:lnTo>
                    <a:pt x="3252" y="5312"/>
                  </a:lnTo>
                  <a:lnTo>
                    <a:pt x="3256" y="5306"/>
                  </a:lnTo>
                  <a:lnTo>
                    <a:pt x="3260" y="5300"/>
                  </a:lnTo>
                  <a:lnTo>
                    <a:pt x="3268" y="5294"/>
                  </a:lnTo>
                  <a:lnTo>
                    <a:pt x="3280" y="5288"/>
                  </a:lnTo>
                  <a:lnTo>
                    <a:pt x="3288" y="5286"/>
                  </a:lnTo>
                  <a:lnTo>
                    <a:pt x="3294" y="5284"/>
                  </a:lnTo>
                  <a:lnTo>
                    <a:pt x="3300" y="5280"/>
                  </a:lnTo>
                  <a:lnTo>
                    <a:pt x="3304" y="5278"/>
                  </a:lnTo>
                  <a:lnTo>
                    <a:pt x="3308" y="5278"/>
                  </a:lnTo>
                  <a:lnTo>
                    <a:pt x="3314" y="5276"/>
                  </a:lnTo>
                  <a:lnTo>
                    <a:pt x="3318" y="5272"/>
                  </a:lnTo>
                  <a:lnTo>
                    <a:pt x="3324" y="5266"/>
                  </a:lnTo>
                  <a:lnTo>
                    <a:pt x="3328" y="5266"/>
                  </a:lnTo>
                  <a:lnTo>
                    <a:pt x="3334" y="5264"/>
                  </a:lnTo>
                  <a:lnTo>
                    <a:pt x="3340" y="5260"/>
                  </a:lnTo>
                  <a:lnTo>
                    <a:pt x="3348" y="5252"/>
                  </a:lnTo>
                  <a:lnTo>
                    <a:pt x="3348" y="5248"/>
                  </a:lnTo>
                  <a:lnTo>
                    <a:pt x="3344" y="5246"/>
                  </a:lnTo>
                  <a:close/>
                  <a:moveTo>
                    <a:pt x="3328" y="4618"/>
                  </a:moveTo>
                  <a:lnTo>
                    <a:pt x="3328" y="4618"/>
                  </a:lnTo>
                  <a:lnTo>
                    <a:pt x="3326" y="4622"/>
                  </a:lnTo>
                  <a:lnTo>
                    <a:pt x="3326" y="4628"/>
                  </a:lnTo>
                  <a:lnTo>
                    <a:pt x="3326" y="4630"/>
                  </a:lnTo>
                  <a:lnTo>
                    <a:pt x="3328" y="4632"/>
                  </a:lnTo>
                  <a:lnTo>
                    <a:pt x="3328" y="4634"/>
                  </a:lnTo>
                  <a:lnTo>
                    <a:pt x="3326" y="4638"/>
                  </a:lnTo>
                  <a:lnTo>
                    <a:pt x="3324" y="4642"/>
                  </a:lnTo>
                  <a:lnTo>
                    <a:pt x="3326" y="4644"/>
                  </a:lnTo>
                  <a:lnTo>
                    <a:pt x="3330" y="4642"/>
                  </a:lnTo>
                  <a:lnTo>
                    <a:pt x="3330" y="4640"/>
                  </a:lnTo>
                  <a:lnTo>
                    <a:pt x="3332" y="4636"/>
                  </a:lnTo>
                  <a:lnTo>
                    <a:pt x="3332" y="4632"/>
                  </a:lnTo>
                  <a:lnTo>
                    <a:pt x="3334" y="4630"/>
                  </a:lnTo>
                  <a:lnTo>
                    <a:pt x="3334" y="4628"/>
                  </a:lnTo>
                  <a:lnTo>
                    <a:pt x="3332" y="4624"/>
                  </a:lnTo>
                  <a:lnTo>
                    <a:pt x="3332" y="4620"/>
                  </a:lnTo>
                  <a:lnTo>
                    <a:pt x="3332" y="4618"/>
                  </a:lnTo>
                  <a:lnTo>
                    <a:pt x="3328" y="4618"/>
                  </a:lnTo>
                  <a:close/>
                  <a:moveTo>
                    <a:pt x="3302" y="3114"/>
                  </a:moveTo>
                  <a:lnTo>
                    <a:pt x="3302" y="3114"/>
                  </a:lnTo>
                  <a:lnTo>
                    <a:pt x="3304" y="3116"/>
                  </a:lnTo>
                  <a:lnTo>
                    <a:pt x="3308" y="3114"/>
                  </a:lnTo>
                  <a:lnTo>
                    <a:pt x="3310" y="3112"/>
                  </a:lnTo>
                  <a:lnTo>
                    <a:pt x="3310" y="3108"/>
                  </a:lnTo>
                  <a:lnTo>
                    <a:pt x="3306" y="3108"/>
                  </a:lnTo>
                  <a:lnTo>
                    <a:pt x="3302" y="3110"/>
                  </a:lnTo>
                  <a:lnTo>
                    <a:pt x="3300" y="3112"/>
                  </a:lnTo>
                  <a:lnTo>
                    <a:pt x="3302" y="3114"/>
                  </a:lnTo>
                  <a:close/>
                  <a:moveTo>
                    <a:pt x="3298" y="3086"/>
                  </a:moveTo>
                  <a:lnTo>
                    <a:pt x="3298" y="3086"/>
                  </a:lnTo>
                  <a:lnTo>
                    <a:pt x="3296" y="3088"/>
                  </a:lnTo>
                  <a:lnTo>
                    <a:pt x="3298" y="3090"/>
                  </a:lnTo>
                  <a:lnTo>
                    <a:pt x="3302" y="3096"/>
                  </a:lnTo>
                  <a:lnTo>
                    <a:pt x="3302" y="3098"/>
                  </a:lnTo>
                  <a:lnTo>
                    <a:pt x="3304" y="3094"/>
                  </a:lnTo>
                  <a:lnTo>
                    <a:pt x="3302" y="3088"/>
                  </a:lnTo>
                  <a:lnTo>
                    <a:pt x="3300" y="3086"/>
                  </a:lnTo>
                  <a:lnTo>
                    <a:pt x="3298" y="3086"/>
                  </a:lnTo>
                  <a:close/>
                  <a:moveTo>
                    <a:pt x="3298" y="4354"/>
                  </a:moveTo>
                  <a:lnTo>
                    <a:pt x="3298" y="4354"/>
                  </a:lnTo>
                  <a:lnTo>
                    <a:pt x="3296" y="4358"/>
                  </a:lnTo>
                  <a:lnTo>
                    <a:pt x="3296" y="4362"/>
                  </a:lnTo>
                  <a:lnTo>
                    <a:pt x="3298" y="4362"/>
                  </a:lnTo>
                  <a:lnTo>
                    <a:pt x="3300" y="4364"/>
                  </a:lnTo>
                  <a:lnTo>
                    <a:pt x="3304" y="4362"/>
                  </a:lnTo>
                  <a:lnTo>
                    <a:pt x="3304" y="4360"/>
                  </a:lnTo>
                  <a:lnTo>
                    <a:pt x="3302" y="4356"/>
                  </a:lnTo>
                  <a:lnTo>
                    <a:pt x="3300" y="4348"/>
                  </a:lnTo>
                  <a:lnTo>
                    <a:pt x="3298" y="4354"/>
                  </a:lnTo>
                  <a:close/>
                  <a:moveTo>
                    <a:pt x="3274" y="4930"/>
                  </a:moveTo>
                  <a:lnTo>
                    <a:pt x="3274" y="4930"/>
                  </a:lnTo>
                  <a:lnTo>
                    <a:pt x="3274" y="4932"/>
                  </a:lnTo>
                  <a:lnTo>
                    <a:pt x="3278" y="4934"/>
                  </a:lnTo>
                  <a:lnTo>
                    <a:pt x="3288" y="4934"/>
                  </a:lnTo>
                  <a:lnTo>
                    <a:pt x="3310" y="4928"/>
                  </a:lnTo>
                  <a:lnTo>
                    <a:pt x="3312" y="4926"/>
                  </a:lnTo>
                  <a:lnTo>
                    <a:pt x="3310" y="4926"/>
                  </a:lnTo>
                  <a:lnTo>
                    <a:pt x="3296" y="4924"/>
                  </a:lnTo>
                  <a:lnTo>
                    <a:pt x="3282" y="4924"/>
                  </a:lnTo>
                  <a:lnTo>
                    <a:pt x="3276" y="4926"/>
                  </a:lnTo>
                  <a:lnTo>
                    <a:pt x="3274" y="4930"/>
                  </a:lnTo>
                  <a:close/>
                  <a:moveTo>
                    <a:pt x="3132" y="5104"/>
                  </a:moveTo>
                  <a:lnTo>
                    <a:pt x="3132" y="5104"/>
                  </a:lnTo>
                  <a:lnTo>
                    <a:pt x="3136" y="5106"/>
                  </a:lnTo>
                  <a:lnTo>
                    <a:pt x="3138" y="5104"/>
                  </a:lnTo>
                  <a:lnTo>
                    <a:pt x="3136" y="5096"/>
                  </a:lnTo>
                  <a:lnTo>
                    <a:pt x="3134" y="5090"/>
                  </a:lnTo>
                  <a:lnTo>
                    <a:pt x="3132" y="5086"/>
                  </a:lnTo>
                  <a:lnTo>
                    <a:pt x="3130" y="5088"/>
                  </a:lnTo>
                  <a:lnTo>
                    <a:pt x="3130" y="5096"/>
                  </a:lnTo>
                  <a:lnTo>
                    <a:pt x="3132" y="5104"/>
                  </a:lnTo>
                  <a:close/>
                  <a:moveTo>
                    <a:pt x="3196" y="4912"/>
                  </a:moveTo>
                  <a:lnTo>
                    <a:pt x="3196" y="4912"/>
                  </a:lnTo>
                  <a:lnTo>
                    <a:pt x="3198" y="4908"/>
                  </a:lnTo>
                  <a:lnTo>
                    <a:pt x="3198" y="4904"/>
                  </a:lnTo>
                  <a:lnTo>
                    <a:pt x="3196" y="4900"/>
                  </a:lnTo>
                  <a:lnTo>
                    <a:pt x="3192" y="4900"/>
                  </a:lnTo>
                  <a:lnTo>
                    <a:pt x="3190" y="4902"/>
                  </a:lnTo>
                  <a:lnTo>
                    <a:pt x="3188" y="4904"/>
                  </a:lnTo>
                  <a:lnTo>
                    <a:pt x="3188" y="4908"/>
                  </a:lnTo>
                  <a:lnTo>
                    <a:pt x="3192" y="4912"/>
                  </a:lnTo>
                  <a:lnTo>
                    <a:pt x="3194" y="4912"/>
                  </a:lnTo>
                  <a:lnTo>
                    <a:pt x="3196" y="4912"/>
                  </a:lnTo>
                  <a:close/>
                  <a:moveTo>
                    <a:pt x="3180" y="4896"/>
                  </a:moveTo>
                  <a:lnTo>
                    <a:pt x="3180" y="4896"/>
                  </a:lnTo>
                  <a:lnTo>
                    <a:pt x="3176" y="4896"/>
                  </a:lnTo>
                  <a:lnTo>
                    <a:pt x="3172" y="4900"/>
                  </a:lnTo>
                  <a:lnTo>
                    <a:pt x="3170" y="4906"/>
                  </a:lnTo>
                  <a:lnTo>
                    <a:pt x="3172" y="4916"/>
                  </a:lnTo>
                  <a:lnTo>
                    <a:pt x="3174" y="4916"/>
                  </a:lnTo>
                  <a:lnTo>
                    <a:pt x="3180" y="4908"/>
                  </a:lnTo>
                  <a:lnTo>
                    <a:pt x="3184" y="4900"/>
                  </a:lnTo>
                  <a:lnTo>
                    <a:pt x="3182" y="4898"/>
                  </a:lnTo>
                  <a:lnTo>
                    <a:pt x="3180" y="4896"/>
                  </a:lnTo>
                  <a:close/>
                  <a:moveTo>
                    <a:pt x="3184" y="5356"/>
                  </a:moveTo>
                  <a:lnTo>
                    <a:pt x="3184" y="5356"/>
                  </a:lnTo>
                  <a:lnTo>
                    <a:pt x="3180" y="5360"/>
                  </a:lnTo>
                  <a:lnTo>
                    <a:pt x="3174" y="5364"/>
                  </a:lnTo>
                  <a:lnTo>
                    <a:pt x="3170" y="5366"/>
                  </a:lnTo>
                  <a:lnTo>
                    <a:pt x="3168" y="5370"/>
                  </a:lnTo>
                  <a:lnTo>
                    <a:pt x="3168" y="5372"/>
                  </a:lnTo>
                  <a:lnTo>
                    <a:pt x="3170" y="5372"/>
                  </a:lnTo>
                  <a:lnTo>
                    <a:pt x="3178" y="5370"/>
                  </a:lnTo>
                  <a:lnTo>
                    <a:pt x="3190" y="5362"/>
                  </a:lnTo>
                  <a:lnTo>
                    <a:pt x="3194" y="5358"/>
                  </a:lnTo>
                  <a:lnTo>
                    <a:pt x="3192" y="5352"/>
                  </a:lnTo>
                  <a:lnTo>
                    <a:pt x="3192" y="5350"/>
                  </a:lnTo>
                  <a:lnTo>
                    <a:pt x="3190" y="5350"/>
                  </a:lnTo>
                  <a:lnTo>
                    <a:pt x="3188" y="5352"/>
                  </a:lnTo>
                  <a:lnTo>
                    <a:pt x="3184" y="5356"/>
                  </a:lnTo>
                  <a:close/>
                  <a:moveTo>
                    <a:pt x="3074" y="5152"/>
                  </a:moveTo>
                  <a:lnTo>
                    <a:pt x="3074" y="5152"/>
                  </a:lnTo>
                  <a:lnTo>
                    <a:pt x="3076" y="5154"/>
                  </a:lnTo>
                  <a:lnTo>
                    <a:pt x="3078" y="5144"/>
                  </a:lnTo>
                  <a:lnTo>
                    <a:pt x="3076" y="5132"/>
                  </a:lnTo>
                  <a:lnTo>
                    <a:pt x="3076" y="5122"/>
                  </a:lnTo>
                  <a:lnTo>
                    <a:pt x="3074" y="5122"/>
                  </a:lnTo>
                  <a:lnTo>
                    <a:pt x="3074" y="5124"/>
                  </a:lnTo>
                  <a:lnTo>
                    <a:pt x="3072" y="5130"/>
                  </a:lnTo>
                  <a:lnTo>
                    <a:pt x="3072" y="5142"/>
                  </a:lnTo>
                  <a:lnTo>
                    <a:pt x="3074" y="5152"/>
                  </a:lnTo>
                  <a:close/>
                  <a:moveTo>
                    <a:pt x="3070" y="5308"/>
                  </a:moveTo>
                  <a:lnTo>
                    <a:pt x="3070" y="5308"/>
                  </a:lnTo>
                  <a:lnTo>
                    <a:pt x="3066" y="5308"/>
                  </a:lnTo>
                  <a:lnTo>
                    <a:pt x="3066" y="5306"/>
                  </a:lnTo>
                  <a:lnTo>
                    <a:pt x="3064" y="5304"/>
                  </a:lnTo>
                  <a:lnTo>
                    <a:pt x="3060" y="5298"/>
                  </a:lnTo>
                  <a:lnTo>
                    <a:pt x="3054" y="5294"/>
                  </a:lnTo>
                  <a:lnTo>
                    <a:pt x="3048" y="5294"/>
                  </a:lnTo>
                  <a:lnTo>
                    <a:pt x="3046" y="5296"/>
                  </a:lnTo>
                  <a:lnTo>
                    <a:pt x="3042" y="5296"/>
                  </a:lnTo>
                  <a:lnTo>
                    <a:pt x="3036" y="5294"/>
                  </a:lnTo>
                  <a:lnTo>
                    <a:pt x="3026" y="5294"/>
                  </a:lnTo>
                  <a:lnTo>
                    <a:pt x="3020" y="5296"/>
                  </a:lnTo>
                  <a:lnTo>
                    <a:pt x="3016" y="5298"/>
                  </a:lnTo>
                  <a:lnTo>
                    <a:pt x="3014" y="5302"/>
                  </a:lnTo>
                  <a:lnTo>
                    <a:pt x="3012" y="5306"/>
                  </a:lnTo>
                  <a:lnTo>
                    <a:pt x="3014" y="5310"/>
                  </a:lnTo>
                  <a:lnTo>
                    <a:pt x="3016" y="5312"/>
                  </a:lnTo>
                  <a:lnTo>
                    <a:pt x="3026" y="5316"/>
                  </a:lnTo>
                  <a:lnTo>
                    <a:pt x="3036" y="5318"/>
                  </a:lnTo>
                  <a:lnTo>
                    <a:pt x="3046" y="5322"/>
                  </a:lnTo>
                  <a:lnTo>
                    <a:pt x="3054" y="5328"/>
                  </a:lnTo>
                  <a:lnTo>
                    <a:pt x="3058" y="5334"/>
                  </a:lnTo>
                  <a:lnTo>
                    <a:pt x="3060" y="5338"/>
                  </a:lnTo>
                  <a:lnTo>
                    <a:pt x="3064" y="5340"/>
                  </a:lnTo>
                  <a:lnTo>
                    <a:pt x="3068" y="5340"/>
                  </a:lnTo>
                  <a:lnTo>
                    <a:pt x="3070" y="5342"/>
                  </a:lnTo>
                  <a:lnTo>
                    <a:pt x="3074" y="5342"/>
                  </a:lnTo>
                  <a:lnTo>
                    <a:pt x="3076" y="5340"/>
                  </a:lnTo>
                  <a:lnTo>
                    <a:pt x="3078" y="5338"/>
                  </a:lnTo>
                  <a:lnTo>
                    <a:pt x="3080" y="5338"/>
                  </a:lnTo>
                  <a:lnTo>
                    <a:pt x="3082" y="5336"/>
                  </a:lnTo>
                  <a:lnTo>
                    <a:pt x="3086" y="5332"/>
                  </a:lnTo>
                  <a:lnTo>
                    <a:pt x="3086" y="5330"/>
                  </a:lnTo>
                  <a:lnTo>
                    <a:pt x="3086" y="5326"/>
                  </a:lnTo>
                  <a:lnTo>
                    <a:pt x="3082" y="5320"/>
                  </a:lnTo>
                  <a:lnTo>
                    <a:pt x="3076" y="5312"/>
                  </a:lnTo>
                  <a:lnTo>
                    <a:pt x="3070" y="5308"/>
                  </a:lnTo>
                  <a:close/>
                  <a:moveTo>
                    <a:pt x="3176" y="5238"/>
                  </a:moveTo>
                  <a:lnTo>
                    <a:pt x="3176" y="5238"/>
                  </a:lnTo>
                  <a:lnTo>
                    <a:pt x="3174" y="5234"/>
                  </a:lnTo>
                  <a:lnTo>
                    <a:pt x="3172" y="5234"/>
                  </a:lnTo>
                  <a:lnTo>
                    <a:pt x="3168" y="5234"/>
                  </a:lnTo>
                  <a:lnTo>
                    <a:pt x="3166" y="5238"/>
                  </a:lnTo>
                  <a:lnTo>
                    <a:pt x="3166" y="5240"/>
                  </a:lnTo>
                  <a:lnTo>
                    <a:pt x="3168" y="5240"/>
                  </a:lnTo>
                  <a:lnTo>
                    <a:pt x="3170" y="5242"/>
                  </a:lnTo>
                  <a:lnTo>
                    <a:pt x="3168" y="5246"/>
                  </a:lnTo>
                  <a:lnTo>
                    <a:pt x="3160" y="5248"/>
                  </a:lnTo>
                  <a:lnTo>
                    <a:pt x="3156" y="5252"/>
                  </a:lnTo>
                  <a:lnTo>
                    <a:pt x="3156" y="5256"/>
                  </a:lnTo>
                  <a:lnTo>
                    <a:pt x="3156" y="5258"/>
                  </a:lnTo>
                  <a:lnTo>
                    <a:pt x="3152" y="5260"/>
                  </a:lnTo>
                  <a:lnTo>
                    <a:pt x="3148" y="5260"/>
                  </a:lnTo>
                  <a:lnTo>
                    <a:pt x="3146" y="5260"/>
                  </a:lnTo>
                  <a:lnTo>
                    <a:pt x="3142" y="5256"/>
                  </a:lnTo>
                  <a:lnTo>
                    <a:pt x="3136" y="5252"/>
                  </a:lnTo>
                  <a:lnTo>
                    <a:pt x="3134" y="5250"/>
                  </a:lnTo>
                  <a:lnTo>
                    <a:pt x="3132" y="5252"/>
                  </a:lnTo>
                  <a:lnTo>
                    <a:pt x="3128" y="5254"/>
                  </a:lnTo>
                  <a:lnTo>
                    <a:pt x="3124" y="5254"/>
                  </a:lnTo>
                  <a:lnTo>
                    <a:pt x="3120" y="5254"/>
                  </a:lnTo>
                  <a:lnTo>
                    <a:pt x="3116" y="5256"/>
                  </a:lnTo>
                  <a:lnTo>
                    <a:pt x="3114" y="5258"/>
                  </a:lnTo>
                  <a:lnTo>
                    <a:pt x="3112" y="5256"/>
                  </a:lnTo>
                  <a:lnTo>
                    <a:pt x="3106" y="5254"/>
                  </a:lnTo>
                  <a:lnTo>
                    <a:pt x="3100" y="5250"/>
                  </a:lnTo>
                  <a:lnTo>
                    <a:pt x="3092" y="5246"/>
                  </a:lnTo>
                  <a:lnTo>
                    <a:pt x="3076" y="5242"/>
                  </a:lnTo>
                  <a:lnTo>
                    <a:pt x="3068" y="5242"/>
                  </a:lnTo>
                  <a:lnTo>
                    <a:pt x="3064" y="5242"/>
                  </a:lnTo>
                  <a:lnTo>
                    <a:pt x="3060" y="5246"/>
                  </a:lnTo>
                  <a:lnTo>
                    <a:pt x="3056" y="5250"/>
                  </a:lnTo>
                  <a:lnTo>
                    <a:pt x="3050" y="5252"/>
                  </a:lnTo>
                  <a:lnTo>
                    <a:pt x="3048" y="5256"/>
                  </a:lnTo>
                  <a:lnTo>
                    <a:pt x="3048" y="5262"/>
                  </a:lnTo>
                  <a:lnTo>
                    <a:pt x="3050" y="5270"/>
                  </a:lnTo>
                  <a:lnTo>
                    <a:pt x="3050" y="5272"/>
                  </a:lnTo>
                  <a:lnTo>
                    <a:pt x="3052" y="5272"/>
                  </a:lnTo>
                  <a:lnTo>
                    <a:pt x="3056" y="5270"/>
                  </a:lnTo>
                  <a:lnTo>
                    <a:pt x="3062" y="5268"/>
                  </a:lnTo>
                  <a:lnTo>
                    <a:pt x="3078" y="5270"/>
                  </a:lnTo>
                  <a:lnTo>
                    <a:pt x="3086" y="5272"/>
                  </a:lnTo>
                  <a:lnTo>
                    <a:pt x="3092" y="5274"/>
                  </a:lnTo>
                  <a:lnTo>
                    <a:pt x="3096" y="5278"/>
                  </a:lnTo>
                  <a:lnTo>
                    <a:pt x="3098" y="5276"/>
                  </a:lnTo>
                  <a:lnTo>
                    <a:pt x="3102" y="5274"/>
                  </a:lnTo>
                  <a:lnTo>
                    <a:pt x="3106" y="5274"/>
                  </a:lnTo>
                  <a:lnTo>
                    <a:pt x="3108" y="5274"/>
                  </a:lnTo>
                  <a:lnTo>
                    <a:pt x="3110" y="5272"/>
                  </a:lnTo>
                  <a:lnTo>
                    <a:pt x="3112" y="5270"/>
                  </a:lnTo>
                  <a:lnTo>
                    <a:pt x="3120" y="5272"/>
                  </a:lnTo>
                  <a:lnTo>
                    <a:pt x="3124" y="5272"/>
                  </a:lnTo>
                  <a:lnTo>
                    <a:pt x="3128" y="5272"/>
                  </a:lnTo>
                  <a:lnTo>
                    <a:pt x="3134" y="5270"/>
                  </a:lnTo>
                  <a:lnTo>
                    <a:pt x="3138" y="5268"/>
                  </a:lnTo>
                  <a:lnTo>
                    <a:pt x="3142" y="5266"/>
                  </a:lnTo>
                  <a:lnTo>
                    <a:pt x="3150" y="5266"/>
                  </a:lnTo>
                  <a:lnTo>
                    <a:pt x="3158" y="5264"/>
                  </a:lnTo>
                  <a:lnTo>
                    <a:pt x="3166" y="5260"/>
                  </a:lnTo>
                  <a:lnTo>
                    <a:pt x="3168" y="5258"/>
                  </a:lnTo>
                  <a:lnTo>
                    <a:pt x="3170" y="5254"/>
                  </a:lnTo>
                  <a:lnTo>
                    <a:pt x="3170" y="5252"/>
                  </a:lnTo>
                  <a:lnTo>
                    <a:pt x="3174" y="5248"/>
                  </a:lnTo>
                  <a:lnTo>
                    <a:pt x="3176" y="5244"/>
                  </a:lnTo>
                  <a:lnTo>
                    <a:pt x="3176" y="5238"/>
                  </a:lnTo>
                  <a:close/>
                  <a:moveTo>
                    <a:pt x="3042" y="5268"/>
                  </a:moveTo>
                  <a:lnTo>
                    <a:pt x="3042" y="5268"/>
                  </a:lnTo>
                  <a:lnTo>
                    <a:pt x="3044" y="5266"/>
                  </a:lnTo>
                  <a:lnTo>
                    <a:pt x="3046" y="5264"/>
                  </a:lnTo>
                  <a:lnTo>
                    <a:pt x="3044" y="5262"/>
                  </a:lnTo>
                  <a:lnTo>
                    <a:pt x="3042" y="5260"/>
                  </a:lnTo>
                  <a:lnTo>
                    <a:pt x="3040" y="5262"/>
                  </a:lnTo>
                  <a:lnTo>
                    <a:pt x="3040" y="5266"/>
                  </a:lnTo>
                  <a:lnTo>
                    <a:pt x="3040" y="5268"/>
                  </a:lnTo>
                  <a:lnTo>
                    <a:pt x="3042" y="5268"/>
                  </a:lnTo>
                  <a:close/>
                  <a:moveTo>
                    <a:pt x="3038" y="5258"/>
                  </a:moveTo>
                  <a:lnTo>
                    <a:pt x="3038" y="5258"/>
                  </a:lnTo>
                  <a:lnTo>
                    <a:pt x="3040" y="5256"/>
                  </a:lnTo>
                  <a:lnTo>
                    <a:pt x="3040" y="5254"/>
                  </a:lnTo>
                  <a:lnTo>
                    <a:pt x="3038" y="5252"/>
                  </a:lnTo>
                  <a:lnTo>
                    <a:pt x="3034" y="5250"/>
                  </a:lnTo>
                  <a:lnTo>
                    <a:pt x="3032" y="5250"/>
                  </a:lnTo>
                  <a:lnTo>
                    <a:pt x="3032" y="5252"/>
                  </a:lnTo>
                  <a:lnTo>
                    <a:pt x="3032" y="5258"/>
                  </a:lnTo>
                  <a:lnTo>
                    <a:pt x="3030" y="5262"/>
                  </a:lnTo>
                  <a:lnTo>
                    <a:pt x="3032" y="5266"/>
                  </a:lnTo>
                  <a:lnTo>
                    <a:pt x="3032" y="5264"/>
                  </a:lnTo>
                  <a:lnTo>
                    <a:pt x="3034" y="5260"/>
                  </a:lnTo>
                  <a:lnTo>
                    <a:pt x="3038" y="5258"/>
                  </a:lnTo>
                  <a:close/>
                  <a:moveTo>
                    <a:pt x="2740" y="626"/>
                  </a:moveTo>
                  <a:lnTo>
                    <a:pt x="2740" y="626"/>
                  </a:lnTo>
                  <a:lnTo>
                    <a:pt x="2756" y="630"/>
                  </a:lnTo>
                  <a:lnTo>
                    <a:pt x="2768" y="628"/>
                  </a:lnTo>
                  <a:lnTo>
                    <a:pt x="2778" y="624"/>
                  </a:lnTo>
                  <a:lnTo>
                    <a:pt x="2784" y="618"/>
                  </a:lnTo>
                  <a:lnTo>
                    <a:pt x="2786" y="612"/>
                  </a:lnTo>
                  <a:lnTo>
                    <a:pt x="2786" y="608"/>
                  </a:lnTo>
                  <a:lnTo>
                    <a:pt x="2784" y="604"/>
                  </a:lnTo>
                  <a:lnTo>
                    <a:pt x="2782" y="602"/>
                  </a:lnTo>
                  <a:lnTo>
                    <a:pt x="2776" y="600"/>
                  </a:lnTo>
                  <a:lnTo>
                    <a:pt x="2764" y="598"/>
                  </a:lnTo>
                  <a:lnTo>
                    <a:pt x="2748" y="598"/>
                  </a:lnTo>
                  <a:lnTo>
                    <a:pt x="2736" y="598"/>
                  </a:lnTo>
                  <a:lnTo>
                    <a:pt x="2726" y="600"/>
                  </a:lnTo>
                  <a:lnTo>
                    <a:pt x="2720" y="604"/>
                  </a:lnTo>
                  <a:lnTo>
                    <a:pt x="2716" y="608"/>
                  </a:lnTo>
                  <a:lnTo>
                    <a:pt x="2720" y="614"/>
                  </a:lnTo>
                  <a:lnTo>
                    <a:pt x="2726" y="618"/>
                  </a:lnTo>
                  <a:lnTo>
                    <a:pt x="2740" y="626"/>
                  </a:lnTo>
                  <a:close/>
                  <a:moveTo>
                    <a:pt x="162" y="3354"/>
                  </a:moveTo>
                  <a:lnTo>
                    <a:pt x="162" y="3354"/>
                  </a:lnTo>
                  <a:lnTo>
                    <a:pt x="160" y="3358"/>
                  </a:lnTo>
                  <a:lnTo>
                    <a:pt x="162" y="3364"/>
                  </a:lnTo>
                  <a:lnTo>
                    <a:pt x="164" y="3366"/>
                  </a:lnTo>
                  <a:lnTo>
                    <a:pt x="166" y="3368"/>
                  </a:lnTo>
                  <a:lnTo>
                    <a:pt x="168" y="3366"/>
                  </a:lnTo>
                  <a:lnTo>
                    <a:pt x="168" y="3362"/>
                  </a:lnTo>
                  <a:lnTo>
                    <a:pt x="166" y="3356"/>
                  </a:lnTo>
                  <a:lnTo>
                    <a:pt x="164" y="3352"/>
                  </a:lnTo>
                  <a:lnTo>
                    <a:pt x="162" y="3352"/>
                  </a:lnTo>
                  <a:lnTo>
                    <a:pt x="162" y="3354"/>
                  </a:lnTo>
                  <a:close/>
                  <a:moveTo>
                    <a:pt x="3766" y="1952"/>
                  </a:moveTo>
                  <a:lnTo>
                    <a:pt x="3766" y="1952"/>
                  </a:lnTo>
                  <a:lnTo>
                    <a:pt x="3772" y="1954"/>
                  </a:lnTo>
                  <a:lnTo>
                    <a:pt x="3776" y="1954"/>
                  </a:lnTo>
                  <a:lnTo>
                    <a:pt x="3780" y="1950"/>
                  </a:lnTo>
                  <a:lnTo>
                    <a:pt x="3782" y="1944"/>
                  </a:lnTo>
                  <a:lnTo>
                    <a:pt x="3784" y="1940"/>
                  </a:lnTo>
                  <a:lnTo>
                    <a:pt x="3782" y="1934"/>
                  </a:lnTo>
                  <a:lnTo>
                    <a:pt x="3780" y="1930"/>
                  </a:lnTo>
                  <a:lnTo>
                    <a:pt x="3774" y="1928"/>
                  </a:lnTo>
                  <a:lnTo>
                    <a:pt x="3768" y="1928"/>
                  </a:lnTo>
                  <a:lnTo>
                    <a:pt x="3764" y="1930"/>
                  </a:lnTo>
                  <a:lnTo>
                    <a:pt x="3760" y="1932"/>
                  </a:lnTo>
                  <a:lnTo>
                    <a:pt x="3758" y="1936"/>
                  </a:lnTo>
                  <a:lnTo>
                    <a:pt x="3758" y="1938"/>
                  </a:lnTo>
                  <a:lnTo>
                    <a:pt x="3760" y="1944"/>
                  </a:lnTo>
                  <a:lnTo>
                    <a:pt x="3762" y="1948"/>
                  </a:lnTo>
                  <a:lnTo>
                    <a:pt x="3766" y="1952"/>
                  </a:lnTo>
                  <a:close/>
                  <a:moveTo>
                    <a:pt x="3314" y="2942"/>
                  </a:moveTo>
                  <a:lnTo>
                    <a:pt x="3314" y="2942"/>
                  </a:lnTo>
                  <a:lnTo>
                    <a:pt x="3316" y="2940"/>
                  </a:lnTo>
                  <a:lnTo>
                    <a:pt x="3318" y="2936"/>
                  </a:lnTo>
                  <a:lnTo>
                    <a:pt x="3316" y="2932"/>
                  </a:lnTo>
                  <a:lnTo>
                    <a:pt x="3312" y="2930"/>
                  </a:lnTo>
                  <a:lnTo>
                    <a:pt x="3310" y="2930"/>
                  </a:lnTo>
                  <a:lnTo>
                    <a:pt x="3310" y="2932"/>
                  </a:lnTo>
                  <a:lnTo>
                    <a:pt x="3310" y="2936"/>
                  </a:lnTo>
                  <a:lnTo>
                    <a:pt x="3312" y="2940"/>
                  </a:lnTo>
                  <a:lnTo>
                    <a:pt x="3314" y="2942"/>
                  </a:lnTo>
                  <a:close/>
                  <a:moveTo>
                    <a:pt x="3310" y="2998"/>
                  </a:moveTo>
                  <a:lnTo>
                    <a:pt x="3310" y="2998"/>
                  </a:lnTo>
                  <a:lnTo>
                    <a:pt x="3308" y="2998"/>
                  </a:lnTo>
                  <a:lnTo>
                    <a:pt x="3308" y="3002"/>
                  </a:lnTo>
                  <a:lnTo>
                    <a:pt x="3310" y="3004"/>
                  </a:lnTo>
                  <a:lnTo>
                    <a:pt x="3312" y="3006"/>
                  </a:lnTo>
                  <a:lnTo>
                    <a:pt x="3314" y="3006"/>
                  </a:lnTo>
                  <a:lnTo>
                    <a:pt x="3314" y="3002"/>
                  </a:lnTo>
                  <a:lnTo>
                    <a:pt x="3312" y="2998"/>
                  </a:lnTo>
                  <a:lnTo>
                    <a:pt x="3310" y="2998"/>
                  </a:lnTo>
                  <a:close/>
                  <a:moveTo>
                    <a:pt x="468" y="3506"/>
                  </a:moveTo>
                  <a:lnTo>
                    <a:pt x="468" y="3506"/>
                  </a:lnTo>
                  <a:lnTo>
                    <a:pt x="468" y="3508"/>
                  </a:lnTo>
                  <a:lnTo>
                    <a:pt x="466" y="3510"/>
                  </a:lnTo>
                  <a:lnTo>
                    <a:pt x="458" y="3514"/>
                  </a:lnTo>
                  <a:lnTo>
                    <a:pt x="452" y="3518"/>
                  </a:lnTo>
                  <a:lnTo>
                    <a:pt x="450" y="3520"/>
                  </a:lnTo>
                  <a:lnTo>
                    <a:pt x="450" y="3522"/>
                  </a:lnTo>
                  <a:lnTo>
                    <a:pt x="452" y="3524"/>
                  </a:lnTo>
                  <a:lnTo>
                    <a:pt x="456" y="3524"/>
                  </a:lnTo>
                  <a:lnTo>
                    <a:pt x="464" y="3520"/>
                  </a:lnTo>
                  <a:lnTo>
                    <a:pt x="476" y="3514"/>
                  </a:lnTo>
                  <a:lnTo>
                    <a:pt x="484" y="3504"/>
                  </a:lnTo>
                  <a:lnTo>
                    <a:pt x="486" y="3502"/>
                  </a:lnTo>
                  <a:lnTo>
                    <a:pt x="486" y="3500"/>
                  </a:lnTo>
                  <a:lnTo>
                    <a:pt x="480" y="3502"/>
                  </a:lnTo>
                  <a:lnTo>
                    <a:pt x="468" y="3506"/>
                  </a:lnTo>
                  <a:close/>
                  <a:moveTo>
                    <a:pt x="1966" y="4176"/>
                  </a:moveTo>
                  <a:lnTo>
                    <a:pt x="1966" y="4176"/>
                  </a:lnTo>
                  <a:lnTo>
                    <a:pt x="1964" y="4176"/>
                  </a:lnTo>
                  <a:lnTo>
                    <a:pt x="1960" y="4184"/>
                  </a:lnTo>
                  <a:lnTo>
                    <a:pt x="1958" y="4200"/>
                  </a:lnTo>
                  <a:lnTo>
                    <a:pt x="1956" y="4222"/>
                  </a:lnTo>
                  <a:lnTo>
                    <a:pt x="1954" y="4242"/>
                  </a:lnTo>
                  <a:lnTo>
                    <a:pt x="1952" y="4252"/>
                  </a:lnTo>
                  <a:lnTo>
                    <a:pt x="1950" y="4260"/>
                  </a:lnTo>
                  <a:lnTo>
                    <a:pt x="1952" y="4272"/>
                  </a:lnTo>
                  <a:lnTo>
                    <a:pt x="1954" y="4278"/>
                  </a:lnTo>
                  <a:lnTo>
                    <a:pt x="1956" y="4280"/>
                  </a:lnTo>
                  <a:lnTo>
                    <a:pt x="1958" y="4274"/>
                  </a:lnTo>
                  <a:lnTo>
                    <a:pt x="1962" y="4248"/>
                  </a:lnTo>
                  <a:lnTo>
                    <a:pt x="1962" y="4240"/>
                  </a:lnTo>
                  <a:lnTo>
                    <a:pt x="1962" y="4236"/>
                  </a:lnTo>
                  <a:lnTo>
                    <a:pt x="1962" y="4234"/>
                  </a:lnTo>
                  <a:lnTo>
                    <a:pt x="1964" y="4232"/>
                  </a:lnTo>
                  <a:lnTo>
                    <a:pt x="1966" y="4228"/>
                  </a:lnTo>
                  <a:lnTo>
                    <a:pt x="1966" y="4226"/>
                  </a:lnTo>
                  <a:lnTo>
                    <a:pt x="1964" y="4218"/>
                  </a:lnTo>
                  <a:lnTo>
                    <a:pt x="1964" y="4210"/>
                  </a:lnTo>
                  <a:lnTo>
                    <a:pt x="1964" y="4206"/>
                  </a:lnTo>
                  <a:lnTo>
                    <a:pt x="1964" y="4204"/>
                  </a:lnTo>
                  <a:lnTo>
                    <a:pt x="1968" y="4200"/>
                  </a:lnTo>
                  <a:lnTo>
                    <a:pt x="1970" y="4192"/>
                  </a:lnTo>
                  <a:lnTo>
                    <a:pt x="1970" y="4182"/>
                  </a:lnTo>
                  <a:lnTo>
                    <a:pt x="1966" y="4176"/>
                  </a:lnTo>
                  <a:close/>
                  <a:moveTo>
                    <a:pt x="1508" y="4454"/>
                  </a:moveTo>
                  <a:lnTo>
                    <a:pt x="1508" y="4454"/>
                  </a:lnTo>
                  <a:lnTo>
                    <a:pt x="1504" y="4444"/>
                  </a:lnTo>
                  <a:lnTo>
                    <a:pt x="1498" y="4430"/>
                  </a:lnTo>
                  <a:lnTo>
                    <a:pt x="1492" y="4416"/>
                  </a:lnTo>
                  <a:lnTo>
                    <a:pt x="1484" y="4404"/>
                  </a:lnTo>
                  <a:lnTo>
                    <a:pt x="1478" y="4396"/>
                  </a:lnTo>
                  <a:lnTo>
                    <a:pt x="1474" y="4388"/>
                  </a:lnTo>
                  <a:lnTo>
                    <a:pt x="1472" y="4380"/>
                  </a:lnTo>
                  <a:lnTo>
                    <a:pt x="1464" y="4372"/>
                  </a:lnTo>
                  <a:lnTo>
                    <a:pt x="1456" y="4364"/>
                  </a:lnTo>
                  <a:lnTo>
                    <a:pt x="1448" y="4360"/>
                  </a:lnTo>
                  <a:lnTo>
                    <a:pt x="1442" y="4360"/>
                  </a:lnTo>
                  <a:lnTo>
                    <a:pt x="1438" y="4362"/>
                  </a:lnTo>
                  <a:lnTo>
                    <a:pt x="1438" y="4364"/>
                  </a:lnTo>
                  <a:lnTo>
                    <a:pt x="1440" y="4368"/>
                  </a:lnTo>
                  <a:lnTo>
                    <a:pt x="1444" y="4372"/>
                  </a:lnTo>
                  <a:lnTo>
                    <a:pt x="1446" y="4382"/>
                  </a:lnTo>
                  <a:lnTo>
                    <a:pt x="1446" y="4392"/>
                  </a:lnTo>
                  <a:lnTo>
                    <a:pt x="1444" y="4398"/>
                  </a:lnTo>
                  <a:lnTo>
                    <a:pt x="1440" y="4404"/>
                  </a:lnTo>
                  <a:lnTo>
                    <a:pt x="1440" y="4410"/>
                  </a:lnTo>
                  <a:lnTo>
                    <a:pt x="1440" y="4420"/>
                  </a:lnTo>
                  <a:lnTo>
                    <a:pt x="1438" y="4430"/>
                  </a:lnTo>
                  <a:lnTo>
                    <a:pt x="1436" y="4438"/>
                  </a:lnTo>
                  <a:lnTo>
                    <a:pt x="1436" y="4436"/>
                  </a:lnTo>
                  <a:lnTo>
                    <a:pt x="1434" y="4432"/>
                  </a:lnTo>
                  <a:lnTo>
                    <a:pt x="1432" y="4432"/>
                  </a:lnTo>
                  <a:lnTo>
                    <a:pt x="1430" y="4440"/>
                  </a:lnTo>
                  <a:lnTo>
                    <a:pt x="1432" y="4456"/>
                  </a:lnTo>
                  <a:lnTo>
                    <a:pt x="1434" y="4476"/>
                  </a:lnTo>
                  <a:lnTo>
                    <a:pt x="1434" y="4500"/>
                  </a:lnTo>
                  <a:lnTo>
                    <a:pt x="1436" y="4512"/>
                  </a:lnTo>
                  <a:lnTo>
                    <a:pt x="1438" y="4524"/>
                  </a:lnTo>
                  <a:lnTo>
                    <a:pt x="1442" y="4534"/>
                  </a:lnTo>
                  <a:lnTo>
                    <a:pt x="1450" y="4544"/>
                  </a:lnTo>
                  <a:lnTo>
                    <a:pt x="1458" y="4548"/>
                  </a:lnTo>
                  <a:lnTo>
                    <a:pt x="1464" y="4550"/>
                  </a:lnTo>
                  <a:lnTo>
                    <a:pt x="1470" y="4550"/>
                  </a:lnTo>
                  <a:lnTo>
                    <a:pt x="1476" y="4548"/>
                  </a:lnTo>
                  <a:lnTo>
                    <a:pt x="1488" y="4540"/>
                  </a:lnTo>
                  <a:lnTo>
                    <a:pt x="1502" y="4532"/>
                  </a:lnTo>
                  <a:lnTo>
                    <a:pt x="1508" y="4526"/>
                  </a:lnTo>
                  <a:lnTo>
                    <a:pt x="1512" y="4520"/>
                  </a:lnTo>
                  <a:lnTo>
                    <a:pt x="1516" y="4510"/>
                  </a:lnTo>
                  <a:lnTo>
                    <a:pt x="1518" y="4502"/>
                  </a:lnTo>
                  <a:lnTo>
                    <a:pt x="1518" y="4484"/>
                  </a:lnTo>
                  <a:lnTo>
                    <a:pt x="1516" y="4476"/>
                  </a:lnTo>
                  <a:lnTo>
                    <a:pt x="1514" y="4472"/>
                  </a:lnTo>
                  <a:lnTo>
                    <a:pt x="1512" y="4466"/>
                  </a:lnTo>
                  <a:lnTo>
                    <a:pt x="1512" y="4462"/>
                  </a:lnTo>
                  <a:lnTo>
                    <a:pt x="1510" y="4458"/>
                  </a:lnTo>
                  <a:lnTo>
                    <a:pt x="1508" y="4454"/>
                  </a:lnTo>
                  <a:close/>
                  <a:moveTo>
                    <a:pt x="1946" y="4308"/>
                  </a:moveTo>
                  <a:lnTo>
                    <a:pt x="1946" y="4308"/>
                  </a:lnTo>
                  <a:lnTo>
                    <a:pt x="1942" y="4310"/>
                  </a:lnTo>
                  <a:lnTo>
                    <a:pt x="1940" y="4316"/>
                  </a:lnTo>
                  <a:lnTo>
                    <a:pt x="1940" y="4322"/>
                  </a:lnTo>
                  <a:lnTo>
                    <a:pt x="1942" y="4328"/>
                  </a:lnTo>
                  <a:lnTo>
                    <a:pt x="1944" y="4328"/>
                  </a:lnTo>
                  <a:lnTo>
                    <a:pt x="1946" y="4326"/>
                  </a:lnTo>
                  <a:lnTo>
                    <a:pt x="1948" y="4320"/>
                  </a:lnTo>
                  <a:lnTo>
                    <a:pt x="1950" y="4312"/>
                  </a:lnTo>
                  <a:lnTo>
                    <a:pt x="1948" y="4310"/>
                  </a:lnTo>
                  <a:lnTo>
                    <a:pt x="1946" y="4308"/>
                  </a:lnTo>
                  <a:close/>
                  <a:moveTo>
                    <a:pt x="1996" y="4488"/>
                  </a:moveTo>
                  <a:lnTo>
                    <a:pt x="1996" y="4488"/>
                  </a:lnTo>
                  <a:lnTo>
                    <a:pt x="1994" y="4492"/>
                  </a:lnTo>
                  <a:lnTo>
                    <a:pt x="1994" y="4496"/>
                  </a:lnTo>
                  <a:lnTo>
                    <a:pt x="1994" y="4504"/>
                  </a:lnTo>
                  <a:lnTo>
                    <a:pt x="1998" y="4508"/>
                  </a:lnTo>
                  <a:lnTo>
                    <a:pt x="2000" y="4510"/>
                  </a:lnTo>
                  <a:lnTo>
                    <a:pt x="2002" y="4508"/>
                  </a:lnTo>
                  <a:lnTo>
                    <a:pt x="2004" y="4506"/>
                  </a:lnTo>
                  <a:lnTo>
                    <a:pt x="2004" y="4502"/>
                  </a:lnTo>
                  <a:lnTo>
                    <a:pt x="2004" y="4494"/>
                  </a:lnTo>
                  <a:lnTo>
                    <a:pt x="2000" y="4488"/>
                  </a:lnTo>
                  <a:lnTo>
                    <a:pt x="1998" y="4488"/>
                  </a:lnTo>
                  <a:lnTo>
                    <a:pt x="1996" y="4488"/>
                  </a:lnTo>
                  <a:close/>
                  <a:moveTo>
                    <a:pt x="1980" y="4454"/>
                  </a:moveTo>
                  <a:lnTo>
                    <a:pt x="1980" y="4454"/>
                  </a:lnTo>
                  <a:lnTo>
                    <a:pt x="1982" y="4454"/>
                  </a:lnTo>
                  <a:lnTo>
                    <a:pt x="1984" y="4454"/>
                  </a:lnTo>
                  <a:lnTo>
                    <a:pt x="1982" y="4448"/>
                  </a:lnTo>
                  <a:lnTo>
                    <a:pt x="1980" y="4448"/>
                  </a:lnTo>
                  <a:lnTo>
                    <a:pt x="1978" y="4448"/>
                  </a:lnTo>
                  <a:lnTo>
                    <a:pt x="1978" y="4450"/>
                  </a:lnTo>
                  <a:lnTo>
                    <a:pt x="1980" y="4454"/>
                  </a:lnTo>
                  <a:close/>
                  <a:moveTo>
                    <a:pt x="1954" y="4386"/>
                  </a:moveTo>
                  <a:lnTo>
                    <a:pt x="1954" y="4386"/>
                  </a:lnTo>
                  <a:lnTo>
                    <a:pt x="1952" y="4390"/>
                  </a:lnTo>
                  <a:lnTo>
                    <a:pt x="1952" y="4394"/>
                  </a:lnTo>
                  <a:lnTo>
                    <a:pt x="1954" y="4396"/>
                  </a:lnTo>
                  <a:lnTo>
                    <a:pt x="1958" y="4396"/>
                  </a:lnTo>
                  <a:lnTo>
                    <a:pt x="1960" y="4394"/>
                  </a:lnTo>
                  <a:lnTo>
                    <a:pt x="1958" y="4390"/>
                  </a:lnTo>
                  <a:lnTo>
                    <a:pt x="1958" y="4386"/>
                  </a:lnTo>
                  <a:lnTo>
                    <a:pt x="1956" y="4386"/>
                  </a:lnTo>
                  <a:lnTo>
                    <a:pt x="1954" y="4386"/>
                  </a:lnTo>
                  <a:close/>
                  <a:moveTo>
                    <a:pt x="2078" y="4702"/>
                  </a:moveTo>
                  <a:lnTo>
                    <a:pt x="2078" y="4702"/>
                  </a:lnTo>
                  <a:lnTo>
                    <a:pt x="2078" y="4706"/>
                  </a:lnTo>
                  <a:lnTo>
                    <a:pt x="2080" y="4710"/>
                  </a:lnTo>
                  <a:lnTo>
                    <a:pt x="2084" y="4714"/>
                  </a:lnTo>
                  <a:lnTo>
                    <a:pt x="2090" y="4720"/>
                  </a:lnTo>
                  <a:lnTo>
                    <a:pt x="2102" y="4728"/>
                  </a:lnTo>
                  <a:lnTo>
                    <a:pt x="2106" y="4730"/>
                  </a:lnTo>
                  <a:lnTo>
                    <a:pt x="2106" y="4726"/>
                  </a:lnTo>
                  <a:lnTo>
                    <a:pt x="2102" y="4716"/>
                  </a:lnTo>
                  <a:lnTo>
                    <a:pt x="2094" y="4706"/>
                  </a:lnTo>
                  <a:lnTo>
                    <a:pt x="2084" y="4700"/>
                  </a:lnTo>
                  <a:lnTo>
                    <a:pt x="2080" y="4700"/>
                  </a:lnTo>
                  <a:lnTo>
                    <a:pt x="2078" y="4702"/>
                  </a:lnTo>
                  <a:close/>
                  <a:moveTo>
                    <a:pt x="2508" y="4960"/>
                  </a:moveTo>
                  <a:lnTo>
                    <a:pt x="2508" y="4960"/>
                  </a:lnTo>
                  <a:lnTo>
                    <a:pt x="2502" y="4956"/>
                  </a:lnTo>
                  <a:lnTo>
                    <a:pt x="2500" y="4950"/>
                  </a:lnTo>
                  <a:lnTo>
                    <a:pt x="2496" y="4932"/>
                  </a:lnTo>
                  <a:lnTo>
                    <a:pt x="2494" y="4924"/>
                  </a:lnTo>
                  <a:lnTo>
                    <a:pt x="2490" y="4918"/>
                  </a:lnTo>
                  <a:lnTo>
                    <a:pt x="2484" y="4914"/>
                  </a:lnTo>
                  <a:lnTo>
                    <a:pt x="2476" y="4912"/>
                  </a:lnTo>
                  <a:lnTo>
                    <a:pt x="2466" y="4916"/>
                  </a:lnTo>
                  <a:lnTo>
                    <a:pt x="2464" y="4920"/>
                  </a:lnTo>
                  <a:lnTo>
                    <a:pt x="2464" y="4926"/>
                  </a:lnTo>
                  <a:lnTo>
                    <a:pt x="2462" y="4928"/>
                  </a:lnTo>
                  <a:lnTo>
                    <a:pt x="2460" y="4932"/>
                  </a:lnTo>
                  <a:lnTo>
                    <a:pt x="2456" y="4936"/>
                  </a:lnTo>
                  <a:lnTo>
                    <a:pt x="2454" y="4938"/>
                  </a:lnTo>
                  <a:lnTo>
                    <a:pt x="2454" y="4940"/>
                  </a:lnTo>
                  <a:lnTo>
                    <a:pt x="2456" y="4942"/>
                  </a:lnTo>
                  <a:lnTo>
                    <a:pt x="2464" y="4944"/>
                  </a:lnTo>
                  <a:lnTo>
                    <a:pt x="2474" y="4942"/>
                  </a:lnTo>
                  <a:lnTo>
                    <a:pt x="2478" y="4944"/>
                  </a:lnTo>
                  <a:lnTo>
                    <a:pt x="2480" y="4948"/>
                  </a:lnTo>
                  <a:lnTo>
                    <a:pt x="2484" y="4958"/>
                  </a:lnTo>
                  <a:lnTo>
                    <a:pt x="2488" y="4972"/>
                  </a:lnTo>
                  <a:lnTo>
                    <a:pt x="2490" y="4976"/>
                  </a:lnTo>
                  <a:lnTo>
                    <a:pt x="2494" y="4978"/>
                  </a:lnTo>
                  <a:lnTo>
                    <a:pt x="2502" y="4984"/>
                  </a:lnTo>
                  <a:lnTo>
                    <a:pt x="2508" y="4988"/>
                  </a:lnTo>
                  <a:lnTo>
                    <a:pt x="2512" y="4990"/>
                  </a:lnTo>
                  <a:lnTo>
                    <a:pt x="2516" y="4990"/>
                  </a:lnTo>
                  <a:lnTo>
                    <a:pt x="2518" y="4990"/>
                  </a:lnTo>
                  <a:lnTo>
                    <a:pt x="2520" y="4988"/>
                  </a:lnTo>
                  <a:lnTo>
                    <a:pt x="2518" y="4984"/>
                  </a:lnTo>
                  <a:lnTo>
                    <a:pt x="2516" y="4978"/>
                  </a:lnTo>
                  <a:lnTo>
                    <a:pt x="2514" y="4976"/>
                  </a:lnTo>
                  <a:lnTo>
                    <a:pt x="2516" y="4974"/>
                  </a:lnTo>
                  <a:lnTo>
                    <a:pt x="2518" y="4970"/>
                  </a:lnTo>
                  <a:lnTo>
                    <a:pt x="2518" y="4966"/>
                  </a:lnTo>
                  <a:lnTo>
                    <a:pt x="2514" y="4964"/>
                  </a:lnTo>
                  <a:lnTo>
                    <a:pt x="2508" y="4960"/>
                  </a:lnTo>
                  <a:close/>
                  <a:moveTo>
                    <a:pt x="2428" y="4870"/>
                  </a:moveTo>
                  <a:lnTo>
                    <a:pt x="2428" y="4870"/>
                  </a:lnTo>
                  <a:lnTo>
                    <a:pt x="2432" y="4868"/>
                  </a:lnTo>
                  <a:lnTo>
                    <a:pt x="2434" y="4862"/>
                  </a:lnTo>
                  <a:lnTo>
                    <a:pt x="2434" y="4858"/>
                  </a:lnTo>
                  <a:lnTo>
                    <a:pt x="2432" y="4856"/>
                  </a:lnTo>
                  <a:lnTo>
                    <a:pt x="2430" y="4856"/>
                  </a:lnTo>
                  <a:lnTo>
                    <a:pt x="2426" y="4858"/>
                  </a:lnTo>
                  <a:lnTo>
                    <a:pt x="2424" y="4860"/>
                  </a:lnTo>
                  <a:lnTo>
                    <a:pt x="2420" y="4866"/>
                  </a:lnTo>
                  <a:lnTo>
                    <a:pt x="2420" y="4868"/>
                  </a:lnTo>
                  <a:lnTo>
                    <a:pt x="2420" y="4872"/>
                  </a:lnTo>
                  <a:lnTo>
                    <a:pt x="2424" y="4872"/>
                  </a:lnTo>
                  <a:lnTo>
                    <a:pt x="2428" y="4870"/>
                  </a:lnTo>
                  <a:close/>
                  <a:moveTo>
                    <a:pt x="2450" y="4852"/>
                  </a:moveTo>
                  <a:lnTo>
                    <a:pt x="2450" y="4852"/>
                  </a:lnTo>
                  <a:lnTo>
                    <a:pt x="2444" y="4848"/>
                  </a:lnTo>
                  <a:lnTo>
                    <a:pt x="2434" y="4840"/>
                  </a:lnTo>
                  <a:lnTo>
                    <a:pt x="2430" y="4836"/>
                  </a:lnTo>
                  <a:lnTo>
                    <a:pt x="2428" y="4838"/>
                  </a:lnTo>
                  <a:lnTo>
                    <a:pt x="2428" y="4846"/>
                  </a:lnTo>
                  <a:lnTo>
                    <a:pt x="2430" y="4848"/>
                  </a:lnTo>
                  <a:lnTo>
                    <a:pt x="2432" y="4850"/>
                  </a:lnTo>
                  <a:lnTo>
                    <a:pt x="2438" y="4854"/>
                  </a:lnTo>
                  <a:lnTo>
                    <a:pt x="2446" y="4854"/>
                  </a:lnTo>
                  <a:lnTo>
                    <a:pt x="2450" y="4852"/>
                  </a:lnTo>
                  <a:close/>
                  <a:moveTo>
                    <a:pt x="2378" y="4806"/>
                  </a:moveTo>
                  <a:lnTo>
                    <a:pt x="2378" y="4806"/>
                  </a:lnTo>
                  <a:lnTo>
                    <a:pt x="2376" y="4806"/>
                  </a:lnTo>
                  <a:lnTo>
                    <a:pt x="2376" y="4810"/>
                  </a:lnTo>
                  <a:lnTo>
                    <a:pt x="2376" y="4812"/>
                  </a:lnTo>
                  <a:lnTo>
                    <a:pt x="2378" y="4814"/>
                  </a:lnTo>
                  <a:lnTo>
                    <a:pt x="2382" y="4814"/>
                  </a:lnTo>
                  <a:lnTo>
                    <a:pt x="2382" y="4810"/>
                  </a:lnTo>
                  <a:lnTo>
                    <a:pt x="2380" y="4806"/>
                  </a:lnTo>
                  <a:lnTo>
                    <a:pt x="2378" y="4806"/>
                  </a:lnTo>
                  <a:close/>
                  <a:moveTo>
                    <a:pt x="2422" y="4774"/>
                  </a:moveTo>
                  <a:lnTo>
                    <a:pt x="2422" y="4774"/>
                  </a:lnTo>
                  <a:lnTo>
                    <a:pt x="2414" y="4778"/>
                  </a:lnTo>
                  <a:lnTo>
                    <a:pt x="2412" y="4782"/>
                  </a:lnTo>
                  <a:lnTo>
                    <a:pt x="2410" y="4784"/>
                  </a:lnTo>
                  <a:lnTo>
                    <a:pt x="2406" y="4788"/>
                  </a:lnTo>
                  <a:lnTo>
                    <a:pt x="2406" y="4790"/>
                  </a:lnTo>
                  <a:lnTo>
                    <a:pt x="2410" y="4792"/>
                  </a:lnTo>
                  <a:lnTo>
                    <a:pt x="2414" y="4790"/>
                  </a:lnTo>
                  <a:lnTo>
                    <a:pt x="2420" y="4796"/>
                  </a:lnTo>
                  <a:lnTo>
                    <a:pt x="2416" y="4796"/>
                  </a:lnTo>
                  <a:lnTo>
                    <a:pt x="2414" y="4796"/>
                  </a:lnTo>
                  <a:lnTo>
                    <a:pt x="2414" y="4798"/>
                  </a:lnTo>
                  <a:lnTo>
                    <a:pt x="2414" y="4800"/>
                  </a:lnTo>
                  <a:lnTo>
                    <a:pt x="2418" y="4804"/>
                  </a:lnTo>
                  <a:lnTo>
                    <a:pt x="2420" y="4804"/>
                  </a:lnTo>
                  <a:lnTo>
                    <a:pt x="2422" y="4802"/>
                  </a:lnTo>
                  <a:lnTo>
                    <a:pt x="2420" y="4798"/>
                  </a:lnTo>
                  <a:lnTo>
                    <a:pt x="2432" y="4808"/>
                  </a:lnTo>
                  <a:lnTo>
                    <a:pt x="2436" y="4808"/>
                  </a:lnTo>
                  <a:lnTo>
                    <a:pt x="2438" y="4804"/>
                  </a:lnTo>
                  <a:lnTo>
                    <a:pt x="2438" y="4798"/>
                  </a:lnTo>
                  <a:lnTo>
                    <a:pt x="2438" y="4790"/>
                  </a:lnTo>
                  <a:lnTo>
                    <a:pt x="2436" y="4782"/>
                  </a:lnTo>
                  <a:lnTo>
                    <a:pt x="2434" y="4776"/>
                  </a:lnTo>
                  <a:lnTo>
                    <a:pt x="2428" y="4774"/>
                  </a:lnTo>
                  <a:lnTo>
                    <a:pt x="2422" y="4774"/>
                  </a:lnTo>
                  <a:close/>
                  <a:moveTo>
                    <a:pt x="2384" y="4796"/>
                  </a:moveTo>
                  <a:lnTo>
                    <a:pt x="2384" y="4796"/>
                  </a:lnTo>
                  <a:lnTo>
                    <a:pt x="2384" y="4798"/>
                  </a:lnTo>
                  <a:lnTo>
                    <a:pt x="2384" y="4802"/>
                  </a:lnTo>
                  <a:lnTo>
                    <a:pt x="2386" y="4806"/>
                  </a:lnTo>
                  <a:lnTo>
                    <a:pt x="2390" y="4806"/>
                  </a:lnTo>
                  <a:lnTo>
                    <a:pt x="2392" y="4806"/>
                  </a:lnTo>
                  <a:lnTo>
                    <a:pt x="2390" y="4802"/>
                  </a:lnTo>
                  <a:lnTo>
                    <a:pt x="2388" y="4798"/>
                  </a:lnTo>
                  <a:lnTo>
                    <a:pt x="2384" y="4796"/>
                  </a:lnTo>
                  <a:close/>
                  <a:moveTo>
                    <a:pt x="2578" y="4662"/>
                  </a:moveTo>
                  <a:lnTo>
                    <a:pt x="2578" y="4662"/>
                  </a:lnTo>
                  <a:lnTo>
                    <a:pt x="2580" y="4662"/>
                  </a:lnTo>
                  <a:lnTo>
                    <a:pt x="2584" y="4660"/>
                  </a:lnTo>
                  <a:lnTo>
                    <a:pt x="2584" y="4650"/>
                  </a:lnTo>
                  <a:lnTo>
                    <a:pt x="2584" y="4640"/>
                  </a:lnTo>
                  <a:lnTo>
                    <a:pt x="2582" y="4634"/>
                  </a:lnTo>
                  <a:lnTo>
                    <a:pt x="2578" y="4634"/>
                  </a:lnTo>
                  <a:lnTo>
                    <a:pt x="2574" y="4640"/>
                  </a:lnTo>
                  <a:lnTo>
                    <a:pt x="2570" y="4646"/>
                  </a:lnTo>
                  <a:lnTo>
                    <a:pt x="2572" y="4650"/>
                  </a:lnTo>
                  <a:lnTo>
                    <a:pt x="2574" y="4652"/>
                  </a:lnTo>
                  <a:lnTo>
                    <a:pt x="2578" y="4656"/>
                  </a:lnTo>
                  <a:lnTo>
                    <a:pt x="2576" y="4658"/>
                  </a:lnTo>
                  <a:lnTo>
                    <a:pt x="2574" y="4660"/>
                  </a:lnTo>
                  <a:lnTo>
                    <a:pt x="2578" y="4662"/>
                  </a:lnTo>
                  <a:close/>
                  <a:moveTo>
                    <a:pt x="2136" y="4766"/>
                  </a:moveTo>
                  <a:lnTo>
                    <a:pt x="2136" y="4766"/>
                  </a:lnTo>
                  <a:lnTo>
                    <a:pt x="2134" y="4768"/>
                  </a:lnTo>
                  <a:lnTo>
                    <a:pt x="2134" y="4772"/>
                  </a:lnTo>
                  <a:lnTo>
                    <a:pt x="2138" y="4782"/>
                  </a:lnTo>
                  <a:lnTo>
                    <a:pt x="2154" y="4806"/>
                  </a:lnTo>
                  <a:lnTo>
                    <a:pt x="2158" y="4812"/>
                  </a:lnTo>
                  <a:lnTo>
                    <a:pt x="2162" y="4812"/>
                  </a:lnTo>
                  <a:lnTo>
                    <a:pt x="2164" y="4810"/>
                  </a:lnTo>
                  <a:lnTo>
                    <a:pt x="2166" y="4806"/>
                  </a:lnTo>
                  <a:lnTo>
                    <a:pt x="2166" y="4794"/>
                  </a:lnTo>
                  <a:lnTo>
                    <a:pt x="2164" y="4790"/>
                  </a:lnTo>
                  <a:lnTo>
                    <a:pt x="2160" y="4786"/>
                  </a:lnTo>
                  <a:lnTo>
                    <a:pt x="2154" y="4780"/>
                  </a:lnTo>
                  <a:lnTo>
                    <a:pt x="2150" y="4772"/>
                  </a:lnTo>
                  <a:lnTo>
                    <a:pt x="2144" y="4768"/>
                  </a:lnTo>
                  <a:lnTo>
                    <a:pt x="2140" y="4766"/>
                  </a:lnTo>
                  <a:lnTo>
                    <a:pt x="2136" y="4766"/>
                  </a:lnTo>
                  <a:close/>
                  <a:moveTo>
                    <a:pt x="2832" y="5258"/>
                  </a:moveTo>
                  <a:lnTo>
                    <a:pt x="2832" y="5258"/>
                  </a:lnTo>
                  <a:lnTo>
                    <a:pt x="2828" y="5254"/>
                  </a:lnTo>
                  <a:lnTo>
                    <a:pt x="2828" y="5248"/>
                  </a:lnTo>
                  <a:lnTo>
                    <a:pt x="2832" y="5234"/>
                  </a:lnTo>
                  <a:lnTo>
                    <a:pt x="2832" y="5226"/>
                  </a:lnTo>
                  <a:lnTo>
                    <a:pt x="2832" y="5220"/>
                  </a:lnTo>
                  <a:lnTo>
                    <a:pt x="2828" y="5214"/>
                  </a:lnTo>
                  <a:lnTo>
                    <a:pt x="2820" y="5212"/>
                  </a:lnTo>
                  <a:lnTo>
                    <a:pt x="2808" y="5212"/>
                  </a:lnTo>
                  <a:lnTo>
                    <a:pt x="2798" y="5214"/>
                  </a:lnTo>
                  <a:lnTo>
                    <a:pt x="2786" y="5216"/>
                  </a:lnTo>
                  <a:lnTo>
                    <a:pt x="2780" y="5216"/>
                  </a:lnTo>
                  <a:lnTo>
                    <a:pt x="2772" y="5212"/>
                  </a:lnTo>
                  <a:lnTo>
                    <a:pt x="2762" y="5208"/>
                  </a:lnTo>
                  <a:lnTo>
                    <a:pt x="2762" y="5206"/>
                  </a:lnTo>
                  <a:lnTo>
                    <a:pt x="2762" y="5204"/>
                  </a:lnTo>
                  <a:lnTo>
                    <a:pt x="2762" y="5196"/>
                  </a:lnTo>
                  <a:lnTo>
                    <a:pt x="2762" y="5190"/>
                  </a:lnTo>
                  <a:lnTo>
                    <a:pt x="2758" y="5184"/>
                  </a:lnTo>
                  <a:lnTo>
                    <a:pt x="2754" y="5178"/>
                  </a:lnTo>
                  <a:lnTo>
                    <a:pt x="2752" y="5174"/>
                  </a:lnTo>
                  <a:lnTo>
                    <a:pt x="2748" y="5174"/>
                  </a:lnTo>
                  <a:lnTo>
                    <a:pt x="2746" y="5176"/>
                  </a:lnTo>
                  <a:lnTo>
                    <a:pt x="2740" y="5178"/>
                  </a:lnTo>
                  <a:lnTo>
                    <a:pt x="2738" y="5178"/>
                  </a:lnTo>
                  <a:lnTo>
                    <a:pt x="2734" y="5174"/>
                  </a:lnTo>
                  <a:lnTo>
                    <a:pt x="2730" y="5168"/>
                  </a:lnTo>
                  <a:lnTo>
                    <a:pt x="2728" y="5170"/>
                  </a:lnTo>
                  <a:lnTo>
                    <a:pt x="2726" y="5170"/>
                  </a:lnTo>
                  <a:lnTo>
                    <a:pt x="2720" y="5166"/>
                  </a:lnTo>
                  <a:lnTo>
                    <a:pt x="2718" y="5164"/>
                  </a:lnTo>
                  <a:lnTo>
                    <a:pt x="2714" y="5162"/>
                  </a:lnTo>
                  <a:lnTo>
                    <a:pt x="2708" y="5164"/>
                  </a:lnTo>
                  <a:lnTo>
                    <a:pt x="2704" y="5166"/>
                  </a:lnTo>
                  <a:lnTo>
                    <a:pt x="2700" y="5166"/>
                  </a:lnTo>
                  <a:lnTo>
                    <a:pt x="2698" y="5162"/>
                  </a:lnTo>
                  <a:lnTo>
                    <a:pt x="2694" y="5154"/>
                  </a:lnTo>
                  <a:lnTo>
                    <a:pt x="2692" y="5150"/>
                  </a:lnTo>
                  <a:lnTo>
                    <a:pt x="2688" y="5148"/>
                  </a:lnTo>
                  <a:lnTo>
                    <a:pt x="2686" y="5150"/>
                  </a:lnTo>
                  <a:lnTo>
                    <a:pt x="2682" y="5152"/>
                  </a:lnTo>
                  <a:lnTo>
                    <a:pt x="2680" y="5156"/>
                  </a:lnTo>
                  <a:lnTo>
                    <a:pt x="2676" y="5166"/>
                  </a:lnTo>
                  <a:lnTo>
                    <a:pt x="2670" y="5178"/>
                  </a:lnTo>
                  <a:lnTo>
                    <a:pt x="2668" y="5180"/>
                  </a:lnTo>
                  <a:lnTo>
                    <a:pt x="2666" y="5180"/>
                  </a:lnTo>
                  <a:lnTo>
                    <a:pt x="2660" y="5176"/>
                  </a:lnTo>
                  <a:lnTo>
                    <a:pt x="2654" y="5174"/>
                  </a:lnTo>
                  <a:lnTo>
                    <a:pt x="2646" y="5172"/>
                  </a:lnTo>
                  <a:lnTo>
                    <a:pt x="2634" y="5174"/>
                  </a:lnTo>
                  <a:lnTo>
                    <a:pt x="2630" y="5174"/>
                  </a:lnTo>
                  <a:lnTo>
                    <a:pt x="2626" y="5176"/>
                  </a:lnTo>
                  <a:lnTo>
                    <a:pt x="2620" y="5174"/>
                  </a:lnTo>
                  <a:lnTo>
                    <a:pt x="2612" y="5172"/>
                  </a:lnTo>
                  <a:lnTo>
                    <a:pt x="2604" y="5172"/>
                  </a:lnTo>
                  <a:lnTo>
                    <a:pt x="2600" y="5170"/>
                  </a:lnTo>
                  <a:lnTo>
                    <a:pt x="2596" y="5168"/>
                  </a:lnTo>
                  <a:lnTo>
                    <a:pt x="2594" y="5162"/>
                  </a:lnTo>
                  <a:lnTo>
                    <a:pt x="2590" y="5154"/>
                  </a:lnTo>
                  <a:lnTo>
                    <a:pt x="2588" y="5148"/>
                  </a:lnTo>
                  <a:lnTo>
                    <a:pt x="2586" y="5144"/>
                  </a:lnTo>
                  <a:lnTo>
                    <a:pt x="2584" y="5144"/>
                  </a:lnTo>
                  <a:lnTo>
                    <a:pt x="2582" y="5144"/>
                  </a:lnTo>
                  <a:lnTo>
                    <a:pt x="2576" y="5146"/>
                  </a:lnTo>
                  <a:lnTo>
                    <a:pt x="2574" y="5146"/>
                  </a:lnTo>
                  <a:lnTo>
                    <a:pt x="2570" y="5142"/>
                  </a:lnTo>
                  <a:lnTo>
                    <a:pt x="2566" y="5140"/>
                  </a:lnTo>
                  <a:lnTo>
                    <a:pt x="2564" y="5140"/>
                  </a:lnTo>
                  <a:lnTo>
                    <a:pt x="2558" y="5140"/>
                  </a:lnTo>
                  <a:lnTo>
                    <a:pt x="2554" y="5142"/>
                  </a:lnTo>
                  <a:lnTo>
                    <a:pt x="2552" y="5140"/>
                  </a:lnTo>
                  <a:lnTo>
                    <a:pt x="2550" y="5138"/>
                  </a:lnTo>
                  <a:lnTo>
                    <a:pt x="2544" y="5132"/>
                  </a:lnTo>
                  <a:lnTo>
                    <a:pt x="2538" y="5128"/>
                  </a:lnTo>
                  <a:lnTo>
                    <a:pt x="2532" y="5128"/>
                  </a:lnTo>
                  <a:lnTo>
                    <a:pt x="2530" y="5130"/>
                  </a:lnTo>
                  <a:lnTo>
                    <a:pt x="2530" y="5132"/>
                  </a:lnTo>
                  <a:lnTo>
                    <a:pt x="2528" y="5136"/>
                  </a:lnTo>
                  <a:lnTo>
                    <a:pt x="2526" y="5136"/>
                  </a:lnTo>
                  <a:lnTo>
                    <a:pt x="2520" y="5136"/>
                  </a:lnTo>
                  <a:lnTo>
                    <a:pt x="2512" y="5132"/>
                  </a:lnTo>
                  <a:lnTo>
                    <a:pt x="2498" y="5130"/>
                  </a:lnTo>
                  <a:lnTo>
                    <a:pt x="2492" y="5130"/>
                  </a:lnTo>
                  <a:lnTo>
                    <a:pt x="2488" y="5132"/>
                  </a:lnTo>
                  <a:lnTo>
                    <a:pt x="2486" y="5136"/>
                  </a:lnTo>
                  <a:lnTo>
                    <a:pt x="2484" y="5140"/>
                  </a:lnTo>
                  <a:lnTo>
                    <a:pt x="2482" y="5150"/>
                  </a:lnTo>
                  <a:lnTo>
                    <a:pt x="2480" y="5152"/>
                  </a:lnTo>
                  <a:lnTo>
                    <a:pt x="2478" y="5154"/>
                  </a:lnTo>
                  <a:lnTo>
                    <a:pt x="2474" y="5156"/>
                  </a:lnTo>
                  <a:lnTo>
                    <a:pt x="2472" y="5160"/>
                  </a:lnTo>
                  <a:lnTo>
                    <a:pt x="2472" y="5164"/>
                  </a:lnTo>
                  <a:lnTo>
                    <a:pt x="2464" y="5164"/>
                  </a:lnTo>
                  <a:lnTo>
                    <a:pt x="2460" y="5166"/>
                  </a:lnTo>
                  <a:lnTo>
                    <a:pt x="2458" y="5168"/>
                  </a:lnTo>
                  <a:lnTo>
                    <a:pt x="2460" y="5172"/>
                  </a:lnTo>
                  <a:lnTo>
                    <a:pt x="2464" y="5174"/>
                  </a:lnTo>
                  <a:lnTo>
                    <a:pt x="2474" y="5174"/>
                  </a:lnTo>
                  <a:lnTo>
                    <a:pt x="2482" y="5174"/>
                  </a:lnTo>
                  <a:lnTo>
                    <a:pt x="2490" y="5174"/>
                  </a:lnTo>
                  <a:lnTo>
                    <a:pt x="2494" y="5174"/>
                  </a:lnTo>
                  <a:lnTo>
                    <a:pt x="2496" y="5178"/>
                  </a:lnTo>
                  <a:lnTo>
                    <a:pt x="2500" y="5180"/>
                  </a:lnTo>
                  <a:lnTo>
                    <a:pt x="2504" y="5180"/>
                  </a:lnTo>
                  <a:lnTo>
                    <a:pt x="2510" y="5180"/>
                  </a:lnTo>
                  <a:lnTo>
                    <a:pt x="2512" y="5180"/>
                  </a:lnTo>
                  <a:lnTo>
                    <a:pt x="2508" y="5188"/>
                  </a:lnTo>
                  <a:lnTo>
                    <a:pt x="2506" y="5194"/>
                  </a:lnTo>
                  <a:lnTo>
                    <a:pt x="2508" y="5198"/>
                  </a:lnTo>
                  <a:lnTo>
                    <a:pt x="2510" y="5200"/>
                  </a:lnTo>
                  <a:lnTo>
                    <a:pt x="2516" y="5200"/>
                  </a:lnTo>
                  <a:lnTo>
                    <a:pt x="2536" y="5204"/>
                  </a:lnTo>
                  <a:lnTo>
                    <a:pt x="2550" y="5210"/>
                  </a:lnTo>
                  <a:lnTo>
                    <a:pt x="2570" y="5218"/>
                  </a:lnTo>
                  <a:lnTo>
                    <a:pt x="2576" y="5220"/>
                  </a:lnTo>
                  <a:lnTo>
                    <a:pt x="2584" y="5220"/>
                  </a:lnTo>
                  <a:lnTo>
                    <a:pt x="2588" y="5220"/>
                  </a:lnTo>
                  <a:lnTo>
                    <a:pt x="2594" y="5218"/>
                  </a:lnTo>
                  <a:lnTo>
                    <a:pt x="2602" y="5214"/>
                  </a:lnTo>
                  <a:lnTo>
                    <a:pt x="2606" y="5214"/>
                  </a:lnTo>
                  <a:lnTo>
                    <a:pt x="2608" y="5214"/>
                  </a:lnTo>
                  <a:lnTo>
                    <a:pt x="2614" y="5218"/>
                  </a:lnTo>
                  <a:lnTo>
                    <a:pt x="2620" y="5216"/>
                  </a:lnTo>
                  <a:lnTo>
                    <a:pt x="2628" y="5216"/>
                  </a:lnTo>
                  <a:lnTo>
                    <a:pt x="2642" y="5218"/>
                  </a:lnTo>
                  <a:lnTo>
                    <a:pt x="2648" y="5220"/>
                  </a:lnTo>
                  <a:lnTo>
                    <a:pt x="2654" y="5224"/>
                  </a:lnTo>
                  <a:lnTo>
                    <a:pt x="2662" y="5230"/>
                  </a:lnTo>
                  <a:lnTo>
                    <a:pt x="2668" y="5234"/>
                  </a:lnTo>
                  <a:lnTo>
                    <a:pt x="2676" y="5238"/>
                  </a:lnTo>
                  <a:lnTo>
                    <a:pt x="2690" y="5242"/>
                  </a:lnTo>
                  <a:lnTo>
                    <a:pt x="2706" y="5246"/>
                  </a:lnTo>
                  <a:lnTo>
                    <a:pt x="2722" y="5248"/>
                  </a:lnTo>
                  <a:lnTo>
                    <a:pt x="2726" y="5246"/>
                  </a:lnTo>
                  <a:lnTo>
                    <a:pt x="2728" y="5244"/>
                  </a:lnTo>
                  <a:lnTo>
                    <a:pt x="2732" y="5244"/>
                  </a:lnTo>
                  <a:lnTo>
                    <a:pt x="2752" y="5248"/>
                  </a:lnTo>
                  <a:lnTo>
                    <a:pt x="2764" y="5250"/>
                  </a:lnTo>
                  <a:lnTo>
                    <a:pt x="2770" y="5248"/>
                  </a:lnTo>
                  <a:lnTo>
                    <a:pt x="2772" y="5246"/>
                  </a:lnTo>
                  <a:lnTo>
                    <a:pt x="2774" y="5244"/>
                  </a:lnTo>
                  <a:lnTo>
                    <a:pt x="2774" y="5242"/>
                  </a:lnTo>
                  <a:lnTo>
                    <a:pt x="2776" y="5242"/>
                  </a:lnTo>
                  <a:lnTo>
                    <a:pt x="2794" y="5250"/>
                  </a:lnTo>
                  <a:lnTo>
                    <a:pt x="2806" y="5256"/>
                  </a:lnTo>
                  <a:lnTo>
                    <a:pt x="2814" y="5258"/>
                  </a:lnTo>
                  <a:lnTo>
                    <a:pt x="2820" y="5260"/>
                  </a:lnTo>
                  <a:lnTo>
                    <a:pt x="2828" y="5264"/>
                  </a:lnTo>
                  <a:lnTo>
                    <a:pt x="2834" y="5268"/>
                  </a:lnTo>
                  <a:lnTo>
                    <a:pt x="2836" y="5268"/>
                  </a:lnTo>
                  <a:lnTo>
                    <a:pt x="2836" y="5266"/>
                  </a:lnTo>
                  <a:lnTo>
                    <a:pt x="2836" y="5262"/>
                  </a:lnTo>
                  <a:lnTo>
                    <a:pt x="2832" y="5258"/>
                  </a:lnTo>
                  <a:close/>
                  <a:moveTo>
                    <a:pt x="2398" y="4778"/>
                  </a:moveTo>
                  <a:lnTo>
                    <a:pt x="2398" y="4778"/>
                  </a:lnTo>
                  <a:lnTo>
                    <a:pt x="2400" y="4780"/>
                  </a:lnTo>
                  <a:lnTo>
                    <a:pt x="2402" y="4780"/>
                  </a:lnTo>
                  <a:lnTo>
                    <a:pt x="2406" y="4780"/>
                  </a:lnTo>
                  <a:lnTo>
                    <a:pt x="2410" y="4776"/>
                  </a:lnTo>
                  <a:lnTo>
                    <a:pt x="2410" y="4774"/>
                  </a:lnTo>
                  <a:lnTo>
                    <a:pt x="2408" y="4772"/>
                  </a:lnTo>
                  <a:lnTo>
                    <a:pt x="2402" y="4772"/>
                  </a:lnTo>
                  <a:lnTo>
                    <a:pt x="2398" y="4774"/>
                  </a:lnTo>
                  <a:lnTo>
                    <a:pt x="2398" y="4776"/>
                  </a:lnTo>
                  <a:lnTo>
                    <a:pt x="2398" y="4778"/>
                  </a:lnTo>
                  <a:close/>
                  <a:moveTo>
                    <a:pt x="2330" y="4760"/>
                  </a:moveTo>
                  <a:lnTo>
                    <a:pt x="2330" y="4760"/>
                  </a:lnTo>
                  <a:lnTo>
                    <a:pt x="2330" y="4762"/>
                  </a:lnTo>
                  <a:lnTo>
                    <a:pt x="2332" y="4764"/>
                  </a:lnTo>
                  <a:lnTo>
                    <a:pt x="2340" y="4770"/>
                  </a:lnTo>
                  <a:lnTo>
                    <a:pt x="2348" y="4774"/>
                  </a:lnTo>
                  <a:lnTo>
                    <a:pt x="2350" y="4774"/>
                  </a:lnTo>
                  <a:lnTo>
                    <a:pt x="2350" y="4770"/>
                  </a:lnTo>
                  <a:lnTo>
                    <a:pt x="2350" y="4768"/>
                  </a:lnTo>
                  <a:lnTo>
                    <a:pt x="2346" y="4764"/>
                  </a:lnTo>
                  <a:lnTo>
                    <a:pt x="2340" y="4760"/>
                  </a:lnTo>
                  <a:lnTo>
                    <a:pt x="2334" y="4758"/>
                  </a:lnTo>
                  <a:lnTo>
                    <a:pt x="2332" y="4758"/>
                  </a:lnTo>
                  <a:lnTo>
                    <a:pt x="2330" y="4760"/>
                  </a:lnTo>
                  <a:close/>
                  <a:moveTo>
                    <a:pt x="2230" y="4942"/>
                  </a:moveTo>
                  <a:lnTo>
                    <a:pt x="2230" y="4942"/>
                  </a:lnTo>
                  <a:lnTo>
                    <a:pt x="2230" y="4944"/>
                  </a:lnTo>
                  <a:lnTo>
                    <a:pt x="2230" y="4946"/>
                  </a:lnTo>
                  <a:lnTo>
                    <a:pt x="2234" y="4952"/>
                  </a:lnTo>
                  <a:lnTo>
                    <a:pt x="2238" y="4956"/>
                  </a:lnTo>
                  <a:lnTo>
                    <a:pt x="2242" y="4956"/>
                  </a:lnTo>
                  <a:lnTo>
                    <a:pt x="2244" y="4954"/>
                  </a:lnTo>
                  <a:lnTo>
                    <a:pt x="2244" y="4952"/>
                  </a:lnTo>
                  <a:lnTo>
                    <a:pt x="2244" y="4950"/>
                  </a:lnTo>
                  <a:lnTo>
                    <a:pt x="2240" y="4944"/>
                  </a:lnTo>
                  <a:lnTo>
                    <a:pt x="2236" y="4940"/>
                  </a:lnTo>
                  <a:lnTo>
                    <a:pt x="2232" y="4940"/>
                  </a:lnTo>
                  <a:lnTo>
                    <a:pt x="2230" y="4942"/>
                  </a:lnTo>
                  <a:close/>
                  <a:moveTo>
                    <a:pt x="2194" y="4886"/>
                  </a:moveTo>
                  <a:lnTo>
                    <a:pt x="2194" y="4886"/>
                  </a:lnTo>
                  <a:lnTo>
                    <a:pt x="2192" y="4890"/>
                  </a:lnTo>
                  <a:lnTo>
                    <a:pt x="2192" y="4896"/>
                  </a:lnTo>
                  <a:lnTo>
                    <a:pt x="2194" y="4904"/>
                  </a:lnTo>
                  <a:lnTo>
                    <a:pt x="2198" y="4910"/>
                  </a:lnTo>
                  <a:lnTo>
                    <a:pt x="2208" y="4920"/>
                  </a:lnTo>
                  <a:lnTo>
                    <a:pt x="2214" y="4924"/>
                  </a:lnTo>
                  <a:lnTo>
                    <a:pt x="2218" y="4924"/>
                  </a:lnTo>
                  <a:lnTo>
                    <a:pt x="2220" y="4920"/>
                  </a:lnTo>
                  <a:lnTo>
                    <a:pt x="2220" y="4914"/>
                  </a:lnTo>
                  <a:lnTo>
                    <a:pt x="2214" y="4900"/>
                  </a:lnTo>
                  <a:lnTo>
                    <a:pt x="2210" y="4894"/>
                  </a:lnTo>
                  <a:lnTo>
                    <a:pt x="2204" y="4888"/>
                  </a:lnTo>
                  <a:lnTo>
                    <a:pt x="2200" y="4886"/>
                  </a:lnTo>
                  <a:lnTo>
                    <a:pt x="2194" y="4886"/>
                  </a:lnTo>
                  <a:close/>
                  <a:moveTo>
                    <a:pt x="2182" y="4866"/>
                  </a:moveTo>
                  <a:lnTo>
                    <a:pt x="2182" y="4866"/>
                  </a:lnTo>
                  <a:lnTo>
                    <a:pt x="2184" y="4868"/>
                  </a:lnTo>
                  <a:lnTo>
                    <a:pt x="2186" y="4866"/>
                  </a:lnTo>
                  <a:lnTo>
                    <a:pt x="2188" y="4862"/>
                  </a:lnTo>
                  <a:lnTo>
                    <a:pt x="2188" y="4856"/>
                  </a:lnTo>
                  <a:lnTo>
                    <a:pt x="2186" y="4850"/>
                  </a:lnTo>
                  <a:lnTo>
                    <a:pt x="2184" y="4850"/>
                  </a:lnTo>
                  <a:lnTo>
                    <a:pt x="2182" y="4850"/>
                  </a:lnTo>
                  <a:lnTo>
                    <a:pt x="2180" y="4854"/>
                  </a:lnTo>
                  <a:lnTo>
                    <a:pt x="2180" y="4860"/>
                  </a:lnTo>
                  <a:lnTo>
                    <a:pt x="2180" y="4864"/>
                  </a:lnTo>
                  <a:lnTo>
                    <a:pt x="2182" y="4866"/>
                  </a:lnTo>
                  <a:close/>
                  <a:moveTo>
                    <a:pt x="2248" y="4964"/>
                  </a:moveTo>
                  <a:lnTo>
                    <a:pt x="2248" y="4964"/>
                  </a:lnTo>
                  <a:lnTo>
                    <a:pt x="2246" y="4968"/>
                  </a:lnTo>
                  <a:lnTo>
                    <a:pt x="2246" y="4974"/>
                  </a:lnTo>
                  <a:lnTo>
                    <a:pt x="2248" y="4976"/>
                  </a:lnTo>
                  <a:lnTo>
                    <a:pt x="2252" y="4978"/>
                  </a:lnTo>
                  <a:lnTo>
                    <a:pt x="2254" y="4978"/>
                  </a:lnTo>
                  <a:lnTo>
                    <a:pt x="2256" y="4980"/>
                  </a:lnTo>
                  <a:lnTo>
                    <a:pt x="2260" y="4990"/>
                  </a:lnTo>
                  <a:lnTo>
                    <a:pt x="2262" y="4996"/>
                  </a:lnTo>
                  <a:lnTo>
                    <a:pt x="2264" y="4996"/>
                  </a:lnTo>
                  <a:lnTo>
                    <a:pt x="2266" y="4994"/>
                  </a:lnTo>
                  <a:lnTo>
                    <a:pt x="2266" y="4990"/>
                  </a:lnTo>
                  <a:lnTo>
                    <a:pt x="2266" y="4984"/>
                  </a:lnTo>
                  <a:lnTo>
                    <a:pt x="2260" y="4974"/>
                  </a:lnTo>
                  <a:lnTo>
                    <a:pt x="2254" y="4964"/>
                  </a:lnTo>
                  <a:lnTo>
                    <a:pt x="2250" y="4964"/>
                  </a:lnTo>
                  <a:lnTo>
                    <a:pt x="2248" y="4964"/>
                  </a:lnTo>
                  <a:close/>
                  <a:moveTo>
                    <a:pt x="2354" y="4788"/>
                  </a:moveTo>
                  <a:lnTo>
                    <a:pt x="2354" y="4788"/>
                  </a:lnTo>
                  <a:lnTo>
                    <a:pt x="2352" y="4784"/>
                  </a:lnTo>
                  <a:lnTo>
                    <a:pt x="2350" y="4792"/>
                  </a:lnTo>
                  <a:lnTo>
                    <a:pt x="2348" y="4796"/>
                  </a:lnTo>
                  <a:lnTo>
                    <a:pt x="2348" y="4800"/>
                  </a:lnTo>
                  <a:lnTo>
                    <a:pt x="2352" y="4800"/>
                  </a:lnTo>
                  <a:lnTo>
                    <a:pt x="2358" y="4802"/>
                  </a:lnTo>
                  <a:lnTo>
                    <a:pt x="2364" y="4802"/>
                  </a:lnTo>
                  <a:lnTo>
                    <a:pt x="2370" y="4804"/>
                  </a:lnTo>
                  <a:lnTo>
                    <a:pt x="2372" y="4804"/>
                  </a:lnTo>
                  <a:lnTo>
                    <a:pt x="2372" y="4800"/>
                  </a:lnTo>
                  <a:lnTo>
                    <a:pt x="2372" y="4798"/>
                  </a:lnTo>
                  <a:lnTo>
                    <a:pt x="2370" y="4796"/>
                  </a:lnTo>
                  <a:lnTo>
                    <a:pt x="2364" y="4794"/>
                  </a:lnTo>
                  <a:lnTo>
                    <a:pt x="2358" y="4792"/>
                  </a:lnTo>
                  <a:lnTo>
                    <a:pt x="2354" y="4788"/>
                  </a:lnTo>
                  <a:close/>
                  <a:moveTo>
                    <a:pt x="2484" y="5128"/>
                  </a:moveTo>
                  <a:lnTo>
                    <a:pt x="2484" y="5128"/>
                  </a:lnTo>
                  <a:lnTo>
                    <a:pt x="2486" y="5124"/>
                  </a:lnTo>
                  <a:lnTo>
                    <a:pt x="2486" y="5120"/>
                  </a:lnTo>
                  <a:lnTo>
                    <a:pt x="2488" y="5108"/>
                  </a:lnTo>
                  <a:lnTo>
                    <a:pt x="2486" y="5092"/>
                  </a:lnTo>
                  <a:lnTo>
                    <a:pt x="2488" y="5076"/>
                  </a:lnTo>
                  <a:lnTo>
                    <a:pt x="2488" y="5062"/>
                  </a:lnTo>
                  <a:lnTo>
                    <a:pt x="2486" y="5056"/>
                  </a:lnTo>
                  <a:lnTo>
                    <a:pt x="2484" y="5050"/>
                  </a:lnTo>
                  <a:lnTo>
                    <a:pt x="2486" y="5038"/>
                  </a:lnTo>
                  <a:lnTo>
                    <a:pt x="2488" y="5028"/>
                  </a:lnTo>
                  <a:lnTo>
                    <a:pt x="2488" y="5020"/>
                  </a:lnTo>
                  <a:lnTo>
                    <a:pt x="2486" y="5014"/>
                  </a:lnTo>
                  <a:lnTo>
                    <a:pt x="2492" y="5004"/>
                  </a:lnTo>
                  <a:lnTo>
                    <a:pt x="2494" y="4998"/>
                  </a:lnTo>
                  <a:lnTo>
                    <a:pt x="2496" y="4994"/>
                  </a:lnTo>
                  <a:lnTo>
                    <a:pt x="2494" y="4990"/>
                  </a:lnTo>
                  <a:lnTo>
                    <a:pt x="2492" y="4988"/>
                  </a:lnTo>
                  <a:lnTo>
                    <a:pt x="2486" y="4982"/>
                  </a:lnTo>
                  <a:lnTo>
                    <a:pt x="2482" y="4978"/>
                  </a:lnTo>
                  <a:lnTo>
                    <a:pt x="2480" y="4972"/>
                  </a:lnTo>
                  <a:lnTo>
                    <a:pt x="2476" y="4962"/>
                  </a:lnTo>
                  <a:lnTo>
                    <a:pt x="2472" y="4956"/>
                  </a:lnTo>
                  <a:lnTo>
                    <a:pt x="2468" y="4954"/>
                  </a:lnTo>
                  <a:lnTo>
                    <a:pt x="2460" y="4956"/>
                  </a:lnTo>
                  <a:lnTo>
                    <a:pt x="2456" y="4958"/>
                  </a:lnTo>
                  <a:lnTo>
                    <a:pt x="2452" y="4956"/>
                  </a:lnTo>
                  <a:lnTo>
                    <a:pt x="2450" y="4956"/>
                  </a:lnTo>
                  <a:lnTo>
                    <a:pt x="2446" y="4958"/>
                  </a:lnTo>
                  <a:lnTo>
                    <a:pt x="2440" y="4962"/>
                  </a:lnTo>
                  <a:lnTo>
                    <a:pt x="2442" y="4956"/>
                  </a:lnTo>
                  <a:lnTo>
                    <a:pt x="2446" y="4946"/>
                  </a:lnTo>
                  <a:lnTo>
                    <a:pt x="2446" y="4942"/>
                  </a:lnTo>
                  <a:lnTo>
                    <a:pt x="2442" y="4940"/>
                  </a:lnTo>
                  <a:lnTo>
                    <a:pt x="2438" y="4938"/>
                  </a:lnTo>
                  <a:lnTo>
                    <a:pt x="2436" y="4932"/>
                  </a:lnTo>
                  <a:lnTo>
                    <a:pt x="2430" y="4914"/>
                  </a:lnTo>
                  <a:lnTo>
                    <a:pt x="2428" y="4904"/>
                  </a:lnTo>
                  <a:lnTo>
                    <a:pt x="2426" y="4898"/>
                  </a:lnTo>
                  <a:lnTo>
                    <a:pt x="2422" y="4892"/>
                  </a:lnTo>
                  <a:lnTo>
                    <a:pt x="2420" y="4890"/>
                  </a:lnTo>
                  <a:lnTo>
                    <a:pt x="2416" y="4890"/>
                  </a:lnTo>
                  <a:lnTo>
                    <a:pt x="2410" y="4890"/>
                  </a:lnTo>
                  <a:lnTo>
                    <a:pt x="2404" y="4890"/>
                  </a:lnTo>
                  <a:lnTo>
                    <a:pt x="2394" y="4884"/>
                  </a:lnTo>
                  <a:lnTo>
                    <a:pt x="2390" y="4880"/>
                  </a:lnTo>
                  <a:lnTo>
                    <a:pt x="2388" y="4876"/>
                  </a:lnTo>
                  <a:lnTo>
                    <a:pt x="2388" y="4872"/>
                  </a:lnTo>
                  <a:lnTo>
                    <a:pt x="2388" y="4868"/>
                  </a:lnTo>
                  <a:lnTo>
                    <a:pt x="2390" y="4862"/>
                  </a:lnTo>
                  <a:lnTo>
                    <a:pt x="2392" y="4858"/>
                  </a:lnTo>
                  <a:lnTo>
                    <a:pt x="2390" y="4852"/>
                  </a:lnTo>
                  <a:lnTo>
                    <a:pt x="2390" y="4848"/>
                  </a:lnTo>
                  <a:lnTo>
                    <a:pt x="2392" y="4846"/>
                  </a:lnTo>
                  <a:lnTo>
                    <a:pt x="2396" y="4844"/>
                  </a:lnTo>
                  <a:lnTo>
                    <a:pt x="2400" y="4842"/>
                  </a:lnTo>
                  <a:lnTo>
                    <a:pt x="2402" y="4836"/>
                  </a:lnTo>
                  <a:lnTo>
                    <a:pt x="2402" y="4832"/>
                  </a:lnTo>
                  <a:lnTo>
                    <a:pt x="2400" y="4826"/>
                  </a:lnTo>
                  <a:lnTo>
                    <a:pt x="2396" y="4822"/>
                  </a:lnTo>
                  <a:lnTo>
                    <a:pt x="2392" y="4818"/>
                  </a:lnTo>
                  <a:lnTo>
                    <a:pt x="2386" y="4816"/>
                  </a:lnTo>
                  <a:lnTo>
                    <a:pt x="2380" y="4818"/>
                  </a:lnTo>
                  <a:lnTo>
                    <a:pt x="2376" y="4820"/>
                  </a:lnTo>
                  <a:lnTo>
                    <a:pt x="2374" y="4820"/>
                  </a:lnTo>
                  <a:lnTo>
                    <a:pt x="2372" y="4814"/>
                  </a:lnTo>
                  <a:lnTo>
                    <a:pt x="2372" y="4812"/>
                  </a:lnTo>
                  <a:lnTo>
                    <a:pt x="2368" y="4808"/>
                  </a:lnTo>
                  <a:lnTo>
                    <a:pt x="2364" y="4806"/>
                  </a:lnTo>
                  <a:lnTo>
                    <a:pt x="2356" y="4804"/>
                  </a:lnTo>
                  <a:lnTo>
                    <a:pt x="2348" y="4802"/>
                  </a:lnTo>
                  <a:lnTo>
                    <a:pt x="2342" y="4796"/>
                  </a:lnTo>
                  <a:lnTo>
                    <a:pt x="2340" y="4790"/>
                  </a:lnTo>
                  <a:lnTo>
                    <a:pt x="2338" y="4784"/>
                  </a:lnTo>
                  <a:lnTo>
                    <a:pt x="2336" y="4776"/>
                  </a:lnTo>
                  <a:lnTo>
                    <a:pt x="2332" y="4768"/>
                  </a:lnTo>
                  <a:lnTo>
                    <a:pt x="2324" y="4762"/>
                  </a:lnTo>
                  <a:lnTo>
                    <a:pt x="2314" y="4758"/>
                  </a:lnTo>
                  <a:lnTo>
                    <a:pt x="2308" y="4756"/>
                  </a:lnTo>
                  <a:lnTo>
                    <a:pt x="2304" y="4754"/>
                  </a:lnTo>
                  <a:lnTo>
                    <a:pt x="2302" y="4748"/>
                  </a:lnTo>
                  <a:lnTo>
                    <a:pt x="2300" y="4740"/>
                  </a:lnTo>
                  <a:lnTo>
                    <a:pt x="2298" y="4738"/>
                  </a:lnTo>
                  <a:lnTo>
                    <a:pt x="2296" y="4734"/>
                  </a:lnTo>
                  <a:lnTo>
                    <a:pt x="2288" y="4728"/>
                  </a:lnTo>
                  <a:lnTo>
                    <a:pt x="2284" y="4728"/>
                  </a:lnTo>
                  <a:lnTo>
                    <a:pt x="2282" y="4730"/>
                  </a:lnTo>
                  <a:lnTo>
                    <a:pt x="2282" y="4732"/>
                  </a:lnTo>
                  <a:lnTo>
                    <a:pt x="2282" y="4740"/>
                  </a:lnTo>
                  <a:lnTo>
                    <a:pt x="2282" y="4742"/>
                  </a:lnTo>
                  <a:lnTo>
                    <a:pt x="2280" y="4740"/>
                  </a:lnTo>
                  <a:lnTo>
                    <a:pt x="2274" y="4736"/>
                  </a:lnTo>
                  <a:lnTo>
                    <a:pt x="2270" y="4732"/>
                  </a:lnTo>
                  <a:lnTo>
                    <a:pt x="2266" y="4728"/>
                  </a:lnTo>
                  <a:lnTo>
                    <a:pt x="2262" y="4718"/>
                  </a:lnTo>
                  <a:lnTo>
                    <a:pt x="2258" y="4710"/>
                  </a:lnTo>
                  <a:lnTo>
                    <a:pt x="2254" y="4708"/>
                  </a:lnTo>
                  <a:lnTo>
                    <a:pt x="2252" y="4708"/>
                  </a:lnTo>
                  <a:lnTo>
                    <a:pt x="2248" y="4702"/>
                  </a:lnTo>
                  <a:lnTo>
                    <a:pt x="2242" y="4692"/>
                  </a:lnTo>
                  <a:lnTo>
                    <a:pt x="2234" y="4680"/>
                  </a:lnTo>
                  <a:lnTo>
                    <a:pt x="2222" y="4670"/>
                  </a:lnTo>
                  <a:lnTo>
                    <a:pt x="2214" y="4666"/>
                  </a:lnTo>
                  <a:lnTo>
                    <a:pt x="2208" y="4664"/>
                  </a:lnTo>
                  <a:lnTo>
                    <a:pt x="2204" y="4662"/>
                  </a:lnTo>
                  <a:lnTo>
                    <a:pt x="2200" y="4658"/>
                  </a:lnTo>
                  <a:lnTo>
                    <a:pt x="2196" y="4652"/>
                  </a:lnTo>
                  <a:lnTo>
                    <a:pt x="2192" y="4646"/>
                  </a:lnTo>
                  <a:lnTo>
                    <a:pt x="2190" y="4644"/>
                  </a:lnTo>
                  <a:lnTo>
                    <a:pt x="2186" y="4642"/>
                  </a:lnTo>
                  <a:lnTo>
                    <a:pt x="2182" y="4640"/>
                  </a:lnTo>
                  <a:lnTo>
                    <a:pt x="2180" y="4638"/>
                  </a:lnTo>
                  <a:lnTo>
                    <a:pt x="2180" y="4632"/>
                  </a:lnTo>
                  <a:lnTo>
                    <a:pt x="2178" y="4626"/>
                  </a:lnTo>
                  <a:lnTo>
                    <a:pt x="2176" y="4624"/>
                  </a:lnTo>
                  <a:lnTo>
                    <a:pt x="2174" y="4622"/>
                  </a:lnTo>
                  <a:lnTo>
                    <a:pt x="2170" y="4620"/>
                  </a:lnTo>
                  <a:lnTo>
                    <a:pt x="2168" y="4618"/>
                  </a:lnTo>
                  <a:lnTo>
                    <a:pt x="2166" y="4612"/>
                  </a:lnTo>
                  <a:lnTo>
                    <a:pt x="2166" y="4604"/>
                  </a:lnTo>
                  <a:lnTo>
                    <a:pt x="2162" y="4598"/>
                  </a:lnTo>
                  <a:lnTo>
                    <a:pt x="2158" y="4592"/>
                  </a:lnTo>
                  <a:lnTo>
                    <a:pt x="2150" y="4582"/>
                  </a:lnTo>
                  <a:lnTo>
                    <a:pt x="2146" y="4582"/>
                  </a:lnTo>
                  <a:lnTo>
                    <a:pt x="2146" y="4584"/>
                  </a:lnTo>
                  <a:lnTo>
                    <a:pt x="2142" y="4586"/>
                  </a:lnTo>
                  <a:lnTo>
                    <a:pt x="2138" y="4586"/>
                  </a:lnTo>
                  <a:lnTo>
                    <a:pt x="2134" y="4584"/>
                  </a:lnTo>
                  <a:lnTo>
                    <a:pt x="2130" y="4582"/>
                  </a:lnTo>
                  <a:lnTo>
                    <a:pt x="2128" y="4580"/>
                  </a:lnTo>
                  <a:lnTo>
                    <a:pt x="2122" y="4582"/>
                  </a:lnTo>
                  <a:lnTo>
                    <a:pt x="2114" y="4584"/>
                  </a:lnTo>
                  <a:lnTo>
                    <a:pt x="2108" y="4584"/>
                  </a:lnTo>
                  <a:lnTo>
                    <a:pt x="2098" y="4584"/>
                  </a:lnTo>
                  <a:lnTo>
                    <a:pt x="2088" y="4580"/>
                  </a:lnTo>
                  <a:lnTo>
                    <a:pt x="2086" y="4578"/>
                  </a:lnTo>
                  <a:lnTo>
                    <a:pt x="2084" y="4576"/>
                  </a:lnTo>
                  <a:lnTo>
                    <a:pt x="2082" y="4572"/>
                  </a:lnTo>
                  <a:lnTo>
                    <a:pt x="2078" y="4568"/>
                  </a:lnTo>
                  <a:lnTo>
                    <a:pt x="2070" y="4566"/>
                  </a:lnTo>
                  <a:lnTo>
                    <a:pt x="2062" y="4564"/>
                  </a:lnTo>
                  <a:lnTo>
                    <a:pt x="2058" y="4566"/>
                  </a:lnTo>
                  <a:lnTo>
                    <a:pt x="2056" y="4570"/>
                  </a:lnTo>
                  <a:lnTo>
                    <a:pt x="2056" y="4576"/>
                  </a:lnTo>
                  <a:lnTo>
                    <a:pt x="2058" y="4584"/>
                  </a:lnTo>
                  <a:lnTo>
                    <a:pt x="2060" y="4594"/>
                  </a:lnTo>
                  <a:lnTo>
                    <a:pt x="2070" y="4612"/>
                  </a:lnTo>
                  <a:lnTo>
                    <a:pt x="2080" y="4626"/>
                  </a:lnTo>
                  <a:lnTo>
                    <a:pt x="2086" y="4634"/>
                  </a:lnTo>
                  <a:lnTo>
                    <a:pt x="2094" y="4640"/>
                  </a:lnTo>
                  <a:lnTo>
                    <a:pt x="2102" y="4650"/>
                  </a:lnTo>
                  <a:lnTo>
                    <a:pt x="2104" y="4654"/>
                  </a:lnTo>
                  <a:lnTo>
                    <a:pt x="2108" y="4658"/>
                  </a:lnTo>
                  <a:lnTo>
                    <a:pt x="2114" y="4658"/>
                  </a:lnTo>
                  <a:lnTo>
                    <a:pt x="2116" y="4658"/>
                  </a:lnTo>
                  <a:lnTo>
                    <a:pt x="2120" y="4660"/>
                  </a:lnTo>
                  <a:lnTo>
                    <a:pt x="2124" y="4664"/>
                  </a:lnTo>
                  <a:lnTo>
                    <a:pt x="2130" y="4672"/>
                  </a:lnTo>
                  <a:lnTo>
                    <a:pt x="2138" y="4686"/>
                  </a:lnTo>
                  <a:lnTo>
                    <a:pt x="2138" y="4690"/>
                  </a:lnTo>
                  <a:lnTo>
                    <a:pt x="2138" y="4692"/>
                  </a:lnTo>
                  <a:lnTo>
                    <a:pt x="2146" y="4698"/>
                  </a:lnTo>
                  <a:lnTo>
                    <a:pt x="2152" y="4702"/>
                  </a:lnTo>
                  <a:lnTo>
                    <a:pt x="2154" y="4706"/>
                  </a:lnTo>
                  <a:lnTo>
                    <a:pt x="2154" y="4716"/>
                  </a:lnTo>
                  <a:lnTo>
                    <a:pt x="2156" y="4720"/>
                  </a:lnTo>
                  <a:lnTo>
                    <a:pt x="2158" y="4724"/>
                  </a:lnTo>
                  <a:lnTo>
                    <a:pt x="2162" y="4730"/>
                  </a:lnTo>
                  <a:lnTo>
                    <a:pt x="2172" y="4736"/>
                  </a:lnTo>
                  <a:lnTo>
                    <a:pt x="2182" y="4742"/>
                  </a:lnTo>
                  <a:lnTo>
                    <a:pt x="2192" y="4748"/>
                  </a:lnTo>
                  <a:lnTo>
                    <a:pt x="2198" y="4756"/>
                  </a:lnTo>
                  <a:lnTo>
                    <a:pt x="2200" y="4760"/>
                  </a:lnTo>
                  <a:lnTo>
                    <a:pt x="2200" y="4762"/>
                  </a:lnTo>
                  <a:lnTo>
                    <a:pt x="2198" y="4766"/>
                  </a:lnTo>
                  <a:lnTo>
                    <a:pt x="2198" y="4772"/>
                  </a:lnTo>
                  <a:lnTo>
                    <a:pt x="2206" y="4794"/>
                  </a:lnTo>
                  <a:lnTo>
                    <a:pt x="2214" y="4820"/>
                  </a:lnTo>
                  <a:lnTo>
                    <a:pt x="2218" y="4828"/>
                  </a:lnTo>
                  <a:lnTo>
                    <a:pt x="2226" y="4834"/>
                  </a:lnTo>
                  <a:lnTo>
                    <a:pt x="2234" y="4838"/>
                  </a:lnTo>
                  <a:lnTo>
                    <a:pt x="2236" y="4844"/>
                  </a:lnTo>
                  <a:lnTo>
                    <a:pt x="2240" y="4854"/>
                  </a:lnTo>
                  <a:lnTo>
                    <a:pt x="2254" y="4870"/>
                  </a:lnTo>
                  <a:lnTo>
                    <a:pt x="2260" y="4876"/>
                  </a:lnTo>
                  <a:lnTo>
                    <a:pt x="2262" y="4882"/>
                  </a:lnTo>
                  <a:lnTo>
                    <a:pt x="2264" y="4886"/>
                  </a:lnTo>
                  <a:lnTo>
                    <a:pt x="2264" y="4890"/>
                  </a:lnTo>
                  <a:lnTo>
                    <a:pt x="2262" y="4898"/>
                  </a:lnTo>
                  <a:lnTo>
                    <a:pt x="2264" y="4900"/>
                  </a:lnTo>
                  <a:lnTo>
                    <a:pt x="2266" y="4904"/>
                  </a:lnTo>
                  <a:lnTo>
                    <a:pt x="2274" y="4912"/>
                  </a:lnTo>
                  <a:lnTo>
                    <a:pt x="2278" y="4922"/>
                  </a:lnTo>
                  <a:lnTo>
                    <a:pt x="2282" y="4934"/>
                  </a:lnTo>
                  <a:lnTo>
                    <a:pt x="2284" y="4946"/>
                  </a:lnTo>
                  <a:lnTo>
                    <a:pt x="2290" y="4960"/>
                  </a:lnTo>
                  <a:lnTo>
                    <a:pt x="2300" y="4976"/>
                  </a:lnTo>
                  <a:lnTo>
                    <a:pt x="2312" y="4992"/>
                  </a:lnTo>
                  <a:lnTo>
                    <a:pt x="2326" y="5008"/>
                  </a:lnTo>
                  <a:lnTo>
                    <a:pt x="2336" y="5018"/>
                  </a:lnTo>
                  <a:lnTo>
                    <a:pt x="2342" y="5028"/>
                  </a:lnTo>
                  <a:lnTo>
                    <a:pt x="2350" y="5038"/>
                  </a:lnTo>
                  <a:lnTo>
                    <a:pt x="2364" y="5054"/>
                  </a:lnTo>
                  <a:lnTo>
                    <a:pt x="2380" y="5072"/>
                  </a:lnTo>
                  <a:lnTo>
                    <a:pt x="2394" y="5084"/>
                  </a:lnTo>
                  <a:lnTo>
                    <a:pt x="2404" y="5094"/>
                  </a:lnTo>
                  <a:lnTo>
                    <a:pt x="2416" y="5108"/>
                  </a:lnTo>
                  <a:lnTo>
                    <a:pt x="2426" y="5122"/>
                  </a:lnTo>
                  <a:lnTo>
                    <a:pt x="2434" y="5132"/>
                  </a:lnTo>
                  <a:lnTo>
                    <a:pt x="2436" y="5134"/>
                  </a:lnTo>
                  <a:lnTo>
                    <a:pt x="2438" y="5134"/>
                  </a:lnTo>
                  <a:lnTo>
                    <a:pt x="2434" y="5120"/>
                  </a:lnTo>
                  <a:lnTo>
                    <a:pt x="2434" y="5112"/>
                  </a:lnTo>
                  <a:lnTo>
                    <a:pt x="2434" y="5110"/>
                  </a:lnTo>
                  <a:lnTo>
                    <a:pt x="2438" y="5112"/>
                  </a:lnTo>
                  <a:lnTo>
                    <a:pt x="2444" y="5114"/>
                  </a:lnTo>
                  <a:lnTo>
                    <a:pt x="2450" y="5118"/>
                  </a:lnTo>
                  <a:lnTo>
                    <a:pt x="2454" y="5120"/>
                  </a:lnTo>
                  <a:lnTo>
                    <a:pt x="2458" y="5118"/>
                  </a:lnTo>
                  <a:lnTo>
                    <a:pt x="2460" y="5114"/>
                  </a:lnTo>
                  <a:lnTo>
                    <a:pt x="2462" y="5108"/>
                  </a:lnTo>
                  <a:lnTo>
                    <a:pt x="2464" y="5108"/>
                  </a:lnTo>
                  <a:lnTo>
                    <a:pt x="2470" y="5116"/>
                  </a:lnTo>
                  <a:lnTo>
                    <a:pt x="2476" y="5126"/>
                  </a:lnTo>
                  <a:lnTo>
                    <a:pt x="2480" y="5128"/>
                  </a:lnTo>
                  <a:lnTo>
                    <a:pt x="2484" y="5128"/>
                  </a:lnTo>
                  <a:close/>
                  <a:moveTo>
                    <a:pt x="2344" y="4774"/>
                  </a:moveTo>
                  <a:lnTo>
                    <a:pt x="2344" y="4774"/>
                  </a:lnTo>
                  <a:lnTo>
                    <a:pt x="2340" y="4772"/>
                  </a:lnTo>
                  <a:lnTo>
                    <a:pt x="2338" y="4772"/>
                  </a:lnTo>
                  <a:lnTo>
                    <a:pt x="2338" y="4774"/>
                  </a:lnTo>
                  <a:lnTo>
                    <a:pt x="2338" y="4776"/>
                  </a:lnTo>
                  <a:lnTo>
                    <a:pt x="2340" y="4784"/>
                  </a:lnTo>
                  <a:lnTo>
                    <a:pt x="2344" y="4792"/>
                  </a:lnTo>
                  <a:lnTo>
                    <a:pt x="2346" y="4792"/>
                  </a:lnTo>
                  <a:lnTo>
                    <a:pt x="2348" y="4788"/>
                  </a:lnTo>
                  <a:lnTo>
                    <a:pt x="2348" y="4780"/>
                  </a:lnTo>
                  <a:lnTo>
                    <a:pt x="2346" y="4776"/>
                  </a:lnTo>
                  <a:lnTo>
                    <a:pt x="2344" y="4774"/>
                  </a:lnTo>
                  <a:close/>
                  <a:moveTo>
                    <a:pt x="2374" y="4792"/>
                  </a:moveTo>
                  <a:lnTo>
                    <a:pt x="2374" y="4792"/>
                  </a:lnTo>
                  <a:lnTo>
                    <a:pt x="2372" y="4786"/>
                  </a:lnTo>
                  <a:lnTo>
                    <a:pt x="2366" y="4784"/>
                  </a:lnTo>
                  <a:lnTo>
                    <a:pt x="2360" y="4782"/>
                  </a:lnTo>
                  <a:lnTo>
                    <a:pt x="2358" y="4782"/>
                  </a:lnTo>
                  <a:lnTo>
                    <a:pt x="2358" y="4784"/>
                  </a:lnTo>
                  <a:lnTo>
                    <a:pt x="2358" y="4788"/>
                  </a:lnTo>
                  <a:lnTo>
                    <a:pt x="2364" y="4790"/>
                  </a:lnTo>
                  <a:lnTo>
                    <a:pt x="2372" y="4794"/>
                  </a:lnTo>
                  <a:lnTo>
                    <a:pt x="2374" y="4794"/>
                  </a:lnTo>
                  <a:lnTo>
                    <a:pt x="2374" y="4792"/>
                  </a:lnTo>
                  <a:close/>
                  <a:moveTo>
                    <a:pt x="2316" y="4736"/>
                  </a:moveTo>
                  <a:lnTo>
                    <a:pt x="2316" y="4736"/>
                  </a:lnTo>
                  <a:lnTo>
                    <a:pt x="2312" y="4736"/>
                  </a:lnTo>
                  <a:lnTo>
                    <a:pt x="2310" y="4736"/>
                  </a:lnTo>
                  <a:lnTo>
                    <a:pt x="2306" y="4740"/>
                  </a:lnTo>
                  <a:lnTo>
                    <a:pt x="2306" y="4746"/>
                  </a:lnTo>
                  <a:lnTo>
                    <a:pt x="2308" y="4750"/>
                  </a:lnTo>
                  <a:lnTo>
                    <a:pt x="2310" y="4752"/>
                  </a:lnTo>
                  <a:lnTo>
                    <a:pt x="2312" y="4752"/>
                  </a:lnTo>
                  <a:lnTo>
                    <a:pt x="2314" y="4752"/>
                  </a:lnTo>
                  <a:lnTo>
                    <a:pt x="2318" y="4746"/>
                  </a:lnTo>
                  <a:lnTo>
                    <a:pt x="2318" y="4740"/>
                  </a:lnTo>
                  <a:lnTo>
                    <a:pt x="2318" y="4736"/>
                  </a:lnTo>
                  <a:lnTo>
                    <a:pt x="2316" y="4736"/>
                  </a:lnTo>
                  <a:close/>
                  <a:moveTo>
                    <a:pt x="36" y="5458"/>
                  </a:moveTo>
                  <a:lnTo>
                    <a:pt x="36" y="5458"/>
                  </a:lnTo>
                  <a:lnTo>
                    <a:pt x="32" y="5458"/>
                  </a:lnTo>
                  <a:lnTo>
                    <a:pt x="30" y="5460"/>
                  </a:lnTo>
                  <a:lnTo>
                    <a:pt x="32" y="5464"/>
                  </a:lnTo>
                  <a:lnTo>
                    <a:pt x="36" y="5470"/>
                  </a:lnTo>
                  <a:lnTo>
                    <a:pt x="38" y="5472"/>
                  </a:lnTo>
                  <a:lnTo>
                    <a:pt x="40" y="5472"/>
                  </a:lnTo>
                  <a:lnTo>
                    <a:pt x="40" y="5468"/>
                  </a:lnTo>
                  <a:lnTo>
                    <a:pt x="40" y="5462"/>
                  </a:lnTo>
                  <a:lnTo>
                    <a:pt x="36" y="5458"/>
                  </a:lnTo>
                  <a:close/>
                  <a:moveTo>
                    <a:pt x="2554" y="4992"/>
                  </a:moveTo>
                  <a:lnTo>
                    <a:pt x="2554" y="4992"/>
                  </a:lnTo>
                  <a:lnTo>
                    <a:pt x="2558" y="4998"/>
                  </a:lnTo>
                  <a:lnTo>
                    <a:pt x="2560" y="4998"/>
                  </a:lnTo>
                  <a:lnTo>
                    <a:pt x="2562" y="4996"/>
                  </a:lnTo>
                  <a:lnTo>
                    <a:pt x="2564" y="4994"/>
                  </a:lnTo>
                  <a:lnTo>
                    <a:pt x="2566" y="4994"/>
                  </a:lnTo>
                  <a:lnTo>
                    <a:pt x="2570" y="4994"/>
                  </a:lnTo>
                  <a:lnTo>
                    <a:pt x="2574" y="4994"/>
                  </a:lnTo>
                  <a:lnTo>
                    <a:pt x="2578" y="4988"/>
                  </a:lnTo>
                  <a:lnTo>
                    <a:pt x="2582" y="4980"/>
                  </a:lnTo>
                  <a:lnTo>
                    <a:pt x="2582" y="4976"/>
                  </a:lnTo>
                  <a:lnTo>
                    <a:pt x="2580" y="4974"/>
                  </a:lnTo>
                  <a:lnTo>
                    <a:pt x="2576" y="4968"/>
                  </a:lnTo>
                  <a:lnTo>
                    <a:pt x="2568" y="4964"/>
                  </a:lnTo>
                  <a:lnTo>
                    <a:pt x="2562" y="4962"/>
                  </a:lnTo>
                  <a:lnTo>
                    <a:pt x="2558" y="4964"/>
                  </a:lnTo>
                  <a:lnTo>
                    <a:pt x="2556" y="4968"/>
                  </a:lnTo>
                  <a:lnTo>
                    <a:pt x="2554" y="4972"/>
                  </a:lnTo>
                  <a:lnTo>
                    <a:pt x="2552" y="4982"/>
                  </a:lnTo>
                  <a:lnTo>
                    <a:pt x="2552" y="4988"/>
                  </a:lnTo>
                  <a:lnTo>
                    <a:pt x="2554" y="4992"/>
                  </a:lnTo>
                  <a:close/>
                  <a:moveTo>
                    <a:pt x="8" y="5430"/>
                  </a:moveTo>
                  <a:lnTo>
                    <a:pt x="8" y="5430"/>
                  </a:lnTo>
                  <a:lnTo>
                    <a:pt x="6" y="5434"/>
                  </a:lnTo>
                  <a:lnTo>
                    <a:pt x="6" y="5436"/>
                  </a:lnTo>
                  <a:lnTo>
                    <a:pt x="6" y="5440"/>
                  </a:lnTo>
                  <a:lnTo>
                    <a:pt x="10" y="5444"/>
                  </a:lnTo>
                  <a:lnTo>
                    <a:pt x="14" y="5442"/>
                  </a:lnTo>
                  <a:lnTo>
                    <a:pt x="14" y="5438"/>
                  </a:lnTo>
                  <a:lnTo>
                    <a:pt x="14" y="5434"/>
                  </a:lnTo>
                  <a:lnTo>
                    <a:pt x="12" y="5430"/>
                  </a:lnTo>
                  <a:lnTo>
                    <a:pt x="10" y="5430"/>
                  </a:lnTo>
                  <a:lnTo>
                    <a:pt x="8" y="5430"/>
                  </a:lnTo>
                  <a:close/>
                  <a:moveTo>
                    <a:pt x="3222" y="4178"/>
                  </a:moveTo>
                  <a:lnTo>
                    <a:pt x="3222" y="4178"/>
                  </a:lnTo>
                  <a:lnTo>
                    <a:pt x="3224" y="4178"/>
                  </a:lnTo>
                  <a:lnTo>
                    <a:pt x="3228" y="4176"/>
                  </a:lnTo>
                  <a:lnTo>
                    <a:pt x="3232" y="4172"/>
                  </a:lnTo>
                  <a:lnTo>
                    <a:pt x="3234" y="4166"/>
                  </a:lnTo>
                  <a:lnTo>
                    <a:pt x="3232" y="4162"/>
                  </a:lnTo>
                  <a:lnTo>
                    <a:pt x="3232" y="4160"/>
                  </a:lnTo>
                  <a:lnTo>
                    <a:pt x="3230" y="4160"/>
                  </a:lnTo>
                  <a:lnTo>
                    <a:pt x="3228" y="4156"/>
                  </a:lnTo>
                  <a:lnTo>
                    <a:pt x="3226" y="4152"/>
                  </a:lnTo>
                  <a:lnTo>
                    <a:pt x="3224" y="4150"/>
                  </a:lnTo>
                  <a:lnTo>
                    <a:pt x="3222" y="4154"/>
                  </a:lnTo>
                  <a:lnTo>
                    <a:pt x="3222" y="4160"/>
                  </a:lnTo>
                  <a:lnTo>
                    <a:pt x="3222" y="4168"/>
                  </a:lnTo>
                  <a:lnTo>
                    <a:pt x="3220" y="4172"/>
                  </a:lnTo>
                  <a:lnTo>
                    <a:pt x="3218" y="4174"/>
                  </a:lnTo>
                  <a:lnTo>
                    <a:pt x="3222" y="4178"/>
                  </a:lnTo>
                  <a:close/>
                  <a:moveTo>
                    <a:pt x="3526" y="3176"/>
                  </a:moveTo>
                  <a:lnTo>
                    <a:pt x="3526" y="3176"/>
                  </a:lnTo>
                  <a:lnTo>
                    <a:pt x="3522" y="3176"/>
                  </a:lnTo>
                  <a:lnTo>
                    <a:pt x="3520" y="3174"/>
                  </a:lnTo>
                  <a:lnTo>
                    <a:pt x="3522" y="3168"/>
                  </a:lnTo>
                  <a:lnTo>
                    <a:pt x="3526" y="3162"/>
                  </a:lnTo>
                  <a:lnTo>
                    <a:pt x="3526" y="3158"/>
                  </a:lnTo>
                  <a:lnTo>
                    <a:pt x="3526" y="3154"/>
                  </a:lnTo>
                  <a:lnTo>
                    <a:pt x="3522" y="3152"/>
                  </a:lnTo>
                  <a:lnTo>
                    <a:pt x="3518" y="3152"/>
                  </a:lnTo>
                  <a:lnTo>
                    <a:pt x="3510" y="3156"/>
                  </a:lnTo>
                  <a:lnTo>
                    <a:pt x="3506" y="3156"/>
                  </a:lnTo>
                  <a:lnTo>
                    <a:pt x="3504" y="3156"/>
                  </a:lnTo>
                  <a:lnTo>
                    <a:pt x="3500" y="3154"/>
                  </a:lnTo>
                  <a:lnTo>
                    <a:pt x="3500" y="3148"/>
                  </a:lnTo>
                  <a:lnTo>
                    <a:pt x="3498" y="3146"/>
                  </a:lnTo>
                  <a:lnTo>
                    <a:pt x="3496" y="3142"/>
                  </a:lnTo>
                  <a:lnTo>
                    <a:pt x="3490" y="3140"/>
                  </a:lnTo>
                  <a:lnTo>
                    <a:pt x="3486" y="3140"/>
                  </a:lnTo>
                  <a:lnTo>
                    <a:pt x="3482" y="3140"/>
                  </a:lnTo>
                  <a:lnTo>
                    <a:pt x="3478" y="3144"/>
                  </a:lnTo>
                  <a:lnTo>
                    <a:pt x="3476" y="3148"/>
                  </a:lnTo>
                  <a:lnTo>
                    <a:pt x="3474" y="3154"/>
                  </a:lnTo>
                  <a:lnTo>
                    <a:pt x="3470" y="3154"/>
                  </a:lnTo>
                  <a:lnTo>
                    <a:pt x="3466" y="3154"/>
                  </a:lnTo>
                  <a:lnTo>
                    <a:pt x="3464" y="3160"/>
                  </a:lnTo>
                  <a:lnTo>
                    <a:pt x="3462" y="3164"/>
                  </a:lnTo>
                  <a:lnTo>
                    <a:pt x="3460" y="3164"/>
                  </a:lnTo>
                  <a:lnTo>
                    <a:pt x="3456" y="3160"/>
                  </a:lnTo>
                  <a:lnTo>
                    <a:pt x="3454" y="3158"/>
                  </a:lnTo>
                  <a:lnTo>
                    <a:pt x="3452" y="3164"/>
                  </a:lnTo>
                  <a:lnTo>
                    <a:pt x="3452" y="3168"/>
                  </a:lnTo>
                  <a:lnTo>
                    <a:pt x="3448" y="3170"/>
                  </a:lnTo>
                  <a:lnTo>
                    <a:pt x="3444" y="3168"/>
                  </a:lnTo>
                  <a:lnTo>
                    <a:pt x="3440" y="3168"/>
                  </a:lnTo>
                  <a:lnTo>
                    <a:pt x="3442" y="3174"/>
                  </a:lnTo>
                  <a:lnTo>
                    <a:pt x="3444" y="3182"/>
                  </a:lnTo>
                  <a:lnTo>
                    <a:pt x="3444" y="3186"/>
                  </a:lnTo>
                  <a:lnTo>
                    <a:pt x="3444" y="3190"/>
                  </a:lnTo>
                  <a:lnTo>
                    <a:pt x="3446" y="3196"/>
                  </a:lnTo>
                  <a:lnTo>
                    <a:pt x="3448" y="3200"/>
                  </a:lnTo>
                  <a:lnTo>
                    <a:pt x="3450" y="3204"/>
                  </a:lnTo>
                  <a:lnTo>
                    <a:pt x="3450" y="3210"/>
                  </a:lnTo>
                  <a:lnTo>
                    <a:pt x="3456" y="3204"/>
                  </a:lnTo>
                  <a:lnTo>
                    <a:pt x="3460" y="3202"/>
                  </a:lnTo>
                  <a:lnTo>
                    <a:pt x="3464" y="3200"/>
                  </a:lnTo>
                  <a:lnTo>
                    <a:pt x="3464" y="3202"/>
                  </a:lnTo>
                  <a:lnTo>
                    <a:pt x="3464" y="3204"/>
                  </a:lnTo>
                  <a:lnTo>
                    <a:pt x="3466" y="3208"/>
                  </a:lnTo>
                  <a:lnTo>
                    <a:pt x="3468" y="3208"/>
                  </a:lnTo>
                  <a:lnTo>
                    <a:pt x="3472" y="3206"/>
                  </a:lnTo>
                  <a:lnTo>
                    <a:pt x="3474" y="3204"/>
                  </a:lnTo>
                  <a:lnTo>
                    <a:pt x="3474" y="3200"/>
                  </a:lnTo>
                  <a:lnTo>
                    <a:pt x="3472" y="3198"/>
                  </a:lnTo>
                  <a:lnTo>
                    <a:pt x="3468" y="3194"/>
                  </a:lnTo>
                  <a:lnTo>
                    <a:pt x="3466" y="3192"/>
                  </a:lnTo>
                  <a:lnTo>
                    <a:pt x="3464" y="3188"/>
                  </a:lnTo>
                  <a:lnTo>
                    <a:pt x="3466" y="3182"/>
                  </a:lnTo>
                  <a:lnTo>
                    <a:pt x="3466" y="3180"/>
                  </a:lnTo>
                  <a:lnTo>
                    <a:pt x="3468" y="3180"/>
                  </a:lnTo>
                  <a:lnTo>
                    <a:pt x="3470" y="3182"/>
                  </a:lnTo>
                  <a:lnTo>
                    <a:pt x="3474" y="3186"/>
                  </a:lnTo>
                  <a:lnTo>
                    <a:pt x="3480" y="3196"/>
                  </a:lnTo>
                  <a:lnTo>
                    <a:pt x="3482" y="3208"/>
                  </a:lnTo>
                  <a:lnTo>
                    <a:pt x="3480" y="3218"/>
                  </a:lnTo>
                  <a:lnTo>
                    <a:pt x="3474" y="3228"/>
                  </a:lnTo>
                  <a:lnTo>
                    <a:pt x="3468" y="3236"/>
                  </a:lnTo>
                  <a:lnTo>
                    <a:pt x="3466" y="3242"/>
                  </a:lnTo>
                  <a:lnTo>
                    <a:pt x="3470" y="3258"/>
                  </a:lnTo>
                  <a:lnTo>
                    <a:pt x="3470" y="3266"/>
                  </a:lnTo>
                  <a:lnTo>
                    <a:pt x="3468" y="3270"/>
                  </a:lnTo>
                  <a:lnTo>
                    <a:pt x="3466" y="3274"/>
                  </a:lnTo>
                  <a:lnTo>
                    <a:pt x="3466" y="3276"/>
                  </a:lnTo>
                  <a:lnTo>
                    <a:pt x="3476" y="3280"/>
                  </a:lnTo>
                  <a:lnTo>
                    <a:pt x="3482" y="3282"/>
                  </a:lnTo>
                  <a:lnTo>
                    <a:pt x="3486" y="3286"/>
                  </a:lnTo>
                  <a:lnTo>
                    <a:pt x="3486" y="3290"/>
                  </a:lnTo>
                  <a:lnTo>
                    <a:pt x="3486" y="3292"/>
                  </a:lnTo>
                  <a:lnTo>
                    <a:pt x="3488" y="3292"/>
                  </a:lnTo>
                  <a:lnTo>
                    <a:pt x="3496" y="3288"/>
                  </a:lnTo>
                  <a:lnTo>
                    <a:pt x="3500" y="3284"/>
                  </a:lnTo>
                  <a:lnTo>
                    <a:pt x="3502" y="3280"/>
                  </a:lnTo>
                  <a:lnTo>
                    <a:pt x="3502" y="3278"/>
                  </a:lnTo>
                  <a:lnTo>
                    <a:pt x="3502" y="3276"/>
                  </a:lnTo>
                  <a:lnTo>
                    <a:pt x="3500" y="3272"/>
                  </a:lnTo>
                  <a:lnTo>
                    <a:pt x="3502" y="3270"/>
                  </a:lnTo>
                  <a:lnTo>
                    <a:pt x="3506" y="3268"/>
                  </a:lnTo>
                  <a:lnTo>
                    <a:pt x="3508" y="3270"/>
                  </a:lnTo>
                  <a:lnTo>
                    <a:pt x="3510" y="3274"/>
                  </a:lnTo>
                  <a:lnTo>
                    <a:pt x="3514" y="3272"/>
                  </a:lnTo>
                  <a:lnTo>
                    <a:pt x="3516" y="3268"/>
                  </a:lnTo>
                  <a:lnTo>
                    <a:pt x="3518" y="3260"/>
                  </a:lnTo>
                  <a:lnTo>
                    <a:pt x="3522" y="3236"/>
                  </a:lnTo>
                  <a:lnTo>
                    <a:pt x="3528" y="3212"/>
                  </a:lnTo>
                  <a:lnTo>
                    <a:pt x="3532" y="3202"/>
                  </a:lnTo>
                  <a:lnTo>
                    <a:pt x="3534" y="3200"/>
                  </a:lnTo>
                  <a:lnTo>
                    <a:pt x="3538" y="3198"/>
                  </a:lnTo>
                  <a:lnTo>
                    <a:pt x="3540" y="3196"/>
                  </a:lnTo>
                  <a:lnTo>
                    <a:pt x="3542" y="3194"/>
                  </a:lnTo>
                  <a:lnTo>
                    <a:pt x="3540" y="3186"/>
                  </a:lnTo>
                  <a:lnTo>
                    <a:pt x="3534" y="3180"/>
                  </a:lnTo>
                  <a:lnTo>
                    <a:pt x="3530" y="3178"/>
                  </a:lnTo>
                  <a:lnTo>
                    <a:pt x="3526" y="3176"/>
                  </a:lnTo>
                  <a:close/>
                  <a:moveTo>
                    <a:pt x="3432" y="3438"/>
                  </a:moveTo>
                  <a:lnTo>
                    <a:pt x="3432" y="3438"/>
                  </a:lnTo>
                  <a:lnTo>
                    <a:pt x="3432" y="3442"/>
                  </a:lnTo>
                  <a:lnTo>
                    <a:pt x="3434" y="3442"/>
                  </a:lnTo>
                  <a:lnTo>
                    <a:pt x="3440" y="3436"/>
                  </a:lnTo>
                  <a:lnTo>
                    <a:pt x="3446" y="3428"/>
                  </a:lnTo>
                  <a:lnTo>
                    <a:pt x="3448" y="3424"/>
                  </a:lnTo>
                  <a:lnTo>
                    <a:pt x="3448" y="3422"/>
                  </a:lnTo>
                  <a:lnTo>
                    <a:pt x="3444" y="3422"/>
                  </a:lnTo>
                  <a:lnTo>
                    <a:pt x="3438" y="3424"/>
                  </a:lnTo>
                  <a:lnTo>
                    <a:pt x="3434" y="3430"/>
                  </a:lnTo>
                  <a:lnTo>
                    <a:pt x="3432" y="3434"/>
                  </a:lnTo>
                  <a:lnTo>
                    <a:pt x="3432" y="3438"/>
                  </a:lnTo>
                  <a:close/>
                  <a:moveTo>
                    <a:pt x="3434" y="3100"/>
                  </a:moveTo>
                  <a:lnTo>
                    <a:pt x="3434" y="3100"/>
                  </a:lnTo>
                  <a:lnTo>
                    <a:pt x="3432" y="3102"/>
                  </a:lnTo>
                  <a:lnTo>
                    <a:pt x="3430" y="3106"/>
                  </a:lnTo>
                  <a:lnTo>
                    <a:pt x="3430" y="3110"/>
                  </a:lnTo>
                  <a:lnTo>
                    <a:pt x="3428" y="3116"/>
                  </a:lnTo>
                  <a:lnTo>
                    <a:pt x="3426" y="3126"/>
                  </a:lnTo>
                  <a:lnTo>
                    <a:pt x="3426" y="3130"/>
                  </a:lnTo>
                  <a:lnTo>
                    <a:pt x="3428" y="3128"/>
                  </a:lnTo>
                  <a:lnTo>
                    <a:pt x="3430" y="3124"/>
                  </a:lnTo>
                  <a:lnTo>
                    <a:pt x="3432" y="3120"/>
                  </a:lnTo>
                  <a:lnTo>
                    <a:pt x="3434" y="3114"/>
                  </a:lnTo>
                  <a:lnTo>
                    <a:pt x="3436" y="3110"/>
                  </a:lnTo>
                  <a:lnTo>
                    <a:pt x="3438" y="3104"/>
                  </a:lnTo>
                  <a:lnTo>
                    <a:pt x="3438" y="3100"/>
                  </a:lnTo>
                  <a:lnTo>
                    <a:pt x="3436" y="3100"/>
                  </a:lnTo>
                  <a:lnTo>
                    <a:pt x="3434" y="3100"/>
                  </a:lnTo>
                  <a:close/>
                  <a:moveTo>
                    <a:pt x="4106" y="2564"/>
                  </a:moveTo>
                  <a:lnTo>
                    <a:pt x="4106" y="2564"/>
                  </a:lnTo>
                  <a:lnTo>
                    <a:pt x="4098" y="2576"/>
                  </a:lnTo>
                  <a:lnTo>
                    <a:pt x="4088" y="2586"/>
                  </a:lnTo>
                  <a:lnTo>
                    <a:pt x="4084" y="2594"/>
                  </a:lnTo>
                  <a:lnTo>
                    <a:pt x="4082" y="2598"/>
                  </a:lnTo>
                  <a:lnTo>
                    <a:pt x="4084" y="2604"/>
                  </a:lnTo>
                  <a:lnTo>
                    <a:pt x="4086" y="2604"/>
                  </a:lnTo>
                  <a:lnTo>
                    <a:pt x="4088" y="2602"/>
                  </a:lnTo>
                  <a:lnTo>
                    <a:pt x="4094" y="2592"/>
                  </a:lnTo>
                  <a:lnTo>
                    <a:pt x="4098" y="2586"/>
                  </a:lnTo>
                  <a:lnTo>
                    <a:pt x="4104" y="2580"/>
                  </a:lnTo>
                  <a:lnTo>
                    <a:pt x="4112" y="2574"/>
                  </a:lnTo>
                  <a:lnTo>
                    <a:pt x="4122" y="2570"/>
                  </a:lnTo>
                  <a:lnTo>
                    <a:pt x="4126" y="2568"/>
                  </a:lnTo>
                  <a:lnTo>
                    <a:pt x="4126" y="2566"/>
                  </a:lnTo>
                  <a:lnTo>
                    <a:pt x="4120" y="2562"/>
                  </a:lnTo>
                  <a:lnTo>
                    <a:pt x="4112" y="2562"/>
                  </a:lnTo>
                  <a:lnTo>
                    <a:pt x="4108" y="2562"/>
                  </a:lnTo>
                  <a:lnTo>
                    <a:pt x="4106" y="2564"/>
                  </a:lnTo>
                  <a:close/>
                  <a:moveTo>
                    <a:pt x="3472" y="4884"/>
                  </a:moveTo>
                  <a:lnTo>
                    <a:pt x="3472" y="4884"/>
                  </a:lnTo>
                  <a:lnTo>
                    <a:pt x="3474" y="4884"/>
                  </a:lnTo>
                  <a:lnTo>
                    <a:pt x="3476" y="4884"/>
                  </a:lnTo>
                  <a:lnTo>
                    <a:pt x="3484" y="4882"/>
                  </a:lnTo>
                  <a:lnTo>
                    <a:pt x="3488" y="4880"/>
                  </a:lnTo>
                  <a:lnTo>
                    <a:pt x="3490" y="4878"/>
                  </a:lnTo>
                  <a:lnTo>
                    <a:pt x="3488" y="4878"/>
                  </a:lnTo>
                  <a:lnTo>
                    <a:pt x="3478" y="4878"/>
                  </a:lnTo>
                  <a:lnTo>
                    <a:pt x="3472" y="4880"/>
                  </a:lnTo>
                  <a:lnTo>
                    <a:pt x="3472" y="4882"/>
                  </a:lnTo>
                  <a:lnTo>
                    <a:pt x="3472" y="4884"/>
                  </a:lnTo>
                  <a:close/>
                  <a:moveTo>
                    <a:pt x="3468" y="3214"/>
                  </a:moveTo>
                  <a:lnTo>
                    <a:pt x="3468" y="3214"/>
                  </a:lnTo>
                  <a:lnTo>
                    <a:pt x="3468" y="3212"/>
                  </a:lnTo>
                  <a:lnTo>
                    <a:pt x="3466" y="3212"/>
                  </a:lnTo>
                  <a:lnTo>
                    <a:pt x="3462" y="3212"/>
                  </a:lnTo>
                  <a:lnTo>
                    <a:pt x="3460" y="3218"/>
                  </a:lnTo>
                  <a:lnTo>
                    <a:pt x="3460" y="3224"/>
                  </a:lnTo>
                  <a:lnTo>
                    <a:pt x="3460" y="3226"/>
                  </a:lnTo>
                  <a:lnTo>
                    <a:pt x="3462" y="3226"/>
                  </a:lnTo>
                  <a:lnTo>
                    <a:pt x="3464" y="3224"/>
                  </a:lnTo>
                  <a:lnTo>
                    <a:pt x="3468" y="3220"/>
                  </a:lnTo>
                  <a:lnTo>
                    <a:pt x="3468" y="3214"/>
                  </a:lnTo>
                  <a:close/>
                  <a:moveTo>
                    <a:pt x="3482" y="3322"/>
                  </a:moveTo>
                  <a:lnTo>
                    <a:pt x="3482" y="3322"/>
                  </a:lnTo>
                  <a:lnTo>
                    <a:pt x="3478" y="3322"/>
                  </a:lnTo>
                  <a:lnTo>
                    <a:pt x="3476" y="3326"/>
                  </a:lnTo>
                  <a:lnTo>
                    <a:pt x="3478" y="3330"/>
                  </a:lnTo>
                  <a:lnTo>
                    <a:pt x="3482" y="3332"/>
                  </a:lnTo>
                  <a:lnTo>
                    <a:pt x="3486" y="3332"/>
                  </a:lnTo>
                  <a:lnTo>
                    <a:pt x="3486" y="3328"/>
                  </a:lnTo>
                  <a:lnTo>
                    <a:pt x="3484" y="3324"/>
                  </a:lnTo>
                  <a:lnTo>
                    <a:pt x="3482" y="3322"/>
                  </a:lnTo>
                  <a:close/>
                  <a:moveTo>
                    <a:pt x="3652" y="3124"/>
                  </a:moveTo>
                  <a:lnTo>
                    <a:pt x="3652" y="3124"/>
                  </a:lnTo>
                  <a:lnTo>
                    <a:pt x="3654" y="3126"/>
                  </a:lnTo>
                  <a:lnTo>
                    <a:pt x="3656" y="3124"/>
                  </a:lnTo>
                  <a:lnTo>
                    <a:pt x="3658" y="3118"/>
                  </a:lnTo>
                  <a:lnTo>
                    <a:pt x="3662" y="3112"/>
                  </a:lnTo>
                  <a:lnTo>
                    <a:pt x="3662" y="3106"/>
                  </a:lnTo>
                  <a:lnTo>
                    <a:pt x="3662" y="3104"/>
                  </a:lnTo>
                  <a:lnTo>
                    <a:pt x="3660" y="3104"/>
                  </a:lnTo>
                  <a:lnTo>
                    <a:pt x="3656" y="3110"/>
                  </a:lnTo>
                  <a:lnTo>
                    <a:pt x="3652" y="3116"/>
                  </a:lnTo>
                  <a:lnTo>
                    <a:pt x="3652" y="3120"/>
                  </a:lnTo>
                  <a:lnTo>
                    <a:pt x="3652" y="3124"/>
                  </a:lnTo>
                  <a:close/>
                  <a:moveTo>
                    <a:pt x="3482" y="4890"/>
                  </a:moveTo>
                  <a:lnTo>
                    <a:pt x="3482" y="4890"/>
                  </a:lnTo>
                  <a:lnTo>
                    <a:pt x="3486" y="4896"/>
                  </a:lnTo>
                  <a:lnTo>
                    <a:pt x="3492" y="4904"/>
                  </a:lnTo>
                  <a:lnTo>
                    <a:pt x="3494" y="4904"/>
                  </a:lnTo>
                  <a:lnTo>
                    <a:pt x="3498" y="4898"/>
                  </a:lnTo>
                  <a:lnTo>
                    <a:pt x="3498" y="4890"/>
                  </a:lnTo>
                  <a:lnTo>
                    <a:pt x="3498" y="4888"/>
                  </a:lnTo>
                  <a:lnTo>
                    <a:pt x="3496" y="4886"/>
                  </a:lnTo>
                  <a:lnTo>
                    <a:pt x="3492" y="4884"/>
                  </a:lnTo>
                  <a:lnTo>
                    <a:pt x="3486" y="4884"/>
                  </a:lnTo>
                  <a:lnTo>
                    <a:pt x="3482" y="4886"/>
                  </a:lnTo>
                  <a:lnTo>
                    <a:pt x="3482" y="4888"/>
                  </a:lnTo>
                  <a:lnTo>
                    <a:pt x="3482" y="4890"/>
                  </a:lnTo>
                  <a:close/>
                  <a:moveTo>
                    <a:pt x="3640" y="3122"/>
                  </a:moveTo>
                  <a:lnTo>
                    <a:pt x="3640" y="3122"/>
                  </a:lnTo>
                  <a:lnTo>
                    <a:pt x="3634" y="3120"/>
                  </a:lnTo>
                  <a:lnTo>
                    <a:pt x="3628" y="3116"/>
                  </a:lnTo>
                  <a:lnTo>
                    <a:pt x="3620" y="3116"/>
                  </a:lnTo>
                  <a:lnTo>
                    <a:pt x="3612" y="3120"/>
                  </a:lnTo>
                  <a:lnTo>
                    <a:pt x="3608" y="3122"/>
                  </a:lnTo>
                  <a:lnTo>
                    <a:pt x="3604" y="3126"/>
                  </a:lnTo>
                  <a:lnTo>
                    <a:pt x="3602" y="3132"/>
                  </a:lnTo>
                  <a:lnTo>
                    <a:pt x="3600" y="3136"/>
                  </a:lnTo>
                  <a:lnTo>
                    <a:pt x="3598" y="3138"/>
                  </a:lnTo>
                  <a:lnTo>
                    <a:pt x="3596" y="3136"/>
                  </a:lnTo>
                  <a:lnTo>
                    <a:pt x="3592" y="3136"/>
                  </a:lnTo>
                  <a:lnTo>
                    <a:pt x="3590" y="3136"/>
                  </a:lnTo>
                  <a:lnTo>
                    <a:pt x="3586" y="3138"/>
                  </a:lnTo>
                  <a:lnTo>
                    <a:pt x="3582" y="3140"/>
                  </a:lnTo>
                  <a:lnTo>
                    <a:pt x="3580" y="3136"/>
                  </a:lnTo>
                  <a:lnTo>
                    <a:pt x="3580" y="3130"/>
                  </a:lnTo>
                  <a:lnTo>
                    <a:pt x="3578" y="3128"/>
                  </a:lnTo>
                  <a:lnTo>
                    <a:pt x="3576" y="3128"/>
                  </a:lnTo>
                  <a:lnTo>
                    <a:pt x="3574" y="3132"/>
                  </a:lnTo>
                  <a:lnTo>
                    <a:pt x="3568" y="3144"/>
                  </a:lnTo>
                  <a:lnTo>
                    <a:pt x="3564" y="3150"/>
                  </a:lnTo>
                  <a:lnTo>
                    <a:pt x="3560" y="3156"/>
                  </a:lnTo>
                  <a:lnTo>
                    <a:pt x="3550" y="3164"/>
                  </a:lnTo>
                  <a:lnTo>
                    <a:pt x="3544" y="3168"/>
                  </a:lnTo>
                  <a:lnTo>
                    <a:pt x="3548" y="3168"/>
                  </a:lnTo>
                  <a:lnTo>
                    <a:pt x="3554" y="3168"/>
                  </a:lnTo>
                  <a:lnTo>
                    <a:pt x="3556" y="3170"/>
                  </a:lnTo>
                  <a:lnTo>
                    <a:pt x="3558" y="3172"/>
                  </a:lnTo>
                  <a:lnTo>
                    <a:pt x="3558" y="3174"/>
                  </a:lnTo>
                  <a:lnTo>
                    <a:pt x="3558" y="3182"/>
                  </a:lnTo>
                  <a:lnTo>
                    <a:pt x="3558" y="3186"/>
                  </a:lnTo>
                  <a:lnTo>
                    <a:pt x="3562" y="3190"/>
                  </a:lnTo>
                  <a:lnTo>
                    <a:pt x="3564" y="3192"/>
                  </a:lnTo>
                  <a:lnTo>
                    <a:pt x="3564" y="3196"/>
                  </a:lnTo>
                  <a:lnTo>
                    <a:pt x="3564" y="3198"/>
                  </a:lnTo>
                  <a:lnTo>
                    <a:pt x="3562" y="3200"/>
                  </a:lnTo>
                  <a:lnTo>
                    <a:pt x="3564" y="3200"/>
                  </a:lnTo>
                  <a:lnTo>
                    <a:pt x="3574" y="3202"/>
                  </a:lnTo>
                  <a:lnTo>
                    <a:pt x="3578" y="3202"/>
                  </a:lnTo>
                  <a:lnTo>
                    <a:pt x="3580" y="3198"/>
                  </a:lnTo>
                  <a:lnTo>
                    <a:pt x="3584" y="3186"/>
                  </a:lnTo>
                  <a:lnTo>
                    <a:pt x="3588" y="3178"/>
                  </a:lnTo>
                  <a:lnTo>
                    <a:pt x="3590" y="3172"/>
                  </a:lnTo>
                  <a:lnTo>
                    <a:pt x="3594" y="3166"/>
                  </a:lnTo>
                  <a:lnTo>
                    <a:pt x="3602" y="3164"/>
                  </a:lnTo>
                  <a:lnTo>
                    <a:pt x="3608" y="3162"/>
                  </a:lnTo>
                  <a:lnTo>
                    <a:pt x="3614" y="3164"/>
                  </a:lnTo>
                  <a:lnTo>
                    <a:pt x="3620" y="3170"/>
                  </a:lnTo>
                  <a:lnTo>
                    <a:pt x="3624" y="3172"/>
                  </a:lnTo>
                  <a:lnTo>
                    <a:pt x="3626" y="3172"/>
                  </a:lnTo>
                  <a:lnTo>
                    <a:pt x="3628" y="3170"/>
                  </a:lnTo>
                  <a:lnTo>
                    <a:pt x="3630" y="3166"/>
                  </a:lnTo>
                  <a:lnTo>
                    <a:pt x="3632" y="3160"/>
                  </a:lnTo>
                  <a:lnTo>
                    <a:pt x="3636" y="3156"/>
                  </a:lnTo>
                  <a:lnTo>
                    <a:pt x="3642" y="3150"/>
                  </a:lnTo>
                  <a:lnTo>
                    <a:pt x="3646" y="3148"/>
                  </a:lnTo>
                  <a:lnTo>
                    <a:pt x="3648" y="3144"/>
                  </a:lnTo>
                  <a:lnTo>
                    <a:pt x="3646" y="3140"/>
                  </a:lnTo>
                  <a:lnTo>
                    <a:pt x="3644" y="3132"/>
                  </a:lnTo>
                  <a:lnTo>
                    <a:pt x="3644" y="3128"/>
                  </a:lnTo>
                  <a:lnTo>
                    <a:pt x="3644" y="3126"/>
                  </a:lnTo>
                  <a:lnTo>
                    <a:pt x="3640" y="3122"/>
                  </a:lnTo>
                  <a:close/>
                  <a:moveTo>
                    <a:pt x="3450" y="4936"/>
                  </a:moveTo>
                  <a:lnTo>
                    <a:pt x="3450" y="4936"/>
                  </a:lnTo>
                  <a:lnTo>
                    <a:pt x="3456" y="4938"/>
                  </a:lnTo>
                  <a:lnTo>
                    <a:pt x="3462" y="4940"/>
                  </a:lnTo>
                  <a:lnTo>
                    <a:pt x="3468" y="4940"/>
                  </a:lnTo>
                  <a:lnTo>
                    <a:pt x="3470" y="4938"/>
                  </a:lnTo>
                  <a:lnTo>
                    <a:pt x="3472" y="4934"/>
                  </a:lnTo>
                  <a:lnTo>
                    <a:pt x="3474" y="4926"/>
                  </a:lnTo>
                  <a:lnTo>
                    <a:pt x="3472" y="4922"/>
                  </a:lnTo>
                  <a:lnTo>
                    <a:pt x="3466" y="4922"/>
                  </a:lnTo>
                  <a:lnTo>
                    <a:pt x="3458" y="4924"/>
                  </a:lnTo>
                  <a:lnTo>
                    <a:pt x="3448" y="4930"/>
                  </a:lnTo>
                  <a:lnTo>
                    <a:pt x="3448" y="4932"/>
                  </a:lnTo>
                  <a:lnTo>
                    <a:pt x="3450" y="4936"/>
                  </a:lnTo>
                  <a:close/>
                  <a:moveTo>
                    <a:pt x="3012" y="5270"/>
                  </a:moveTo>
                  <a:lnTo>
                    <a:pt x="3012" y="5270"/>
                  </a:lnTo>
                  <a:lnTo>
                    <a:pt x="3008" y="5266"/>
                  </a:lnTo>
                  <a:lnTo>
                    <a:pt x="3006" y="5264"/>
                  </a:lnTo>
                  <a:lnTo>
                    <a:pt x="3008" y="5262"/>
                  </a:lnTo>
                  <a:lnTo>
                    <a:pt x="3012" y="5264"/>
                  </a:lnTo>
                  <a:lnTo>
                    <a:pt x="3020" y="5266"/>
                  </a:lnTo>
                  <a:lnTo>
                    <a:pt x="3022" y="5266"/>
                  </a:lnTo>
                  <a:lnTo>
                    <a:pt x="3022" y="5264"/>
                  </a:lnTo>
                  <a:lnTo>
                    <a:pt x="3022" y="5258"/>
                  </a:lnTo>
                  <a:lnTo>
                    <a:pt x="3020" y="5250"/>
                  </a:lnTo>
                  <a:lnTo>
                    <a:pt x="3014" y="5244"/>
                  </a:lnTo>
                  <a:lnTo>
                    <a:pt x="3010" y="5242"/>
                  </a:lnTo>
                  <a:lnTo>
                    <a:pt x="3008" y="5244"/>
                  </a:lnTo>
                  <a:lnTo>
                    <a:pt x="3006" y="5246"/>
                  </a:lnTo>
                  <a:lnTo>
                    <a:pt x="3004" y="5246"/>
                  </a:lnTo>
                  <a:lnTo>
                    <a:pt x="3000" y="5242"/>
                  </a:lnTo>
                  <a:lnTo>
                    <a:pt x="2998" y="5240"/>
                  </a:lnTo>
                  <a:lnTo>
                    <a:pt x="2994" y="5240"/>
                  </a:lnTo>
                  <a:lnTo>
                    <a:pt x="2992" y="5242"/>
                  </a:lnTo>
                  <a:lnTo>
                    <a:pt x="2988" y="5244"/>
                  </a:lnTo>
                  <a:lnTo>
                    <a:pt x="2986" y="5244"/>
                  </a:lnTo>
                  <a:lnTo>
                    <a:pt x="2982" y="5240"/>
                  </a:lnTo>
                  <a:lnTo>
                    <a:pt x="2978" y="5236"/>
                  </a:lnTo>
                  <a:lnTo>
                    <a:pt x="2974" y="5234"/>
                  </a:lnTo>
                  <a:lnTo>
                    <a:pt x="2970" y="5234"/>
                  </a:lnTo>
                  <a:lnTo>
                    <a:pt x="2966" y="5236"/>
                  </a:lnTo>
                  <a:lnTo>
                    <a:pt x="2964" y="5238"/>
                  </a:lnTo>
                  <a:lnTo>
                    <a:pt x="2964" y="5240"/>
                  </a:lnTo>
                  <a:lnTo>
                    <a:pt x="2966" y="5244"/>
                  </a:lnTo>
                  <a:lnTo>
                    <a:pt x="2970" y="5250"/>
                  </a:lnTo>
                  <a:lnTo>
                    <a:pt x="2974" y="5252"/>
                  </a:lnTo>
                  <a:lnTo>
                    <a:pt x="2978" y="5252"/>
                  </a:lnTo>
                  <a:lnTo>
                    <a:pt x="2984" y="5256"/>
                  </a:lnTo>
                  <a:lnTo>
                    <a:pt x="2986" y="5260"/>
                  </a:lnTo>
                  <a:lnTo>
                    <a:pt x="2984" y="5260"/>
                  </a:lnTo>
                  <a:lnTo>
                    <a:pt x="2982" y="5260"/>
                  </a:lnTo>
                  <a:lnTo>
                    <a:pt x="2976" y="5262"/>
                  </a:lnTo>
                  <a:lnTo>
                    <a:pt x="2972" y="5264"/>
                  </a:lnTo>
                  <a:lnTo>
                    <a:pt x="2970" y="5264"/>
                  </a:lnTo>
                  <a:lnTo>
                    <a:pt x="2966" y="5260"/>
                  </a:lnTo>
                  <a:lnTo>
                    <a:pt x="2960" y="5252"/>
                  </a:lnTo>
                  <a:lnTo>
                    <a:pt x="2956" y="5252"/>
                  </a:lnTo>
                  <a:lnTo>
                    <a:pt x="2954" y="5252"/>
                  </a:lnTo>
                  <a:lnTo>
                    <a:pt x="2948" y="5250"/>
                  </a:lnTo>
                  <a:lnTo>
                    <a:pt x="2944" y="5248"/>
                  </a:lnTo>
                  <a:lnTo>
                    <a:pt x="2940" y="5246"/>
                  </a:lnTo>
                  <a:lnTo>
                    <a:pt x="2938" y="5248"/>
                  </a:lnTo>
                  <a:lnTo>
                    <a:pt x="2936" y="5250"/>
                  </a:lnTo>
                  <a:lnTo>
                    <a:pt x="2932" y="5254"/>
                  </a:lnTo>
                  <a:lnTo>
                    <a:pt x="2928" y="5256"/>
                  </a:lnTo>
                  <a:lnTo>
                    <a:pt x="2926" y="5258"/>
                  </a:lnTo>
                  <a:lnTo>
                    <a:pt x="2926" y="5266"/>
                  </a:lnTo>
                  <a:lnTo>
                    <a:pt x="2926" y="5270"/>
                  </a:lnTo>
                  <a:lnTo>
                    <a:pt x="2926" y="5276"/>
                  </a:lnTo>
                  <a:lnTo>
                    <a:pt x="2926" y="5278"/>
                  </a:lnTo>
                  <a:lnTo>
                    <a:pt x="2928" y="5280"/>
                  </a:lnTo>
                  <a:lnTo>
                    <a:pt x="2938" y="5282"/>
                  </a:lnTo>
                  <a:lnTo>
                    <a:pt x="2948" y="5282"/>
                  </a:lnTo>
                  <a:lnTo>
                    <a:pt x="2960" y="5278"/>
                  </a:lnTo>
                  <a:lnTo>
                    <a:pt x="2970" y="5274"/>
                  </a:lnTo>
                  <a:lnTo>
                    <a:pt x="2978" y="5272"/>
                  </a:lnTo>
                  <a:lnTo>
                    <a:pt x="2984" y="5272"/>
                  </a:lnTo>
                  <a:lnTo>
                    <a:pt x="2986" y="5268"/>
                  </a:lnTo>
                  <a:lnTo>
                    <a:pt x="2988" y="5268"/>
                  </a:lnTo>
                  <a:lnTo>
                    <a:pt x="2990" y="5270"/>
                  </a:lnTo>
                  <a:lnTo>
                    <a:pt x="2992" y="5272"/>
                  </a:lnTo>
                  <a:lnTo>
                    <a:pt x="2994" y="5270"/>
                  </a:lnTo>
                  <a:lnTo>
                    <a:pt x="2998" y="5270"/>
                  </a:lnTo>
                  <a:lnTo>
                    <a:pt x="3004" y="5270"/>
                  </a:lnTo>
                  <a:lnTo>
                    <a:pt x="3014" y="5272"/>
                  </a:lnTo>
                  <a:lnTo>
                    <a:pt x="3016" y="5272"/>
                  </a:lnTo>
                  <a:lnTo>
                    <a:pt x="3012" y="5270"/>
                  </a:lnTo>
                  <a:close/>
                  <a:moveTo>
                    <a:pt x="3240" y="4810"/>
                  </a:moveTo>
                  <a:lnTo>
                    <a:pt x="3240" y="4810"/>
                  </a:lnTo>
                  <a:lnTo>
                    <a:pt x="3258" y="4782"/>
                  </a:lnTo>
                  <a:lnTo>
                    <a:pt x="3262" y="4776"/>
                  </a:lnTo>
                  <a:lnTo>
                    <a:pt x="3264" y="4770"/>
                  </a:lnTo>
                  <a:lnTo>
                    <a:pt x="3264" y="4764"/>
                  </a:lnTo>
                  <a:lnTo>
                    <a:pt x="3262" y="4760"/>
                  </a:lnTo>
                  <a:lnTo>
                    <a:pt x="3258" y="4756"/>
                  </a:lnTo>
                  <a:lnTo>
                    <a:pt x="3254" y="4756"/>
                  </a:lnTo>
                  <a:lnTo>
                    <a:pt x="3250" y="4758"/>
                  </a:lnTo>
                  <a:lnTo>
                    <a:pt x="3246" y="4764"/>
                  </a:lnTo>
                  <a:lnTo>
                    <a:pt x="3236" y="4776"/>
                  </a:lnTo>
                  <a:lnTo>
                    <a:pt x="3228" y="4792"/>
                  </a:lnTo>
                  <a:lnTo>
                    <a:pt x="3222" y="4796"/>
                  </a:lnTo>
                  <a:lnTo>
                    <a:pt x="3216" y="4798"/>
                  </a:lnTo>
                  <a:lnTo>
                    <a:pt x="3208" y="4798"/>
                  </a:lnTo>
                  <a:lnTo>
                    <a:pt x="3198" y="4798"/>
                  </a:lnTo>
                  <a:lnTo>
                    <a:pt x="3182" y="4794"/>
                  </a:lnTo>
                  <a:lnTo>
                    <a:pt x="3176" y="4794"/>
                  </a:lnTo>
                  <a:lnTo>
                    <a:pt x="3174" y="4796"/>
                  </a:lnTo>
                  <a:lnTo>
                    <a:pt x="3170" y="4798"/>
                  </a:lnTo>
                  <a:lnTo>
                    <a:pt x="3168" y="4798"/>
                  </a:lnTo>
                  <a:lnTo>
                    <a:pt x="3158" y="4794"/>
                  </a:lnTo>
                  <a:lnTo>
                    <a:pt x="3146" y="4792"/>
                  </a:lnTo>
                  <a:lnTo>
                    <a:pt x="3138" y="4790"/>
                  </a:lnTo>
                  <a:lnTo>
                    <a:pt x="3130" y="4790"/>
                  </a:lnTo>
                  <a:lnTo>
                    <a:pt x="3122" y="4790"/>
                  </a:lnTo>
                  <a:lnTo>
                    <a:pt x="3118" y="4788"/>
                  </a:lnTo>
                  <a:lnTo>
                    <a:pt x="3116" y="4786"/>
                  </a:lnTo>
                  <a:lnTo>
                    <a:pt x="3114" y="4784"/>
                  </a:lnTo>
                  <a:lnTo>
                    <a:pt x="3114" y="4780"/>
                  </a:lnTo>
                  <a:lnTo>
                    <a:pt x="3114" y="4778"/>
                  </a:lnTo>
                  <a:lnTo>
                    <a:pt x="3112" y="4778"/>
                  </a:lnTo>
                  <a:lnTo>
                    <a:pt x="3104" y="4778"/>
                  </a:lnTo>
                  <a:lnTo>
                    <a:pt x="3098" y="4776"/>
                  </a:lnTo>
                  <a:lnTo>
                    <a:pt x="3092" y="4776"/>
                  </a:lnTo>
                  <a:lnTo>
                    <a:pt x="3090" y="4778"/>
                  </a:lnTo>
                  <a:lnTo>
                    <a:pt x="3088" y="4780"/>
                  </a:lnTo>
                  <a:lnTo>
                    <a:pt x="3084" y="4788"/>
                  </a:lnTo>
                  <a:lnTo>
                    <a:pt x="3080" y="4796"/>
                  </a:lnTo>
                  <a:lnTo>
                    <a:pt x="3078" y="4800"/>
                  </a:lnTo>
                  <a:lnTo>
                    <a:pt x="3074" y="4800"/>
                  </a:lnTo>
                  <a:lnTo>
                    <a:pt x="3072" y="4800"/>
                  </a:lnTo>
                  <a:lnTo>
                    <a:pt x="3068" y="4796"/>
                  </a:lnTo>
                  <a:lnTo>
                    <a:pt x="3066" y="4792"/>
                  </a:lnTo>
                  <a:lnTo>
                    <a:pt x="3064" y="4792"/>
                  </a:lnTo>
                  <a:lnTo>
                    <a:pt x="3060" y="4798"/>
                  </a:lnTo>
                  <a:lnTo>
                    <a:pt x="3056" y="4810"/>
                  </a:lnTo>
                  <a:lnTo>
                    <a:pt x="3052" y="4820"/>
                  </a:lnTo>
                  <a:lnTo>
                    <a:pt x="3048" y="4824"/>
                  </a:lnTo>
                  <a:lnTo>
                    <a:pt x="3048" y="4828"/>
                  </a:lnTo>
                  <a:lnTo>
                    <a:pt x="3048" y="4834"/>
                  </a:lnTo>
                  <a:lnTo>
                    <a:pt x="3048" y="4838"/>
                  </a:lnTo>
                  <a:lnTo>
                    <a:pt x="3046" y="4840"/>
                  </a:lnTo>
                  <a:lnTo>
                    <a:pt x="3044" y="4842"/>
                  </a:lnTo>
                  <a:lnTo>
                    <a:pt x="3040" y="4844"/>
                  </a:lnTo>
                  <a:lnTo>
                    <a:pt x="3040" y="4848"/>
                  </a:lnTo>
                  <a:lnTo>
                    <a:pt x="3042" y="4854"/>
                  </a:lnTo>
                  <a:lnTo>
                    <a:pt x="3044" y="4864"/>
                  </a:lnTo>
                  <a:lnTo>
                    <a:pt x="3040" y="4876"/>
                  </a:lnTo>
                  <a:lnTo>
                    <a:pt x="3034" y="4886"/>
                  </a:lnTo>
                  <a:lnTo>
                    <a:pt x="3030" y="4900"/>
                  </a:lnTo>
                  <a:lnTo>
                    <a:pt x="3030" y="4908"/>
                  </a:lnTo>
                  <a:lnTo>
                    <a:pt x="3030" y="4918"/>
                  </a:lnTo>
                  <a:lnTo>
                    <a:pt x="3030" y="4932"/>
                  </a:lnTo>
                  <a:lnTo>
                    <a:pt x="3028" y="4934"/>
                  </a:lnTo>
                  <a:lnTo>
                    <a:pt x="3026" y="4936"/>
                  </a:lnTo>
                  <a:lnTo>
                    <a:pt x="3024" y="4936"/>
                  </a:lnTo>
                  <a:lnTo>
                    <a:pt x="3024" y="4938"/>
                  </a:lnTo>
                  <a:lnTo>
                    <a:pt x="3022" y="4944"/>
                  </a:lnTo>
                  <a:lnTo>
                    <a:pt x="3020" y="4952"/>
                  </a:lnTo>
                  <a:lnTo>
                    <a:pt x="3020" y="4960"/>
                  </a:lnTo>
                  <a:lnTo>
                    <a:pt x="3016" y="4964"/>
                  </a:lnTo>
                  <a:lnTo>
                    <a:pt x="3014" y="4968"/>
                  </a:lnTo>
                  <a:lnTo>
                    <a:pt x="3010" y="4968"/>
                  </a:lnTo>
                  <a:lnTo>
                    <a:pt x="3006" y="4970"/>
                  </a:lnTo>
                  <a:lnTo>
                    <a:pt x="3006" y="4972"/>
                  </a:lnTo>
                  <a:lnTo>
                    <a:pt x="3008" y="4976"/>
                  </a:lnTo>
                  <a:lnTo>
                    <a:pt x="3010" y="4984"/>
                  </a:lnTo>
                  <a:lnTo>
                    <a:pt x="3008" y="4986"/>
                  </a:lnTo>
                  <a:lnTo>
                    <a:pt x="3006" y="4990"/>
                  </a:lnTo>
                  <a:lnTo>
                    <a:pt x="3008" y="5002"/>
                  </a:lnTo>
                  <a:lnTo>
                    <a:pt x="3012" y="5008"/>
                  </a:lnTo>
                  <a:lnTo>
                    <a:pt x="3014" y="5010"/>
                  </a:lnTo>
                  <a:lnTo>
                    <a:pt x="3018" y="5010"/>
                  </a:lnTo>
                  <a:lnTo>
                    <a:pt x="3020" y="5010"/>
                  </a:lnTo>
                  <a:lnTo>
                    <a:pt x="3024" y="5010"/>
                  </a:lnTo>
                  <a:lnTo>
                    <a:pt x="3028" y="5010"/>
                  </a:lnTo>
                  <a:lnTo>
                    <a:pt x="3032" y="5014"/>
                  </a:lnTo>
                  <a:lnTo>
                    <a:pt x="3036" y="5022"/>
                  </a:lnTo>
                  <a:lnTo>
                    <a:pt x="3040" y="5034"/>
                  </a:lnTo>
                  <a:lnTo>
                    <a:pt x="3040" y="5046"/>
                  </a:lnTo>
                  <a:lnTo>
                    <a:pt x="3038" y="5058"/>
                  </a:lnTo>
                  <a:lnTo>
                    <a:pt x="3036" y="5070"/>
                  </a:lnTo>
                  <a:lnTo>
                    <a:pt x="3032" y="5082"/>
                  </a:lnTo>
                  <a:lnTo>
                    <a:pt x="3030" y="5092"/>
                  </a:lnTo>
                  <a:lnTo>
                    <a:pt x="3030" y="5102"/>
                  </a:lnTo>
                  <a:lnTo>
                    <a:pt x="3034" y="5112"/>
                  </a:lnTo>
                  <a:lnTo>
                    <a:pt x="3038" y="5116"/>
                  </a:lnTo>
                  <a:lnTo>
                    <a:pt x="3042" y="5118"/>
                  </a:lnTo>
                  <a:lnTo>
                    <a:pt x="3046" y="5118"/>
                  </a:lnTo>
                  <a:lnTo>
                    <a:pt x="3050" y="5116"/>
                  </a:lnTo>
                  <a:lnTo>
                    <a:pt x="3058" y="5114"/>
                  </a:lnTo>
                  <a:lnTo>
                    <a:pt x="3068" y="5112"/>
                  </a:lnTo>
                  <a:lnTo>
                    <a:pt x="3072" y="5112"/>
                  </a:lnTo>
                  <a:lnTo>
                    <a:pt x="3072" y="5110"/>
                  </a:lnTo>
                  <a:lnTo>
                    <a:pt x="3070" y="5100"/>
                  </a:lnTo>
                  <a:lnTo>
                    <a:pt x="3068" y="5088"/>
                  </a:lnTo>
                  <a:lnTo>
                    <a:pt x="3068" y="5082"/>
                  </a:lnTo>
                  <a:lnTo>
                    <a:pt x="3070" y="5076"/>
                  </a:lnTo>
                  <a:lnTo>
                    <a:pt x="3072" y="5070"/>
                  </a:lnTo>
                  <a:lnTo>
                    <a:pt x="3074" y="5064"/>
                  </a:lnTo>
                  <a:lnTo>
                    <a:pt x="3072" y="5050"/>
                  </a:lnTo>
                  <a:lnTo>
                    <a:pt x="3072" y="5034"/>
                  </a:lnTo>
                  <a:lnTo>
                    <a:pt x="3072" y="5014"/>
                  </a:lnTo>
                  <a:lnTo>
                    <a:pt x="3074" y="5004"/>
                  </a:lnTo>
                  <a:lnTo>
                    <a:pt x="3072" y="4998"/>
                  </a:lnTo>
                  <a:lnTo>
                    <a:pt x="3068" y="4990"/>
                  </a:lnTo>
                  <a:lnTo>
                    <a:pt x="3068" y="4988"/>
                  </a:lnTo>
                  <a:lnTo>
                    <a:pt x="3068" y="4984"/>
                  </a:lnTo>
                  <a:lnTo>
                    <a:pt x="3076" y="4974"/>
                  </a:lnTo>
                  <a:lnTo>
                    <a:pt x="3084" y="4970"/>
                  </a:lnTo>
                  <a:lnTo>
                    <a:pt x="3090" y="4968"/>
                  </a:lnTo>
                  <a:lnTo>
                    <a:pt x="3094" y="4968"/>
                  </a:lnTo>
                  <a:lnTo>
                    <a:pt x="3098" y="4972"/>
                  </a:lnTo>
                  <a:lnTo>
                    <a:pt x="3100" y="4976"/>
                  </a:lnTo>
                  <a:lnTo>
                    <a:pt x="3100" y="4982"/>
                  </a:lnTo>
                  <a:lnTo>
                    <a:pt x="3098" y="4990"/>
                  </a:lnTo>
                  <a:lnTo>
                    <a:pt x="3094" y="4996"/>
                  </a:lnTo>
                  <a:lnTo>
                    <a:pt x="3092" y="5002"/>
                  </a:lnTo>
                  <a:lnTo>
                    <a:pt x="3090" y="5008"/>
                  </a:lnTo>
                  <a:lnTo>
                    <a:pt x="3092" y="5012"/>
                  </a:lnTo>
                  <a:lnTo>
                    <a:pt x="3094" y="5016"/>
                  </a:lnTo>
                  <a:lnTo>
                    <a:pt x="3102" y="5024"/>
                  </a:lnTo>
                  <a:lnTo>
                    <a:pt x="3112" y="5034"/>
                  </a:lnTo>
                  <a:lnTo>
                    <a:pt x="3116" y="5040"/>
                  </a:lnTo>
                  <a:lnTo>
                    <a:pt x="3116" y="5046"/>
                  </a:lnTo>
                  <a:lnTo>
                    <a:pt x="3114" y="5062"/>
                  </a:lnTo>
                  <a:lnTo>
                    <a:pt x="3114" y="5068"/>
                  </a:lnTo>
                  <a:lnTo>
                    <a:pt x="3116" y="5074"/>
                  </a:lnTo>
                  <a:lnTo>
                    <a:pt x="3120" y="5076"/>
                  </a:lnTo>
                  <a:lnTo>
                    <a:pt x="3130" y="5078"/>
                  </a:lnTo>
                  <a:lnTo>
                    <a:pt x="3136" y="5076"/>
                  </a:lnTo>
                  <a:lnTo>
                    <a:pt x="3138" y="5076"/>
                  </a:lnTo>
                  <a:lnTo>
                    <a:pt x="3140" y="5072"/>
                  </a:lnTo>
                  <a:lnTo>
                    <a:pt x="3140" y="5070"/>
                  </a:lnTo>
                  <a:lnTo>
                    <a:pt x="3140" y="5062"/>
                  </a:lnTo>
                  <a:lnTo>
                    <a:pt x="3142" y="5060"/>
                  </a:lnTo>
                  <a:lnTo>
                    <a:pt x="3148" y="5056"/>
                  </a:lnTo>
                  <a:lnTo>
                    <a:pt x="3152" y="5056"/>
                  </a:lnTo>
                  <a:lnTo>
                    <a:pt x="3156" y="5054"/>
                  </a:lnTo>
                  <a:lnTo>
                    <a:pt x="3164" y="5056"/>
                  </a:lnTo>
                  <a:lnTo>
                    <a:pt x="3166" y="5056"/>
                  </a:lnTo>
                  <a:lnTo>
                    <a:pt x="3168" y="5056"/>
                  </a:lnTo>
                  <a:lnTo>
                    <a:pt x="3172" y="5048"/>
                  </a:lnTo>
                  <a:lnTo>
                    <a:pt x="3172" y="5042"/>
                  </a:lnTo>
                  <a:lnTo>
                    <a:pt x="3170" y="5036"/>
                  </a:lnTo>
                  <a:lnTo>
                    <a:pt x="3164" y="5032"/>
                  </a:lnTo>
                  <a:lnTo>
                    <a:pt x="3158" y="5028"/>
                  </a:lnTo>
                  <a:lnTo>
                    <a:pt x="3152" y="5026"/>
                  </a:lnTo>
                  <a:lnTo>
                    <a:pt x="3148" y="5022"/>
                  </a:lnTo>
                  <a:lnTo>
                    <a:pt x="3146" y="5016"/>
                  </a:lnTo>
                  <a:lnTo>
                    <a:pt x="3148" y="5012"/>
                  </a:lnTo>
                  <a:lnTo>
                    <a:pt x="3152" y="5006"/>
                  </a:lnTo>
                  <a:lnTo>
                    <a:pt x="3152" y="4998"/>
                  </a:lnTo>
                  <a:lnTo>
                    <a:pt x="3150" y="4990"/>
                  </a:lnTo>
                  <a:lnTo>
                    <a:pt x="3148" y="4980"/>
                  </a:lnTo>
                  <a:lnTo>
                    <a:pt x="3136" y="4962"/>
                  </a:lnTo>
                  <a:lnTo>
                    <a:pt x="3122" y="4946"/>
                  </a:lnTo>
                  <a:lnTo>
                    <a:pt x="3118" y="4940"/>
                  </a:lnTo>
                  <a:lnTo>
                    <a:pt x="3118" y="4934"/>
                  </a:lnTo>
                  <a:lnTo>
                    <a:pt x="3122" y="4930"/>
                  </a:lnTo>
                  <a:lnTo>
                    <a:pt x="3128" y="4926"/>
                  </a:lnTo>
                  <a:lnTo>
                    <a:pt x="3146" y="4916"/>
                  </a:lnTo>
                  <a:lnTo>
                    <a:pt x="3154" y="4908"/>
                  </a:lnTo>
                  <a:lnTo>
                    <a:pt x="3162" y="4898"/>
                  </a:lnTo>
                  <a:lnTo>
                    <a:pt x="3168" y="4888"/>
                  </a:lnTo>
                  <a:lnTo>
                    <a:pt x="3172" y="4884"/>
                  </a:lnTo>
                  <a:lnTo>
                    <a:pt x="3176" y="4884"/>
                  </a:lnTo>
                  <a:lnTo>
                    <a:pt x="3180" y="4886"/>
                  </a:lnTo>
                  <a:lnTo>
                    <a:pt x="3186" y="4890"/>
                  </a:lnTo>
                  <a:lnTo>
                    <a:pt x="3190" y="4890"/>
                  </a:lnTo>
                  <a:lnTo>
                    <a:pt x="3192" y="4888"/>
                  </a:lnTo>
                  <a:lnTo>
                    <a:pt x="3196" y="4880"/>
                  </a:lnTo>
                  <a:lnTo>
                    <a:pt x="3196" y="4876"/>
                  </a:lnTo>
                  <a:lnTo>
                    <a:pt x="3194" y="4874"/>
                  </a:lnTo>
                  <a:lnTo>
                    <a:pt x="3192" y="4872"/>
                  </a:lnTo>
                  <a:lnTo>
                    <a:pt x="3188" y="4870"/>
                  </a:lnTo>
                  <a:lnTo>
                    <a:pt x="3170" y="4870"/>
                  </a:lnTo>
                  <a:lnTo>
                    <a:pt x="3160" y="4872"/>
                  </a:lnTo>
                  <a:lnTo>
                    <a:pt x="3152" y="4874"/>
                  </a:lnTo>
                  <a:lnTo>
                    <a:pt x="3144" y="4880"/>
                  </a:lnTo>
                  <a:lnTo>
                    <a:pt x="3136" y="4884"/>
                  </a:lnTo>
                  <a:lnTo>
                    <a:pt x="3130" y="4884"/>
                  </a:lnTo>
                  <a:lnTo>
                    <a:pt x="3124" y="4884"/>
                  </a:lnTo>
                  <a:lnTo>
                    <a:pt x="3116" y="4882"/>
                  </a:lnTo>
                  <a:lnTo>
                    <a:pt x="3112" y="4886"/>
                  </a:lnTo>
                  <a:lnTo>
                    <a:pt x="3108" y="4890"/>
                  </a:lnTo>
                  <a:lnTo>
                    <a:pt x="3106" y="4894"/>
                  </a:lnTo>
                  <a:lnTo>
                    <a:pt x="3104" y="4900"/>
                  </a:lnTo>
                  <a:lnTo>
                    <a:pt x="3100" y="4904"/>
                  </a:lnTo>
                  <a:lnTo>
                    <a:pt x="3096" y="4908"/>
                  </a:lnTo>
                  <a:lnTo>
                    <a:pt x="3088" y="4908"/>
                  </a:lnTo>
                  <a:lnTo>
                    <a:pt x="3082" y="4906"/>
                  </a:lnTo>
                  <a:lnTo>
                    <a:pt x="3078" y="4904"/>
                  </a:lnTo>
                  <a:lnTo>
                    <a:pt x="3078" y="4902"/>
                  </a:lnTo>
                  <a:lnTo>
                    <a:pt x="3078" y="4898"/>
                  </a:lnTo>
                  <a:lnTo>
                    <a:pt x="3076" y="4892"/>
                  </a:lnTo>
                  <a:lnTo>
                    <a:pt x="3074" y="4888"/>
                  </a:lnTo>
                  <a:lnTo>
                    <a:pt x="3068" y="4882"/>
                  </a:lnTo>
                  <a:lnTo>
                    <a:pt x="3064" y="4880"/>
                  </a:lnTo>
                  <a:lnTo>
                    <a:pt x="3062" y="4876"/>
                  </a:lnTo>
                  <a:lnTo>
                    <a:pt x="3058" y="4866"/>
                  </a:lnTo>
                  <a:lnTo>
                    <a:pt x="3058" y="4852"/>
                  </a:lnTo>
                  <a:lnTo>
                    <a:pt x="3060" y="4840"/>
                  </a:lnTo>
                  <a:lnTo>
                    <a:pt x="3066" y="4828"/>
                  </a:lnTo>
                  <a:lnTo>
                    <a:pt x="3072" y="4818"/>
                  </a:lnTo>
                  <a:lnTo>
                    <a:pt x="3074" y="4816"/>
                  </a:lnTo>
                  <a:lnTo>
                    <a:pt x="3078" y="4814"/>
                  </a:lnTo>
                  <a:lnTo>
                    <a:pt x="3082" y="4814"/>
                  </a:lnTo>
                  <a:lnTo>
                    <a:pt x="3086" y="4816"/>
                  </a:lnTo>
                  <a:lnTo>
                    <a:pt x="3092" y="4818"/>
                  </a:lnTo>
                  <a:lnTo>
                    <a:pt x="3096" y="4820"/>
                  </a:lnTo>
                  <a:lnTo>
                    <a:pt x="3106" y="4818"/>
                  </a:lnTo>
                  <a:lnTo>
                    <a:pt x="3116" y="4818"/>
                  </a:lnTo>
                  <a:lnTo>
                    <a:pt x="3122" y="4818"/>
                  </a:lnTo>
                  <a:lnTo>
                    <a:pt x="3126" y="4818"/>
                  </a:lnTo>
                  <a:lnTo>
                    <a:pt x="3132" y="4820"/>
                  </a:lnTo>
                  <a:lnTo>
                    <a:pt x="3140" y="4820"/>
                  </a:lnTo>
                  <a:lnTo>
                    <a:pt x="3156" y="4818"/>
                  </a:lnTo>
                  <a:lnTo>
                    <a:pt x="3172" y="4816"/>
                  </a:lnTo>
                  <a:lnTo>
                    <a:pt x="3178" y="4818"/>
                  </a:lnTo>
                  <a:lnTo>
                    <a:pt x="3182" y="4820"/>
                  </a:lnTo>
                  <a:lnTo>
                    <a:pt x="3186" y="4822"/>
                  </a:lnTo>
                  <a:lnTo>
                    <a:pt x="3192" y="4824"/>
                  </a:lnTo>
                  <a:lnTo>
                    <a:pt x="3200" y="4826"/>
                  </a:lnTo>
                  <a:lnTo>
                    <a:pt x="3208" y="4826"/>
                  </a:lnTo>
                  <a:lnTo>
                    <a:pt x="3218" y="4824"/>
                  </a:lnTo>
                  <a:lnTo>
                    <a:pt x="3226" y="4822"/>
                  </a:lnTo>
                  <a:lnTo>
                    <a:pt x="3234" y="4816"/>
                  </a:lnTo>
                  <a:lnTo>
                    <a:pt x="3240" y="4810"/>
                  </a:lnTo>
                  <a:close/>
                  <a:moveTo>
                    <a:pt x="2954" y="5244"/>
                  </a:moveTo>
                  <a:lnTo>
                    <a:pt x="2954" y="5244"/>
                  </a:lnTo>
                  <a:lnTo>
                    <a:pt x="2954" y="5248"/>
                  </a:lnTo>
                  <a:lnTo>
                    <a:pt x="2956" y="5246"/>
                  </a:lnTo>
                  <a:lnTo>
                    <a:pt x="2960" y="5240"/>
                  </a:lnTo>
                  <a:lnTo>
                    <a:pt x="2962" y="5238"/>
                  </a:lnTo>
                  <a:lnTo>
                    <a:pt x="2960" y="5236"/>
                  </a:lnTo>
                  <a:lnTo>
                    <a:pt x="2958" y="5236"/>
                  </a:lnTo>
                  <a:lnTo>
                    <a:pt x="2954" y="5240"/>
                  </a:lnTo>
                  <a:lnTo>
                    <a:pt x="2954" y="5244"/>
                  </a:lnTo>
                  <a:close/>
                  <a:moveTo>
                    <a:pt x="3346" y="4878"/>
                  </a:moveTo>
                  <a:lnTo>
                    <a:pt x="3346" y="4878"/>
                  </a:lnTo>
                  <a:lnTo>
                    <a:pt x="3350" y="4878"/>
                  </a:lnTo>
                  <a:lnTo>
                    <a:pt x="3352" y="4876"/>
                  </a:lnTo>
                  <a:lnTo>
                    <a:pt x="3350" y="4874"/>
                  </a:lnTo>
                  <a:lnTo>
                    <a:pt x="3348" y="4872"/>
                  </a:lnTo>
                  <a:lnTo>
                    <a:pt x="3346" y="4872"/>
                  </a:lnTo>
                  <a:lnTo>
                    <a:pt x="3344" y="4874"/>
                  </a:lnTo>
                  <a:lnTo>
                    <a:pt x="3344" y="4876"/>
                  </a:lnTo>
                  <a:lnTo>
                    <a:pt x="3346" y="4878"/>
                  </a:lnTo>
                  <a:close/>
                  <a:moveTo>
                    <a:pt x="3352" y="4858"/>
                  </a:moveTo>
                  <a:lnTo>
                    <a:pt x="3352" y="4858"/>
                  </a:lnTo>
                  <a:lnTo>
                    <a:pt x="3350" y="4862"/>
                  </a:lnTo>
                  <a:lnTo>
                    <a:pt x="3354" y="4868"/>
                  </a:lnTo>
                  <a:lnTo>
                    <a:pt x="3358" y="4874"/>
                  </a:lnTo>
                  <a:lnTo>
                    <a:pt x="3360" y="4876"/>
                  </a:lnTo>
                  <a:lnTo>
                    <a:pt x="3364" y="4874"/>
                  </a:lnTo>
                  <a:lnTo>
                    <a:pt x="3364" y="4866"/>
                  </a:lnTo>
                  <a:lnTo>
                    <a:pt x="3362" y="4858"/>
                  </a:lnTo>
                  <a:lnTo>
                    <a:pt x="3360" y="4854"/>
                  </a:lnTo>
                  <a:lnTo>
                    <a:pt x="3356" y="4854"/>
                  </a:lnTo>
                  <a:lnTo>
                    <a:pt x="3352" y="4858"/>
                  </a:lnTo>
                  <a:close/>
                  <a:moveTo>
                    <a:pt x="3452" y="4980"/>
                  </a:moveTo>
                  <a:lnTo>
                    <a:pt x="3452" y="4980"/>
                  </a:lnTo>
                  <a:lnTo>
                    <a:pt x="3440" y="4974"/>
                  </a:lnTo>
                  <a:lnTo>
                    <a:pt x="3438" y="4974"/>
                  </a:lnTo>
                  <a:lnTo>
                    <a:pt x="3436" y="4976"/>
                  </a:lnTo>
                  <a:lnTo>
                    <a:pt x="3428" y="4978"/>
                  </a:lnTo>
                  <a:lnTo>
                    <a:pt x="3422" y="4980"/>
                  </a:lnTo>
                  <a:lnTo>
                    <a:pt x="3414" y="4978"/>
                  </a:lnTo>
                  <a:lnTo>
                    <a:pt x="3404" y="4978"/>
                  </a:lnTo>
                  <a:lnTo>
                    <a:pt x="3396" y="4978"/>
                  </a:lnTo>
                  <a:lnTo>
                    <a:pt x="3390" y="4980"/>
                  </a:lnTo>
                  <a:lnTo>
                    <a:pt x="3384" y="4982"/>
                  </a:lnTo>
                  <a:lnTo>
                    <a:pt x="3378" y="4986"/>
                  </a:lnTo>
                  <a:lnTo>
                    <a:pt x="3376" y="4990"/>
                  </a:lnTo>
                  <a:lnTo>
                    <a:pt x="3374" y="4996"/>
                  </a:lnTo>
                  <a:lnTo>
                    <a:pt x="3374" y="5002"/>
                  </a:lnTo>
                  <a:lnTo>
                    <a:pt x="3376" y="5010"/>
                  </a:lnTo>
                  <a:lnTo>
                    <a:pt x="3378" y="5006"/>
                  </a:lnTo>
                  <a:lnTo>
                    <a:pt x="3380" y="4998"/>
                  </a:lnTo>
                  <a:lnTo>
                    <a:pt x="3382" y="4994"/>
                  </a:lnTo>
                  <a:lnTo>
                    <a:pt x="3384" y="4992"/>
                  </a:lnTo>
                  <a:lnTo>
                    <a:pt x="3386" y="4992"/>
                  </a:lnTo>
                  <a:lnTo>
                    <a:pt x="3388" y="4994"/>
                  </a:lnTo>
                  <a:lnTo>
                    <a:pt x="3392" y="5000"/>
                  </a:lnTo>
                  <a:lnTo>
                    <a:pt x="3396" y="5002"/>
                  </a:lnTo>
                  <a:lnTo>
                    <a:pt x="3400" y="5004"/>
                  </a:lnTo>
                  <a:lnTo>
                    <a:pt x="3404" y="5004"/>
                  </a:lnTo>
                  <a:lnTo>
                    <a:pt x="3408" y="5000"/>
                  </a:lnTo>
                  <a:lnTo>
                    <a:pt x="3414" y="4998"/>
                  </a:lnTo>
                  <a:lnTo>
                    <a:pt x="3418" y="4998"/>
                  </a:lnTo>
                  <a:lnTo>
                    <a:pt x="3428" y="5002"/>
                  </a:lnTo>
                  <a:lnTo>
                    <a:pt x="3436" y="5006"/>
                  </a:lnTo>
                  <a:lnTo>
                    <a:pt x="3438" y="5008"/>
                  </a:lnTo>
                  <a:lnTo>
                    <a:pt x="3440" y="5006"/>
                  </a:lnTo>
                  <a:lnTo>
                    <a:pt x="3442" y="5002"/>
                  </a:lnTo>
                  <a:lnTo>
                    <a:pt x="3446" y="5002"/>
                  </a:lnTo>
                  <a:lnTo>
                    <a:pt x="3456" y="5006"/>
                  </a:lnTo>
                  <a:lnTo>
                    <a:pt x="3468" y="5014"/>
                  </a:lnTo>
                  <a:lnTo>
                    <a:pt x="3482" y="5022"/>
                  </a:lnTo>
                  <a:lnTo>
                    <a:pt x="3488" y="5026"/>
                  </a:lnTo>
                  <a:lnTo>
                    <a:pt x="3492" y="5028"/>
                  </a:lnTo>
                  <a:lnTo>
                    <a:pt x="3494" y="5026"/>
                  </a:lnTo>
                  <a:lnTo>
                    <a:pt x="3496" y="5024"/>
                  </a:lnTo>
                  <a:lnTo>
                    <a:pt x="3494" y="5012"/>
                  </a:lnTo>
                  <a:lnTo>
                    <a:pt x="3484" y="4994"/>
                  </a:lnTo>
                  <a:lnTo>
                    <a:pt x="3478" y="4988"/>
                  </a:lnTo>
                  <a:lnTo>
                    <a:pt x="3476" y="4984"/>
                  </a:lnTo>
                  <a:lnTo>
                    <a:pt x="3472" y="4982"/>
                  </a:lnTo>
                  <a:lnTo>
                    <a:pt x="3470" y="4984"/>
                  </a:lnTo>
                  <a:lnTo>
                    <a:pt x="3464" y="4984"/>
                  </a:lnTo>
                  <a:lnTo>
                    <a:pt x="3458" y="4984"/>
                  </a:lnTo>
                  <a:lnTo>
                    <a:pt x="3452" y="4980"/>
                  </a:lnTo>
                  <a:close/>
                  <a:moveTo>
                    <a:pt x="3092" y="4546"/>
                  </a:moveTo>
                  <a:lnTo>
                    <a:pt x="3092" y="4546"/>
                  </a:lnTo>
                  <a:lnTo>
                    <a:pt x="3090" y="4552"/>
                  </a:lnTo>
                  <a:lnTo>
                    <a:pt x="3092" y="4552"/>
                  </a:lnTo>
                  <a:lnTo>
                    <a:pt x="3094" y="4552"/>
                  </a:lnTo>
                  <a:lnTo>
                    <a:pt x="3098" y="4552"/>
                  </a:lnTo>
                  <a:lnTo>
                    <a:pt x="3104" y="4552"/>
                  </a:lnTo>
                  <a:lnTo>
                    <a:pt x="3108" y="4554"/>
                  </a:lnTo>
                  <a:lnTo>
                    <a:pt x="3112" y="4552"/>
                  </a:lnTo>
                  <a:lnTo>
                    <a:pt x="3112" y="4548"/>
                  </a:lnTo>
                  <a:lnTo>
                    <a:pt x="3110" y="4548"/>
                  </a:lnTo>
                  <a:lnTo>
                    <a:pt x="3106" y="4546"/>
                  </a:lnTo>
                  <a:lnTo>
                    <a:pt x="3102" y="4542"/>
                  </a:lnTo>
                  <a:lnTo>
                    <a:pt x="3100" y="4540"/>
                  </a:lnTo>
                  <a:lnTo>
                    <a:pt x="3098" y="4540"/>
                  </a:lnTo>
                  <a:lnTo>
                    <a:pt x="3096" y="4542"/>
                  </a:lnTo>
                  <a:lnTo>
                    <a:pt x="3092" y="4546"/>
                  </a:lnTo>
                  <a:close/>
                  <a:moveTo>
                    <a:pt x="3058" y="4324"/>
                  </a:moveTo>
                  <a:lnTo>
                    <a:pt x="3058" y="4324"/>
                  </a:lnTo>
                  <a:lnTo>
                    <a:pt x="3056" y="4322"/>
                  </a:lnTo>
                  <a:lnTo>
                    <a:pt x="3052" y="4322"/>
                  </a:lnTo>
                  <a:lnTo>
                    <a:pt x="3048" y="4326"/>
                  </a:lnTo>
                  <a:lnTo>
                    <a:pt x="3048" y="4330"/>
                  </a:lnTo>
                  <a:lnTo>
                    <a:pt x="3050" y="4330"/>
                  </a:lnTo>
                  <a:lnTo>
                    <a:pt x="3058" y="4324"/>
                  </a:lnTo>
                  <a:close/>
                  <a:moveTo>
                    <a:pt x="3358" y="4790"/>
                  </a:moveTo>
                  <a:lnTo>
                    <a:pt x="3358" y="4790"/>
                  </a:lnTo>
                  <a:lnTo>
                    <a:pt x="3360" y="4800"/>
                  </a:lnTo>
                  <a:lnTo>
                    <a:pt x="3358" y="4806"/>
                  </a:lnTo>
                  <a:lnTo>
                    <a:pt x="3358" y="4812"/>
                  </a:lnTo>
                  <a:lnTo>
                    <a:pt x="3358" y="4816"/>
                  </a:lnTo>
                  <a:lnTo>
                    <a:pt x="3362" y="4820"/>
                  </a:lnTo>
                  <a:lnTo>
                    <a:pt x="3364" y="4826"/>
                  </a:lnTo>
                  <a:lnTo>
                    <a:pt x="3364" y="4830"/>
                  </a:lnTo>
                  <a:lnTo>
                    <a:pt x="3364" y="4838"/>
                  </a:lnTo>
                  <a:lnTo>
                    <a:pt x="3364" y="4846"/>
                  </a:lnTo>
                  <a:lnTo>
                    <a:pt x="3364" y="4850"/>
                  </a:lnTo>
                  <a:lnTo>
                    <a:pt x="3368" y="4856"/>
                  </a:lnTo>
                  <a:lnTo>
                    <a:pt x="3382" y="4876"/>
                  </a:lnTo>
                  <a:lnTo>
                    <a:pt x="3388" y="4882"/>
                  </a:lnTo>
                  <a:lnTo>
                    <a:pt x="3390" y="4884"/>
                  </a:lnTo>
                  <a:lnTo>
                    <a:pt x="3394" y="4884"/>
                  </a:lnTo>
                  <a:lnTo>
                    <a:pt x="3394" y="4882"/>
                  </a:lnTo>
                  <a:lnTo>
                    <a:pt x="3394" y="4880"/>
                  </a:lnTo>
                  <a:lnTo>
                    <a:pt x="3390" y="4876"/>
                  </a:lnTo>
                  <a:lnTo>
                    <a:pt x="3384" y="4868"/>
                  </a:lnTo>
                  <a:lnTo>
                    <a:pt x="3380" y="4860"/>
                  </a:lnTo>
                  <a:lnTo>
                    <a:pt x="3376" y="4848"/>
                  </a:lnTo>
                  <a:lnTo>
                    <a:pt x="3374" y="4836"/>
                  </a:lnTo>
                  <a:lnTo>
                    <a:pt x="3374" y="4826"/>
                  </a:lnTo>
                  <a:lnTo>
                    <a:pt x="3376" y="4820"/>
                  </a:lnTo>
                  <a:lnTo>
                    <a:pt x="3380" y="4818"/>
                  </a:lnTo>
                  <a:lnTo>
                    <a:pt x="3382" y="4818"/>
                  </a:lnTo>
                  <a:lnTo>
                    <a:pt x="3390" y="4820"/>
                  </a:lnTo>
                  <a:lnTo>
                    <a:pt x="3402" y="4824"/>
                  </a:lnTo>
                  <a:lnTo>
                    <a:pt x="3406" y="4826"/>
                  </a:lnTo>
                  <a:lnTo>
                    <a:pt x="3410" y="4826"/>
                  </a:lnTo>
                  <a:lnTo>
                    <a:pt x="3410" y="4822"/>
                  </a:lnTo>
                  <a:lnTo>
                    <a:pt x="3406" y="4816"/>
                  </a:lnTo>
                  <a:lnTo>
                    <a:pt x="3400" y="4812"/>
                  </a:lnTo>
                  <a:lnTo>
                    <a:pt x="3394" y="4810"/>
                  </a:lnTo>
                  <a:lnTo>
                    <a:pt x="3390" y="4806"/>
                  </a:lnTo>
                  <a:lnTo>
                    <a:pt x="3386" y="4804"/>
                  </a:lnTo>
                  <a:lnTo>
                    <a:pt x="3386" y="4802"/>
                  </a:lnTo>
                  <a:lnTo>
                    <a:pt x="3388" y="4800"/>
                  </a:lnTo>
                  <a:lnTo>
                    <a:pt x="3394" y="4796"/>
                  </a:lnTo>
                  <a:lnTo>
                    <a:pt x="3400" y="4792"/>
                  </a:lnTo>
                  <a:lnTo>
                    <a:pt x="3404" y="4788"/>
                  </a:lnTo>
                  <a:lnTo>
                    <a:pt x="3406" y="4784"/>
                  </a:lnTo>
                  <a:lnTo>
                    <a:pt x="3408" y="4774"/>
                  </a:lnTo>
                  <a:lnTo>
                    <a:pt x="3406" y="4770"/>
                  </a:lnTo>
                  <a:lnTo>
                    <a:pt x="3404" y="4766"/>
                  </a:lnTo>
                  <a:lnTo>
                    <a:pt x="3400" y="4766"/>
                  </a:lnTo>
                  <a:lnTo>
                    <a:pt x="3396" y="4766"/>
                  </a:lnTo>
                  <a:lnTo>
                    <a:pt x="3390" y="4770"/>
                  </a:lnTo>
                  <a:lnTo>
                    <a:pt x="3386" y="4774"/>
                  </a:lnTo>
                  <a:lnTo>
                    <a:pt x="3378" y="4788"/>
                  </a:lnTo>
                  <a:lnTo>
                    <a:pt x="3372" y="4800"/>
                  </a:lnTo>
                  <a:lnTo>
                    <a:pt x="3370" y="4800"/>
                  </a:lnTo>
                  <a:lnTo>
                    <a:pt x="3368" y="4798"/>
                  </a:lnTo>
                  <a:lnTo>
                    <a:pt x="3366" y="4792"/>
                  </a:lnTo>
                  <a:lnTo>
                    <a:pt x="3368" y="4788"/>
                  </a:lnTo>
                  <a:lnTo>
                    <a:pt x="3372" y="4782"/>
                  </a:lnTo>
                  <a:lnTo>
                    <a:pt x="3378" y="4772"/>
                  </a:lnTo>
                  <a:lnTo>
                    <a:pt x="3378" y="4766"/>
                  </a:lnTo>
                  <a:lnTo>
                    <a:pt x="3378" y="4762"/>
                  </a:lnTo>
                  <a:lnTo>
                    <a:pt x="3376" y="4754"/>
                  </a:lnTo>
                  <a:lnTo>
                    <a:pt x="3374" y="4750"/>
                  </a:lnTo>
                  <a:lnTo>
                    <a:pt x="3374" y="4748"/>
                  </a:lnTo>
                  <a:lnTo>
                    <a:pt x="3374" y="4744"/>
                  </a:lnTo>
                  <a:lnTo>
                    <a:pt x="3378" y="4734"/>
                  </a:lnTo>
                  <a:lnTo>
                    <a:pt x="3378" y="4732"/>
                  </a:lnTo>
                  <a:lnTo>
                    <a:pt x="3376" y="4732"/>
                  </a:lnTo>
                  <a:lnTo>
                    <a:pt x="3370" y="4736"/>
                  </a:lnTo>
                  <a:lnTo>
                    <a:pt x="3366" y="4740"/>
                  </a:lnTo>
                  <a:lnTo>
                    <a:pt x="3362" y="4746"/>
                  </a:lnTo>
                  <a:lnTo>
                    <a:pt x="3356" y="4760"/>
                  </a:lnTo>
                  <a:lnTo>
                    <a:pt x="3356" y="4776"/>
                  </a:lnTo>
                  <a:lnTo>
                    <a:pt x="3356" y="4784"/>
                  </a:lnTo>
                  <a:lnTo>
                    <a:pt x="3358" y="4790"/>
                  </a:lnTo>
                  <a:close/>
                  <a:moveTo>
                    <a:pt x="3086" y="4178"/>
                  </a:moveTo>
                  <a:lnTo>
                    <a:pt x="3086" y="4178"/>
                  </a:lnTo>
                  <a:lnTo>
                    <a:pt x="3076" y="4178"/>
                  </a:lnTo>
                  <a:lnTo>
                    <a:pt x="3070" y="4180"/>
                  </a:lnTo>
                  <a:lnTo>
                    <a:pt x="3068" y="4184"/>
                  </a:lnTo>
                  <a:lnTo>
                    <a:pt x="3072" y="4186"/>
                  </a:lnTo>
                  <a:lnTo>
                    <a:pt x="3076" y="4188"/>
                  </a:lnTo>
                  <a:lnTo>
                    <a:pt x="3076" y="4190"/>
                  </a:lnTo>
                  <a:lnTo>
                    <a:pt x="3078" y="4194"/>
                  </a:lnTo>
                  <a:lnTo>
                    <a:pt x="3080" y="4196"/>
                  </a:lnTo>
                  <a:lnTo>
                    <a:pt x="3084" y="4202"/>
                  </a:lnTo>
                  <a:lnTo>
                    <a:pt x="3088" y="4212"/>
                  </a:lnTo>
                  <a:lnTo>
                    <a:pt x="3092" y="4224"/>
                  </a:lnTo>
                  <a:lnTo>
                    <a:pt x="3098" y="4238"/>
                  </a:lnTo>
                  <a:lnTo>
                    <a:pt x="3102" y="4244"/>
                  </a:lnTo>
                  <a:lnTo>
                    <a:pt x="3104" y="4244"/>
                  </a:lnTo>
                  <a:lnTo>
                    <a:pt x="3106" y="4244"/>
                  </a:lnTo>
                  <a:lnTo>
                    <a:pt x="3112" y="4240"/>
                  </a:lnTo>
                  <a:lnTo>
                    <a:pt x="3116" y="4232"/>
                  </a:lnTo>
                  <a:lnTo>
                    <a:pt x="3118" y="4224"/>
                  </a:lnTo>
                  <a:lnTo>
                    <a:pt x="3118" y="4220"/>
                  </a:lnTo>
                  <a:lnTo>
                    <a:pt x="3116" y="4216"/>
                  </a:lnTo>
                  <a:lnTo>
                    <a:pt x="3116" y="4208"/>
                  </a:lnTo>
                  <a:lnTo>
                    <a:pt x="3118" y="4204"/>
                  </a:lnTo>
                  <a:lnTo>
                    <a:pt x="3116" y="4198"/>
                  </a:lnTo>
                  <a:lnTo>
                    <a:pt x="3114" y="4194"/>
                  </a:lnTo>
                  <a:lnTo>
                    <a:pt x="3110" y="4190"/>
                  </a:lnTo>
                  <a:lnTo>
                    <a:pt x="3100" y="4184"/>
                  </a:lnTo>
                  <a:lnTo>
                    <a:pt x="3086" y="4178"/>
                  </a:lnTo>
                  <a:close/>
                  <a:moveTo>
                    <a:pt x="3138" y="4192"/>
                  </a:moveTo>
                  <a:lnTo>
                    <a:pt x="3138" y="4192"/>
                  </a:lnTo>
                  <a:lnTo>
                    <a:pt x="3140" y="4190"/>
                  </a:lnTo>
                  <a:lnTo>
                    <a:pt x="3142" y="4186"/>
                  </a:lnTo>
                  <a:lnTo>
                    <a:pt x="3140" y="4180"/>
                  </a:lnTo>
                  <a:lnTo>
                    <a:pt x="3138" y="4178"/>
                  </a:lnTo>
                  <a:lnTo>
                    <a:pt x="3134" y="4178"/>
                  </a:lnTo>
                  <a:lnTo>
                    <a:pt x="3132" y="4178"/>
                  </a:lnTo>
                  <a:lnTo>
                    <a:pt x="3130" y="4178"/>
                  </a:lnTo>
                  <a:lnTo>
                    <a:pt x="3130" y="4184"/>
                  </a:lnTo>
                  <a:lnTo>
                    <a:pt x="3130" y="4188"/>
                  </a:lnTo>
                  <a:lnTo>
                    <a:pt x="3132" y="4192"/>
                  </a:lnTo>
                  <a:lnTo>
                    <a:pt x="3134" y="4194"/>
                  </a:lnTo>
                  <a:lnTo>
                    <a:pt x="3138" y="4192"/>
                  </a:lnTo>
                  <a:close/>
                  <a:moveTo>
                    <a:pt x="3386" y="4736"/>
                  </a:moveTo>
                  <a:lnTo>
                    <a:pt x="3386" y="4736"/>
                  </a:lnTo>
                  <a:lnTo>
                    <a:pt x="3388" y="4742"/>
                  </a:lnTo>
                  <a:lnTo>
                    <a:pt x="3392" y="4742"/>
                  </a:lnTo>
                  <a:lnTo>
                    <a:pt x="3396" y="4740"/>
                  </a:lnTo>
                  <a:lnTo>
                    <a:pt x="3398" y="4736"/>
                  </a:lnTo>
                  <a:lnTo>
                    <a:pt x="3402" y="4732"/>
                  </a:lnTo>
                  <a:lnTo>
                    <a:pt x="3404" y="4726"/>
                  </a:lnTo>
                  <a:lnTo>
                    <a:pt x="3404" y="4720"/>
                  </a:lnTo>
                  <a:lnTo>
                    <a:pt x="3404" y="4714"/>
                  </a:lnTo>
                  <a:lnTo>
                    <a:pt x="3400" y="4712"/>
                  </a:lnTo>
                  <a:lnTo>
                    <a:pt x="3398" y="4712"/>
                  </a:lnTo>
                  <a:lnTo>
                    <a:pt x="3394" y="4714"/>
                  </a:lnTo>
                  <a:lnTo>
                    <a:pt x="3392" y="4718"/>
                  </a:lnTo>
                  <a:lnTo>
                    <a:pt x="3388" y="4726"/>
                  </a:lnTo>
                  <a:lnTo>
                    <a:pt x="3386" y="4736"/>
                  </a:lnTo>
                  <a:close/>
                  <a:moveTo>
                    <a:pt x="3378" y="4912"/>
                  </a:moveTo>
                  <a:lnTo>
                    <a:pt x="3378" y="4912"/>
                  </a:lnTo>
                  <a:lnTo>
                    <a:pt x="3374" y="4908"/>
                  </a:lnTo>
                  <a:lnTo>
                    <a:pt x="3370" y="4906"/>
                  </a:lnTo>
                  <a:lnTo>
                    <a:pt x="3364" y="4904"/>
                  </a:lnTo>
                  <a:lnTo>
                    <a:pt x="3362" y="4904"/>
                  </a:lnTo>
                  <a:lnTo>
                    <a:pt x="3358" y="4906"/>
                  </a:lnTo>
                  <a:lnTo>
                    <a:pt x="3356" y="4908"/>
                  </a:lnTo>
                  <a:lnTo>
                    <a:pt x="3354" y="4912"/>
                  </a:lnTo>
                  <a:lnTo>
                    <a:pt x="3354" y="4916"/>
                  </a:lnTo>
                  <a:lnTo>
                    <a:pt x="3354" y="4922"/>
                  </a:lnTo>
                  <a:lnTo>
                    <a:pt x="3358" y="4924"/>
                  </a:lnTo>
                  <a:lnTo>
                    <a:pt x="3366" y="4922"/>
                  </a:lnTo>
                  <a:lnTo>
                    <a:pt x="3382" y="4922"/>
                  </a:lnTo>
                  <a:lnTo>
                    <a:pt x="3384" y="4922"/>
                  </a:lnTo>
                  <a:lnTo>
                    <a:pt x="3384" y="4920"/>
                  </a:lnTo>
                  <a:lnTo>
                    <a:pt x="3378" y="4912"/>
                  </a:lnTo>
                  <a:close/>
                  <a:moveTo>
                    <a:pt x="3378" y="5236"/>
                  </a:moveTo>
                  <a:lnTo>
                    <a:pt x="3378" y="5236"/>
                  </a:lnTo>
                  <a:lnTo>
                    <a:pt x="3374" y="5234"/>
                  </a:lnTo>
                  <a:lnTo>
                    <a:pt x="3370" y="5234"/>
                  </a:lnTo>
                  <a:lnTo>
                    <a:pt x="3368" y="5236"/>
                  </a:lnTo>
                  <a:lnTo>
                    <a:pt x="3372" y="5240"/>
                  </a:lnTo>
                  <a:lnTo>
                    <a:pt x="3376" y="5242"/>
                  </a:lnTo>
                  <a:lnTo>
                    <a:pt x="3380" y="5240"/>
                  </a:lnTo>
                  <a:lnTo>
                    <a:pt x="3380" y="5238"/>
                  </a:lnTo>
                  <a:lnTo>
                    <a:pt x="3378" y="5236"/>
                  </a:lnTo>
                  <a:close/>
                  <a:moveTo>
                    <a:pt x="3444" y="5230"/>
                  </a:moveTo>
                  <a:lnTo>
                    <a:pt x="3444" y="5230"/>
                  </a:lnTo>
                  <a:lnTo>
                    <a:pt x="3448" y="5232"/>
                  </a:lnTo>
                  <a:lnTo>
                    <a:pt x="3450" y="5230"/>
                  </a:lnTo>
                  <a:lnTo>
                    <a:pt x="3452" y="5228"/>
                  </a:lnTo>
                  <a:lnTo>
                    <a:pt x="3452" y="5224"/>
                  </a:lnTo>
                  <a:lnTo>
                    <a:pt x="3448" y="5220"/>
                  </a:lnTo>
                  <a:lnTo>
                    <a:pt x="3442" y="5218"/>
                  </a:lnTo>
                  <a:lnTo>
                    <a:pt x="3440" y="5220"/>
                  </a:lnTo>
                  <a:lnTo>
                    <a:pt x="3442" y="5224"/>
                  </a:lnTo>
                  <a:lnTo>
                    <a:pt x="3444" y="5230"/>
                  </a:lnTo>
                  <a:close/>
                  <a:moveTo>
                    <a:pt x="3364" y="4876"/>
                  </a:moveTo>
                  <a:lnTo>
                    <a:pt x="3364" y="4876"/>
                  </a:lnTo>
                  <a:lnTo>
                    <a:pt x="3364" y="4878"/>
                  </a:lnTo>
                  <a:lnTo>
                    <a:pt x="3366" y="4880"/>
                  </a:lnTo>
                  <a:lnTo>
                    <a:pt x="3370" y="4882"/>
                  </a:lnTo>
                  <a:lnTo>
                    <a:pt x="3372" y="4880"/>
                  </a:lnTo>
                  <a:lnTo>
                    <a:pt x="3374" y="4876"/>
                  </a:lnTo>
                  <a:lnTo>
                    <a:pt x="3372" y="4874"/>
                  </a:lnTo>
                  <a:lnTo>
                    <a:pt x="3368" y="4874"/>
                  </a:lnTo>
                  <a:lnTo>
                    <a:pt x="3364" y="4876"/>
                  </a:lnTo>
                  <a:close/>
                  <a:moveTo>
                    <a:pt x="3374" y="5022"/>
                  </a:moveTo>
                  <a:lnTo>
                    <a:pt x="3374" y="5022"/>
                  </a:lnTo>
                  <a:lnTo>
                    <a:pt x="3378" y="5024"/>
                  </a:lnTo>
                  <a:lnTo>
                    <a:pt x="3384" y="5022"/>
                  </a:lnTo>
                  <a:lnTo>
                    <a:pt x="3388" y="5018"/>
                  </a:lnTo>
                  <a:lnTo>
                    <a:pt x="3390" y="5012"/>
                  </a:lnTo>
                  <a:lnTo>
                    <a:pt x="3390" y="5010"/>
                  </a:lnTo>
                  <a:lnTo>
                    <a:pt x="3388" y="5010"/>
                  </a:lnTo>
                  <a:lnTo>
                    <a:pt x="3382" y="5012"/>
                  </a:lnTo>
                  <a:lnTo>
                    <a:pt x="3376" y="5018"/>
                  </a:lnTo>
                  <a:lnTo>
                    <a:pt x="3374" y="5020"/>
                  </a:lnTo>
                  <a:lnTo>
                    <a:pt x="3374" y="5022"/>
                  </a:lnTo>
                  <a:close/>
                  <a:moveTo>
                    <a:pt x="3412" y="3200"/>
                  </a:moveTo>
                  <a:lnTo>
                    <a:pt x="3412" y="3200"/>
                  </a:lnTo>
                  <a:lnTo>
                    <a:pt x="3408" y="3200"/>
                  </a:lnTo>
                  <a:lnTo>
                    <a:pt x="3406" y="3202"/>
                  </a:lnTo>
                  <a:lnTo>
                    <a:pt x="3404" y="3206"/>
                  </a:lnTo>
                  <a:lnTo>
                    <a:pt x="3406" y="3208"/>
                  </a:lnTo>
                  <a:lnTo>
                    <a:pt x="3408" y="3208"/>
                  </a:lnTo>
                  <a:lnTo>
                    <a:pt x="3414" y="3206"/>
                  </a:lnTo>
                  <a:lnTo>
                    <a:pt x="3416" y="3204"/>
                  </a:lnTo>
                  <a:lnTo>
                    <a:pt x="3416" y="3202"/>
                  </a:lnTo>
                  <a:lnTo>
                    <a:pt x="3412" y="3200"/>
                  </a:lnTo>
                  <a:close/>
                  <a:moveTo>
                    <a:pt x="3402" y="3084"/>
                  </a:moveTo>
                  <a:lnTo>
                    <a:pt x="3402" y="3084"/>
                  </a:lnTo>
                  <a:lnTo>
                    <a:pt x="3400" y="3088"/>
                  </a:lnTo>
                  <a:lnTo>
                    <a:pt x="3398" y="3092"/>
                  </a:lnTo>
                  <a:lnTo>
                    <a:pt x="3400" y="3096"/>
                  </a:lnTo>
                  <a:lnTo>
                    <a:pt x="3402" y="3098"/>
                  </a:lnTo>
                  <a:lnTo>
                    <a:pt x="3404" y="3096"/>
                  </a:lnTo>
                  <a:lnTo>
                    <a:pt x="3406" y="3092"/>
                  </a:lnTo>
                  <a:lnTo>
                    <a:pt x="3406" y="3088"/>
                  </a:lnTo>
                  <a:lnTo>
                    <a:pt x="3406" y="3084"/>
                  </a:lnTo>
                  <a:lnTo>
                    <a:pt x="3404" y="3084"/>
                  </a:lnTo>
                  <a:lnTo>
                    <a:pt x="3402" y="3084"/>
                  </a:lnTo>
                  <a:close/>
                  <a:moveTo>
                    <a:pt x="3416" y="3464"/>
                  </a:moveTo>
                  <a:lnTo>
                    <a:pt x="3416" y="3464"/>
                  </a:lnTo>
                  <a:lnTo>
                    <a:pt x="3420" y="3466"/>
                  </a:lnTo>
                  <a:lnTo>
                    <a:pt x="3422" y="3464"/>
                  </a:lnTo>
                  <a:lnTo>
                    <a:pt x="3422" y="3460"/>
                  </a:lnTo>
                  <a:lnTo>
                    <a:pt x="3420" y="3454"/>
                  </a:lnTo>
                  <a:lnTo>
                    <a:pt x="3418" y="3452"/>
                  </a:lnTo>
                  <a:lnTo>
                    <a:pt x="3416" y="3454"/>
                  </a:lnTo>
                  <a:lnTo>
                    <a:pt x="3414" y="3458"/>
                  </a:lnTo>
                  <a:lnTo>
                    <a:pt x="3416" y="3464"/>
                  </a:lnTo>
                  <a:close/>
                  <a:moveTo>
                    <a:pt x="2806" y="3776"/>
                  </a:moveTo>
                  <a:lnTo>
                    <a:pt x="2806" y="3776"/>
                  </a:lnTo>
                  <a:lnTo>
                    <a:pt x="2810" y="3778"/>
                  </a:lnTo>
                  <a:lnTo>
                    <a:pt x="2814" y="3778"/>
                  </a:lnTo>
                  <a:lnTo>
                    <a:pt x="2816" y="3776"/>
                  </a:lnTo>
                  <a:lnTo>
                    <a:pt x="2818" y="3774"/>
                  </a:lnTo>
                  <a:lnTo>
                    <a:pt x="2820" y="3768"/>
                  </a:lnTo>
                  <a:lnTo>
                    <a:pt x="2818" y="3762"/>
                  </a:lnTo>
                  <a:lnTo>
                    <a:pt x="2820" y="3758"/>
                  </a:lnTo>
                  <a:lnTo>
                    <a:pt x="2820" y="3754"/>
                  </a:lnTo>
                  <a:lnTo>
                    <a:pt x="2820" y="3752"/>
                  </a:lnTo>
                  <a:lnTo>
                    <a:pt x="2818" y="3752"/>
                  </a:lnTo>
                  <a:lnTo>
                    <a:pt x="2814" y="3752"/>
                  </a:lnTo>
                  <a:lnTo>
                    <a:pt x="2812" y="3752"/>
                  </a:lnTo>
                  <a:lnTo>
                    <a:pt x="2814" y="3752"/>
                  </a:lnTo>
                  <a:lnTo>
                    <a:pt x="2814" y="3750"/>
                  </a:lnTo>
                  <a:lnTo>
                    <a:pt x="2812" y="3748"/>
                  </a:lnTo>
                  <a:lnTo>
                    <a:pt x="2810" y="3750"/>
                  </a:lnTo>
                  <a:lnTo>
                    <a:pt x="2808" y="3752"/>
                  </a:lnTo>
                  <a:lnTo>
                    <a:pt x="2808" y="3756"/>
                  </a:lnTo>
                  <a:lnTo>
                    <a:pt x="2806" y="3758"/>
                  </a:lnTo>
                  <a:lnTo>
                    <a:pt x="2802" y="3760"/>
                  </a:lnTo>
                  <a:lnTo>
                    <a:pt x="2802" y="3766"/>
                  </a:lnTo>
                  <a:lnTo>
                    <a:pt x="2802" y="3774"/>
                  </a:lnTo>
                  <a:lnTo>
                    <a:pt x="2800" y="3774"/>
                  </a:lnTo>
                  <a:lnTo>
                    <a:pt x="2802" y="3774"/>
                  </a:lnTo>
                  <a:lnTo>
                    <a:pt x="2804" y="3774"/>
                  </a:lnTo>
                  <a:lnTo>
                    <a:pt x="2806" y="3776"/>
                  </a:lnTo>
                  <a:close/>
                  <a:moveTo>
                    <a:pt x="3380" y="3090"/>
                  </a:moveTo>
                  <a:lnTo>
                    <a:pt x="3380" y="3090"/>
                  </a:lnTo>
                  <a:lnTo>
                    <a:pt x="3378" y="3088"/>
                  </a:lnTo>
                  <a:lnTo>
                    <a:pt x="3376" y="3086"/>
                  </a:lnTo>
                  <a:lnTo>
                    <a:pt x="3372" y="3088"/>
                  </a:lnTo>
                  <a:lnTo>
                    <a:pt x="3370" y="3090"/>
                  </a:lnTo>
                  <a:lnTo>
                    <a:pt x="3370" y="3092"/>
                  </a:lnTo>
                  <a:lnTo>
                    <a:pt x="3376" y="3096"/>
                  </a:lnTo>
                  <a:lnTo>
                    <a:pt x="3378" y="3096"/>
                  </a:lnTo>
                  <a:lnTo>
                    <a:pt x="3380" y="3096"/>
                  </a:lnTo>
                  <a:lnTo>
                    <a:pt x="3380" y="3090"/>
                  </a:lnTo>
                  <a:close/>
                  <a:moveTo>
                    <a:pt x="3918" y="2740"/>
                  </a:moveTo>
                  <a:lnTo>
                    <a:pt x="3918" y="2740"/>
                  </a:lnTo>
                  <a:lnTo>
                    <a:pt x="3918" y="2736"/>
                  </a:lnTo>
                  <a:lnTo>
                    <a:pt x="3918" y="2734"/>
                  </a:lnTo>
                  <a:lnTo>
                    <a:pt x="3914" y="2732"/>
                  </a:lnTo>
                  <a:lnTo>
                    <a:pt x="3908" y="2730"/>
                  </a:lnTo>
                  <a:lnTo>
                    <a:pt x="3902" y="2728"/>
                  </a:lnTo>
                  <a:lnTo>
                    <a:pt x="3900" y="2726"/>
                  </a:lnTo>
                  <a:lnTo>
                    <a:pt x="3898" y="2728"/>
                  </a:lnTo>
                  <a:lnTo>
                    <a:pt x="3894" y="2736"/>
                  </a:lnTo>
                  <a:lnTo>
                    <a:pt x="3894" y="2740"/>
                  </a:lnTo>
                  <a:lnTo>
                    <a:pt x="3894" y="2744"/>
                  </a:lnTo>
                  <a:lnTo>
                    <a:pt x="3898" y="2746"/>
                  </a:lnTo>
                  <a:lnTo>
                    <a:pt x="3902" y="2744"/>
                  </a:lnTo>
                  <a:lnTo>
                    <a:pt x="3906" y="2744"/>
                  </a:lnTo>
                  <a:lnTo>
                    <a:pt x="3910" y="2746"/>
                  </a:lnTo>
                  <a:lnTo>
                    <a:pt x="3910" y="2748"/>
                  </a:lnTo>
                  <a:lnTo>
                    <a:pt x="3912" y="2752"/>
                  </a:lnTo>
                  <a:lnTo>
                    <a:pt x="3908" y="2760"/>
                  </a:lnTo>
                  <a:lnTo>
                    <a:pt x="3906" y="2762"/>
                  </a:lnTo>
                  <a:lnTo>
                    <a:pt x="3904" y="2760"/>
                  </a:lnTo>
                  <a:lnTo>
                    <a:pt x="3900" y="2758"/>
                  </a:lnTo>
                  <a:lnTo>
                    <a:pt x="3898" y="2760"/>
                  </a:lnTo>
                  <a:lnTo>
                    <a:pt x="3894" y="2762"/>
                  </a:lnTo>
                  <a:lnTo>
                    <a:pt x="3890" y="2764"/>
                  </a:lnTo>
                  <a:lnTo>
                    <a:pt x="3888" y="2762"/>
                  </a:lnTo>
                  <a:lnTo>
                    <a:pt x="3888" y="2756"/>
                  </a:lnTo>
                  <a:lnTo>
                    <a:pt x="3886" y="2746"/>
                  </a:lnTo>
                  <a:lnTo>
                    <a:pt x="3884" y="2742"/>
                  </a:lnTo>
                  <a:lnTo>
                    <a:pt x="3880" y="2740"/>
                  </a:lnTo>
                  <a:lnTo>
                    <a:pt x="3878" y="2742"/>
                  </a:lnTo>
                  <a:lnTo>
                    <a:pt x="3876" y="2744"/>
                  </a:lnTo>
                  <a:lnTo>
                    <a:pt x="3874" y="2750"/>
                  </a:lnTo>
                  <a:lnTo>
                    <a:pt x="3874" y="2758"/>
                  </a:lnTo>
                  <a:lnTo>
                    <a:pt x="3872" y="2764"/>
                  </a:lnTo>
                  <a:lnTo>
                    <a:pt x="3870" y="2768"/>
                  </a:lnTo>
                  <a:lnTo>
                    <a:pt x="3866" y="2768"/>
                  </a:lnTo>
                  <a:lnTo>
                    <a:pt x="3862" y="2770"/>
                  </a:lnTo>
                  <a:lnTo>
                    <a:pt x="3858" y="2770"/>
                  </a:lnTo>
                  <a:lnTo>
                    <a:pt x="3856" y="2772"/>
                  </a:lnTo>
                  <a:lnTo>
                    <a:pt x="3856" y="2776"/>
                  </a:lnTo>
                  <a:lnTo>
                    <a:pt x="3856" y="2786"/>
                  </a:lnTo>
                  <a:lnTo>
                    <a:pt x="3858" y="2796"/>
                  </a:lnTo>
                  <a:lnTo>
                    <a:pt x="3860" y="2802"/>
                  </a:lnTo>
                  <a:lnTo>
                    <a:pt x="3858" y="2806"/>
                  </a:lnTo>
                  <a:lnTo>
                    <a:pt x="3856" y="2808"/>
                  </a:lnTo>
                  <a:lnTo>
                    <a:pt x="3852" y="2810"/>
                  </a:lnTo>
                  <a:lnTo>
                    <a:pt x="3850" y="2812"/>
                  </a:lnTo>
                  <a:lnTo>
                    <a:pt x="3850" y="2814"/>
                  </a:lnTo>
                  <a:lnTo>
                    <a:pt x="3850" y="2816"/>
                  </a:lnTo>
                  <a:lnTo>
                    <a:pt x="3852" y="2818"/>
                  </a:lnTo>
                  <a:lnTo>
                    <a:pt x="3854" y="2818"/>
                  </a:lnTo>
                  <a:lnTo>
                    <a:pt x="3858" y="2820"/>
                  </a:lnTo>
                  <a:lnTo>
                    <a:pt x="3860" y="2824"/>
                  </a:lnTo>
                  <a:lnTo>
                    <a:pt x="3860" y="2832"/>
                  </a:lnTo>
                  <a:lnTo>
                    <a:pt x="3858" y="2846"/>
                  </a:lnTo>
                  <a:lnTo>
                    <a:pt x="3854" y="2866"/>
                  </a:lnTo>
                  <a:lnTo>
                    <a:pt x="3850" y="2884"/>
                  </a:lnTo>
                  <a:lnTo>
                    <a:pt x="3844" y="2896"/>
                  </a:lnTo>
                  <a:lnTo>
                    <a:pt x="3840" y="2904"/>
                  </a:lnTo>
                  <a:lnTo>
                    <a:pt x="3834" y="2912"/>
                  </a:lnTo>
                  <a:lnTo>
                    <a:pt x="3822" y="2926"/>
                  </a:lnTo>
                  <a:lnTo>
                    <a:pt x="3808" y="2942"/>
                  </a:lnTo>
                  <a:lnTo>
                    <a:pt x="3802" y="2952"/>
                  </a:lnTo>
                  <a:lnTo>
                    <a:pt x="3794" y="2960"/>
                  </a:lnTo>
                  <a:lnTo>
                    <a:pt x="3788" y="2964"/>
                  </a:lnTo>
                  <a:lnTo>
                    <a:pt x="3782" y="2968"/>
                  </a:lnTo>
                  <a:lnTo>
                    <a:pt x="3768" y="2974"/>
                  </a:lnTo>
                  <a:lnTo>
                    <a:pt x="3760" y="2978"/>
                  </a:lnTo>
                  <a:lnTo>
                    <a:pt x="3752" y="2984"/>
                  </a:lnTo>
                  <a:lnTo>
                    <a:pt x="3742" y="2990"/>
                  </a:lnTo>
                  <a:lnTo>
                    <a:pt x="3742" y="2988"/>
                  </a:lnTo>
                  <a:lnTo>
                    <a:pt x="3742" y="2986"/>
                  </a:lnTo>
                  <a:lnTo>
                    <a:pt x="3744" y="2978"/>
                  </a:lnTo>
                  <a:lnTo>
                    <a:pt x="3744" y="2974"/>
                  </a:lnTo>
                  <a:lnTo>
                    <a:pt x="3740" y="2970"/>
                  </a:lnTo>
                  <a:lnTo>
                    <a:pt x="3740" y="2968"/>
                  </a:lnTo>
                  <a:lnTo>
                    <a:pt x="3740" y="2966"/>
                  </a:lnTo>
                  <a:lnTo>
                    <a:pt x="3748" y="2960"/>
                  </a:lnTo>
                  <a:lnTo>
                    <a:pt x="3754" y="2952"/>
                  </a:lnTo>
                  <a:lnTo>
                    <a:pt x="3756" y="2948"/>
                  </a:lnTo>
                  <a:lnTo>
                    <a:pt x="3754" y="2944"/>
                  </a:lnTo>
                  <a:lnTo>
                    <a:pt x="3752" y="2944"/>
                  </a:lnTo>
                  <a:lnTo>
                    <a:pt x="3748" y="2944"/>
                  </a:lnTo>
                  <a:lnTo>
                    <a:pt x="3738" y="2948"/>
                  </a:lnTo>
                  <a:lnTo>
                    <a:pt x="3734" y="2952"/>
                  </a:lnTo>
                  <a:lnTo>
                    <a:pt x="3730" y="2956"/>
                  </a:lnTo>
                  <a:lnTo>
                    <a:pt x="3728" y="2962"/>
                  </a:lnTo>
                  <a:lnTo>
                    <a:pt x="3730" y="2966"/>
                  </a:lnTo>
                  <a:lnTo>
                    <a:pt x="3730" y="2976"/>
                  </a:lnTo>
                  <a:lnTo>
                    <a:pt x="3728" y="2986"/>
                  </a:lnTo>
                  <a:lnTo>
                    <a:pt x="3722" y="2996"/>
                  </a:lnTo>
                  <a:lnTo>
                    <a:pt x="3716" y="3006"/>
                  </a:lnTo>
                  <a:lnTo>
                    <a:pt x="3704" y="3022"/>
                  </a:lnTo>
                  <a:lnTo>
                    <a:pt x="3700" y="3026"/>
                  </a:lnTo>
                  <a:lnTo>
                    <a:pt x="3698" y="3030"/>
                  </a:lnTo>
                  <a:lnTo>
                    <a:pt x="3700" y="3036"/>
                  </a:lnTo>
                  <a:lnTo>
                    <a:pt x="3700" y="3044"/>
                  </a:lnTo>
                  <a:lnTo>
                    <a:pt x="3698" y="3046"/>
                  </a:lnTo>
                  <a:lnTo>
                    <a:pt x="3694" y="3050"/>
                  </a:lnTo>
                  <a:lnTo>
                    <a:pt x="3690" y="3052"/>
                  </a:lnTo>
                  <a:lnTo>
                    <a:pt x="3682" y="3054"/>
                  </a:lnTo>
                  <a:lnTo>
                    <a:pt x="3676" y="3054"/>
                  </a:lnTo>
                  <a:lnTo>
                    <a:pt x="3672" y="3052"/>
                  </a:lnTo>
                  <a:lnTo>
                    <a:pt x="3672" y="3048"/>
                  </a:lnTo>
                  <a:lnTo>
                    <a:pt x="3674" y="3044"/>
                  </a:lnTo>
                  <a:lnTo>
                    <a:pt x="3672" y="3042"/>
                  </a:lnTo>
                  <a:lnTo>
                    <a:pt x="3668" y="3040"/>
                  </a:lnTo>
                  <a:lnTo>
                    <a:pt x="3662" y="3042"/>
                  </a:lnTo>
                  <a:lnTo>
                    <a:pt x="3652" y="3044"/>
                  </a:lnTo>
                  <a:lnTo>
                    <a:pt x="3626" y="3052"/>
                  </a:lnTo>
                  <a:lnTo>
                    <a:pt x="3614" y="3056"/>
                  </a:lnTo>
                  <a:lnTo>
                    <a:pt x="3602" y="3058"/>
                  </a:lnTo>
                  <a:lnTo>
                    <a:pt x="3594" y="3058"/>
                  </a:lnTo>
                  <a:lnTo>
                    <a:pt x="3592" y="3056"/>
                  </a:lnTo>
                  <a:lnTo>
                    <a:pt x="3590" y="3054"/>
                  </a:lnTo>
                  <a:lnTo>
                    <a:pt x="3588" y="3050"/>
                  </a:lnTo>
                  <a:lnTo>
                    <a:pt x="3584" y="3050"/>
                  </a:lnTo>
                  <a:lnTo>
                    <a:pt x="3580" y="3050"/>
                  </a:lnTo>
                  <a:lnTo>
                    <a:pt x="3574" y="3052"/>
                  </a:lnTo>
                  <a:lnTo>
                    <a:pt x="3562" y="3062"/>
                  </a:lnTo>
                  <a:lnTo>
                    <a:pt x="3548" y="3080"/>
                  </a:lnTo>
                  <a:lnTo>
                    <a:pt x="3542" y="3088"/>
                  </a:lnTo>
                  <a:lnTo>
                    <a:pt x="3536" y="3092"/>
                  </a:lnTo>
                  <a:lnTo>
                    <a:pt x="3530" y="3096"/>
                  </a:lnTo>
                  <a:lnTo>
                    <a:pt x="3524" y="3098"/>
                  </a:lnTo>
                  <a:lnTo>
                    <a:pt x="3518" y="3106"/>
                  </a:lnTo>
                  <a:lnTo>
                    <a:pt x="3514" y="3112"/>
                  </a:lnTo>
                  <a:lnTo>
                    <a:pt x="3510" y="3114"/>
                  </a:lnTo>
                  <a:lnTo>
                    <a:pt x="3502" y="3114"/>
                  </a:lnTo>
                  <a:lnTo>
                    <a:pt x="3500" y="3116"/>
                  </a:lnTo>
                  <a:lnTo>
                    <a:pt x="3498" y="3116"/>
                  </a:lnTo>
                  <a:lnTo>
                    <a:pt x="3496" y="3120"/>
                  </a:lnTo>
                  <a:lnTo>
                    <a:pt x="3496" y="3126"/>
                  </a:lnTo>
                  <a:lnTo>
                    <a:pt x="3496" y="3132"/>
                  </a:lnTo>
                  <a:lnTo>
                    <a:pt x="3500" y="3136"/>
                  </a:lnTo>
                  <a:lnTo>
                    <a:pt x="3504" y="3136"/>
                  </a:lnTo>
                  <a:lnTo>
                    <a:pt x="3508" y="3136"/>
                  </a:lnTo>
                  <a:lnTo>
                    <a:pt x="3522" y="3134"/>
                  </a:lnTo>
                  <a:lnTo>
                    <a:pt x="3528" y="3134"/>
                  </a:lnTo>
                  <a:lnTo>
                    <a:pt x="3536" y="3138"/>
                  </a:lnTo>
                  <a:lnTo>
                    <a:pt x="3542" y="3140"/>
                  </a:lnTo>
                  <a:lnTo>
                    <a:pt x="3544" y="3140"/>
                  </a:lnTo>
                  <a:lnTo>
                    <a:pt x="3546" y="3138"/>
                  </a:lnTo>
                  <a:lnTo>
                    <a:pt x="3546" y="3134"/>
                  </a:lnTo>
                  <a:lnTo>
                    <a:pt x="3546" y="3124"/>
                  </a:lnTo>
                  <a:lnTo>
                    <a:pt x="3548" y="3120"/>
                  </a:lnTo>
                  <a:lnTo>
                    <a:pt x="3550" y="3118"/>
                  </a:lnTo>
                  <a:lnTo>
                    <a:pt x="3556" y="3116"/>
                  </a:lnTo>
                  <a:lnTo>
                    <a:pt x="3558" y="3118"/>
                  </a:lnTo>
                  <a:lnTo>
                    <a:pt x="3562" y="3120"/>
                  </a:lnTo>
                  <a:lnTo>
                    <a:pt x="3570" y="3120"/>
                  </a:lnTo>
                  <a:lnTo>
                    <a:pt x="3596" y="3116"/>
                  </a:lnTo>
                  <a:lnTo>
                    <a:pt x="3620" y="3108"/>
                  </a:lnTo>
                  <a:lnTo>
                    <a:pt x="3626" y="3104"/>
                  </a:lnTo>
                  <a:lnTo>
                    <a:pt x="3630" y="3102"/>
                  </a:lnTo>
                  <a:lnTo>
                    <a:pt x="3632" y="3098"/>
                  </a:lnTo>
                  <a:lnTo>
                    <a:pt x="3632" y="3096"/>
                  </a:lnTo>
                  <a:lnTo>
                    <a:pt x="3636" y="3096"/>
                  </a:lnTo>
                  <a:lnTo>
                    <a:pt x="3648" y="3098"/>
                  </a:lnTo>
                  <a:lnTo>
                    <a:pt x="3656" y="3100"/>
                  </a:lnTo>
                  <a:lnTo>
                    <a:pt x="3662" y="3100"/>
                  </a:lnTo>
                  <a:lnTo>
                    <a:pt x="3670" y="3098"/>
                  </a:lnTo>
                  <a:lnTo>
                    <a:pt x="3674" y="3098"/>
                  </a:lnTo>
                  <a:lnTo>
                    <a:pt x="3676" y="3102"/>
                  </a:lnTo>
                  <a:lnTo>
                    <a:pt x="3678" y="3106"/>
                  </a:lnTo>
                  <a:lnTo>
                    <a:pt x="3676" y="3110"/>
                  </a:lnTo>
                  <a:lnTo>
                    <a:pt x="3672" y="3114"/>
                  </a:lnTo>
                  <a:lnTo>
                    <a:pt x="3666" y="3118"/>
                  </a:lnTo>
                  <a:lnTo>
                    <a:pt x="3666" y="3120"/>
                  </a:lnTo>
                  <a:lnTo>
                    <a:pt x="3666" y="3124"/>
                  </a:lnTo>
                  <a:lnTo>
                    <a:pt x="3666" y="3130"/>
                  </a:lnTo>
                  <a:lnTo>
                    <a:pt x="3664" y="3136"/>
                  </a:lnTo>
                  <a:lnTo>
                    <a:pt x="3664" y="3142"/>
                  </a:lnTo>
                  <a:lnTo>
                    <a:pt x="3664" y="3144"/>
                  </a:lnTo>
                  <a:lnTo>
                    <a:pt x="3668" y="3146"/>
                  </a:lnTo>
                  <a:lnTo>
                    <a:pt x="3674" y="3150"/>
                  </a:lnTo>
                  <a:lnTo>
                    <a:pt x="3674" y="3152"/>
                  </a:lnTo>
                  <a:lnTo>
                    <a:pt x="3676" y="3156"/>
                  </a:lnTo>
                  <a:lnTo>
                    <a:pt x="3684" y="3162"/>
                  </a:lnTo>
                  <a:lnTo>
                    <a:pt x="3684" y="3164"/>
                  </a:lnTo>
                  <a:lnTo>
                    <a:pt x="3688" y="3166"/>
                  </a:lnTo>
                  <a:lnTo>
                    <a:pt x="3692" y="3164"/>
                  </a:lnTo>
                  <a:lnTo>
                    <a:pt x="3696" y="3160"/>
                  </a:lnTo>
                  <a:lnTo>
                    <a:pt x="3700" y="3156"/>
                  </a:lnTo>
                  <a:lnTo>
                    <a:pt x="3716" y="3130"/>
                  </a:lnTo>
                  <a:lnTo>
                    <a:pt x="3720" y="3124"/>
                  </a:lnTo>
                  <a:lnTo>
                    <a:pt x="3724" y="3122"/>
                  </a:lnTo>
                  <a:lnTo>
                    <a:pt x="3734" y="3118"/>
                  </a:lnTo>
                  <a:lnTo>
                    <a:pt x="3738" y="3116"/>
                  </a:lnTo>
                  <a:lnTo>
                    <a:pt x="3738" y="3114"/>
                  </a:lnTo>
                  <a:lnTo>
                    <a:pt x="3736" y="3112"/>
                  </a:lnTo>
                  <a:lnTo>
                    <a:pt x="3730" y="3108"/>
                  </a:lnTo>
                  <a:lnTo>
                    <a:pt x="3724" y="3104"/>
                  </a:lnTo>
                  <a:lnTo>
                    <a:pt x="3722" y="3098"/>
                  </a:lnTo>
                  <a:lnTo>
                    <a:pt x="3722" y="3090"/>
                  </a:lnTo>
                  <a:lnTo>
                    <a:pt x="3724" y="3086"/>
                  </a:lnTo>
                  <a:lnTo>
                    <a:pt x="3728" y="3082"/>
                  </a:lnTo>
                  <a:lnTo>
                    <a:pt x="3732" y="3080"/>
                  </a:lnTo>
                  <a:lnTo>
                    <a:pt x="3734" y="3082"/>
                  </a:lnTo>
                  <a:lnTo>
                    <a:pt x="3734" y="3086"/>
                  </a:lnTo>
                  <a:lnTo>
                    <a:pt x="3736" y="3092"/>
                  </a:lnTo>
                  <a:lnTo>
                    <a:pt x="3738" y="3094"/>
                  </a:lnTo>
                  <a:lnTo>
                    <a:pt x="3742" y="3096"/>
                  </a:lnTo>
                  <a:lnTo>
                    <a:pt x="3746" y="3096"/>
                  </a:lnTo>
                  <a:lnTo>
                    <a:pt x="3750" y="3096"/>
                  </a:lnTo>
                  <a:lnTo>
                    <a:pt x="3746" y="3100"/>
                  </a:lnTo>
                  <a:lnTo>
                    <a:pt x="3742" y="3104"/>
                  </a:lnTo>
                  <a:lnTo>
                    <a:pt x="3750" y="3104"/>
                  </a:lnTo>
                  <a:lnTo>
                    <a:pt x="3762" y="3102"/>
                  </a:lnTo>
                  <a:lnTo>
                    <a:pt x="3774" y="3102"/>
                  </a:lnTo>
                  <a:lnTo>
                    <a:pt x="3782" y="3104"/>
                  </a:lnTo>
                  <a:lnTo>
                    <a:pt x="3786" y="3104"/>
                  </a:lnTo>
                  <a:lnTo>
                    <a:pt x="3788" y="3100"/>
                  </a:lnTo>
                  <a:lnTo>
                    <a:pt x="3792" y="3092"/>
                  </a:lnTo>
                  <a:lnTo>
                    <a:pt x="3800" y="3082"/>
                  </a:lnTo>
                  <a:lnTo>
                    <a:pt x="3806" y="3076"/>
                  </a:lnTo>
                  <a:lnTo>
                    <a:pt x="3810" y="3076"/>
                  </a:lnTo>
                  <a:lnTo>
                    <a:pt x="3810" y="3078"/>
                  </a:lnTo>
                  <a:lnTo>
                    <a:pt x="3812" y="3082"/>
                  </a:lnTo>
                  <a:lnTo>
                    <a:pt x="3810" y="3090"/>
                  </a:lnTo>
                  <a:lnTo>
                    <a:pt x="3810" y="3096"/>
                  </a:lnTo>
                  <a:lnTo>
                    <a:pt x="3810" y="3102"/>
                  </a:lnTo>
                  <a:lnTo>
                    <a:pt x="3812" y="3104"/>
                  </a:lnTo>
                  <a:lnTo>
                    <a:pt x="3814" y="3104"/>
                  </a:lnTo>
                  <a:lnTo>
                    <a:pt x="3820" y="3098"/>
                  </a:lnTo>
                  <a:lnTo>
                    <a:pt x="3824" y="3086"/>
                  </a:lnTo>
                  <a:lnTo>
                    <a:pt x="3826" y="3076"/>
                  </a:lnTo>
                  <a:lnTo>
                    <a:pt x="3828" y="3068"/>
                  </a:lnTo>
                  <a:lnTo>
                    <a:pt x="3830" y="3066"/>
                  </a:lnTo>
                  <a:lnTo>
                    <a:pt x="3834" y="3066"/>
                  </a:lnTo>
                  <a:lnTo>
                    <a:pt x="3842" y="3070"/>
                  </a:lnTo>
                  <a:lnTo>
                    <a:pt x="3848" y="3074"/>
                  </a:lnTo>
                  <a:lnTo>
                    <a:pt x="3848" y="3072"/>
                  </a:lnTo>
                  <a:lnTo>
                    <a:pt x="3848" y="3064"/>
                  </a:lnTo>
                  <a:lnTo>
                    <a:pt x="3848" y="3060"/>
                  </a:lnTo>
                  <a:lnTo>
                    <a:pt x="3850" y="3054"/>
                  </a:lnTo>
                  <a:lnTo>
                    <a:pt x="3852" y="3050"/>
                  </a:lnTo>
                  <a:lnTo>
                    <a:pt x="3856" y="3048"/>
                  </a:lnTo>
                  <a:lnTo>
                    <a:pt x="3862" y="3046"/>
                  </a:lnTo>
                  <a:lnTo>
                    <a:pt x="3864" y="3048"/>
                  </a:lnTo>
                  <a:lnTo>
                    <a:pt x="3864" y="3050"/>
                  </a:lnTo>
                  <a:lnTo>
                    <a:pt x="3864" y="3052"/>
                  </a:lnTo>
                  <a:lnTo>
                    <a:pt x="3862" y="3056"/>
                  </a:lnTo>
                  <a:lnTo>
                    <a:pt x="3858" y="3066"/>
                  </a:lnTo>
                  <a:lnTo>
                    <a:pt x="3854" y="3080"/>
                  </a:lnTo>
                  <a:lnTo>
                    <a:pt x="3854" y="3090"/>
                  </a:lnTo>
                  <a:lnTo>
                    <a:pt x="3856" y="3090"/>
                  </a:lnTo>
                  <a:lnTo>
                    <a:pt x="3860" y="3086"/>
                  </a:lnTo>
                  <a:lnTo>
                    <a:pt x="3864" y="3080"/>
                  </a:lnTo>
                  <a:lnTo>
                    <a:pt x="3866" y="3078"/>
                  </a:lnTo>
                  <a:lnTo>
                    <a:pt x="3872" y="3076"/>
                  </a:lnTo>
                  <a:lnTo>
                    <a:pt x="3874" y="3076"/>
                  </a:lnTo>
                  <a:lnTo>
                    <a:pt x="3876" y="3072"/>
                  </a:lnTo>
                  <a:lnTo>
                    <a:pt x="3878" y="3060"/>
                  </a:lnTo>
                  <a:lnTo>
                    <a:pt x="3880" y="3052"/>
                  </a:lnTo>
                  <a:lnTo>
                    <a:pt x="3886" y="3048"/>
                  </a:lnTo>
                  <a:lnTo>
                    <a:pt x="3890" y="3048"/>
                  </a:lnTo>
                  <a:lnTo>
                    <a:pt x="3894" y="3048"/>
                  </a:lnTo>
                  <a:lnTo>
                    <a:pt x="3898" y="3048"/>
                  </a:lnTo>
                  <a:lnTo>
                    <a:pt x="3900" y="3046"/>
                  </a:lnTo>
                  <a:lnTo>
                    <a:pt x="3898" y="3042"/>
                  </a:lnTo>
                  <a:lnTo>
                    <a:pt x="3892" y="3034"/>
                  </a:lnTo>
                  <a:lnTo>
                    <a:pt x="3888" y="3028"/>
                  </a:lnTo>
                  <a:lnTo>
                    <a:pt x="3886" y="3022"/>
                  </a:lnTo>
                  <a:lnTo>
                    <a:pt x="3884" y="3010"/>
                  </a:lnTo>
                  <a:lnTo>
                    <a:pt x="3886" y="3000"/>
                  </a:lnTo>
                  <a:lnTo>
                    <a:pt x="3892" y="2988"/>
                  </a:lnTo>
                  <a:lnTo>
                    <a:pt x="3896" y="2978"/>
                  </a:lnTo>
                  <a:lnTo>
                    <a:pt x="3902" y="2966"/>
                  </a:lnTo>
                  <a:lnTo>
                    <a:pt x="3902" y="2952"/>
                  </a:lnTo>
                  <a:lnTo>
                    <a:pt x="3900" y="2938"/>
                  </a:lnTo>
                  <a:lnTo>
                    <a:pt x="3898" y="2928"/>
                  </a:lnTo>
                  <a:lnTo>
                    <a:pt x="3898" y="2920"/>
                  </a:lnTo>
                  <a:lnTo>
                    <a:pt x="3898" y="2912"/>
                  </a:lnTo>
                  <a:lnTo>
                    <a:pt x="3900" y="2906"/>
                  </a:lnTo>
                  <a:lnTo>
                    <a:pt x="3904" y="2902"/>
                  </a:lnTo>
                  <a:lnTo>
                    <a:pt x="3908" y="2900"/>
                  </a:lnTo>
                  <a:lnTo>
                    <a:pt x="3912" y="2900"/>
                  </a:lnTo>
                  <a:lnTo>
                    <a:pt x="3918" y="2902"/>
                  </a:lnTo>
                  <a:lnTo>
                    <a:pt x="3922" y="2906"/>
                  </a:lnTo>
                  <a:lnTo>
                    <a:pt x="3924" y="2906"/>
                  </a:lnTo>
                  <a:lnTo>
                    <a:pt x="3924" y="2898"/>
                  </a:lnTo>
                  <a:lnTo>
                    <a:pt x="3924" y="2884"/>
                  </a:lnTo>
                  <a:lnTo>
                    <a:pt x="3926" y="2876"/>
                  </a:lnTo>
                  <a:lnTo>
                    <a:pt x="3930" y="2868"/>
                  </a:lnTo>
                  <a:lnTo>
                    <a:pt x="3936" y="2860"/>
                  </a:lnTo>
                  <a:lnTo>
                    <a:pt x="3940" y="2850"/>
                  </a:lnTo>
                  <a:lnTo>
                    <a:pt x="3942" y="2840"/>
                  </a:lnTo>
                  <a:lnTo>
                    <a:pt x="3944" y="2830"/>
                  </a:lnTo>
                  <a:lnTo>
                    <a:pt x="3942" y="2820"/>
                  </a:lnTo>
                  <a:lnTo>
                    <a:pt x="3940" y="2810"/>
                  </a:lnTo>
                  <a:lnTo>
                    <a:pt x="3936" y="2802"/>
                  </a:lnTo>
                  <a:lnTo>
                    <a:pt x="3932" y="2794"/>
                  </a:lnTo>
                  <a:lnTo>
                    <a:pt x="3926" y="2788"/>
                  </a:lnTo>
                  <a:lnTo>
                    <a:pt x="3922" y="2780"/>
                  </a:lnTo>
                  <a:lnTo>
                    <a:pt x="3918" y="2766"/>
                  </a:lnTo>
                  <a:lnTo>
                    <a:pt x="3918" y="2752"/>
                  </a:lnTo>
                  <a:lnTo>
                    <a:pt x="3918" y="2740"/>
                  </a:lnTo>
                  <a:close/>
                  <a:moveTo>
                    <a:pt x="3276" y="3612"/>
                  </a:moveTo>
                  <a:lnTo>
                    <a:pt x="3276" y="3612"/>
                  </a:lnTo>
                  <a:lnTo>
                    <a:pt x="3274" y="3610"/>
                  </a:lnTo>
                  <a:lnTo>
                    <a:pt x="3270" y="3612"/>
                  </a:lnTo>
                  <a:lnTo>
                    <a:pt x="3268" y="3614"/>
                  </a:lnTo>
                  <a:lnTo>
                    <a:pt x="3268" y="3618"/>
                  </a:lnTo>
                  <a:lnTo>
                    <a:pt x="3272" y="3618"/>
                  </a:lnTo>
                  <a:lnTo>
                    <a:pt x="3274" y="3618"/>
                  </a:lnTo>
                  <a:lnTo>
                    <a:pt x="3276" y="3614"/>
                  </a:lnTo>
                  <a:lnTo>
                    <a:pt x="3276" y="3612"/>
                  </a:lnTo>
                  <a:close/>
                  <a:moveTo>
                    <a:pt x="3322" y="3130"/>
                  </a:moveTo>
                  <a:lnTo>
                    <a:pt x="3322" y="3130"/>
                  </a:lnTo>
                  <a:lnTo>
                    <a:pt x="3324" y="3128"/>
                  </a:lnTo>
                  <a:lnTo>
                    <a:pt x="3322" y="3126"/>
                  </a:lnTo>
                  <a:lnTo>
                    <a:pt x="3318" y="3126"/>
                  </a:lnTo>
                  <a:lnTo>
                    <a:pt x="3316" y="3128"/>
                  </a:lnTo>
                  <a:lnTo>
                    <a:pt x="3318" y="3130"/>
                  </a:lnTo>
                  <a:lnTo>
                    <a:pt x="3320" y="3130"/>
                  </a:lnTo>
                  <a:lnTo>
                    <a:pt x="3322" y="3130"/>
                  </a:lnTo>
                  <a:close/>
                  <a:moveTo>
                    <a:pt x="3302" y="3176"/>
                  </a:moveTo>
                  <a:lnTo>
                    <a:pt x="3302" y="3176"/>
                  </a:lnTo>
                  <a:lnTo>
                    <a:pt x="3304" y="3178"/>
                  </a:lnTo>
                  <a:lnTo>
                    <a:pt x="3310" y="3178"/>
                  </a:lnTo>
                  <a:lnTo>
                    <a:pt x="3320" y="3176"/>
                  </a:lnTo>
                  <a:lnTo>
                    <a:pt x="3330" y="3170"/>
                  </a:lnTo>
                  <a:lnTo>
                    <a:pt x="3334" y="3166"/>
                  </a:lnTo>
                  <a:lnTo>
                    <a:pt x="3334" y="3162"/>
                  </a:lnTo>
                  <a:lnTo>
                    <a:pt x="3332" y="3158"/>
                  </a:lnTo>
                  <a:lnTo>
                    <a:pt x="3326" y="3158"/>
                  </a:lnTo>
                  <a:lnTo>
                    <a:pt x="3322" y="3158"/>
                  </a:lnTo>
                  <a:lnTo>
                    <a:pt x="3314" y="3160"/>
                  </a:lnTo>
                  <a:lnTo>
                    <a:pt x="3310" y="3164"/>
                  </a:lnTo>
                  <a:lnTo>
                    <a:pt x="3304" y="3166"/>
                  </a:lnTo>
                  <a:lnTo>
                    <a:pt x="3302" y="3172"/>
                  </a:lnTo>
                  <a:lnTo>
                    <a:pt x="3302" y="3176"/>
                  </a:lnTo>
                  <a:close/>
                  <a:moveTo>
                    <a:pt x="3372" y="3542"/>
                  </a:moveTo>
                  <a:lnTo>
                    <a:pt x="3372" y="3542"/>
                  </a:lnTo>
                  <a:lnTo>
                    <a:pt x="3374" y="3538"/>
                  </a:lnTo>
                  <a:lnTo>
                    <a:pt x="3376" y="3534"/>
                  </a:lnTo>
                  <a:lnTo>
                    <a:pt x="3386" y="3520"/>
                  </a:lnTo>
                  <a:lnTo>
                    <a:pt x="3392" y="3512"/>
                  </a:lnTo>
                  <a:lnTo>
                    <a:pt x="3394" y="3508"/>
                  </a:lnTo>
                  <a:lnTo>
                    <a:pt x="3390" y="3508"/>
                  </a:lnTo>
                  <a:lnTo>
                    <a:pt x="3384" y="3512"/>
                  </a:lnTo>
                  <a:lnTo>
                    <a:pt x="3374" y="3522"/>
                  </a:lnTo>
                  <a:lnTo>
                    <a:pt x="3370" y="3528"/>
                  </a:lnTo>
                  <a:lnTo>
                    <a:pt x="3366" y="3538"/>
                  </a:lnTo>
                  <a:lnTo>
                    <a:pt x="3366" y="3544"/>
                  </a:lnTo>
                  <a:lnTo>
                    <a:pt x="3368" y="3546"/>
                  </a:lnTo>
                  <a:lnTo>
                    <a:pt x="3372" y="3544"/>
                  </a:lnTo>
                  <a:lnTo>
                    <a:pt x="3372" y="3542"/>
                  </a:lnTo>
                  <a:close/>
                  <a:moveTo>
                    <a:pt x="3932" y="2136"/>
                  </a:moveTo>
                  <a:lnTo>
                    <a:pt x="3932" y="2136"/>
                  </a:lnTo>
                  <a:lnTo>
                    <a:pt x="3930" y="2138"/>
                  </a:lnTo>
                  <a:lnTo>
                    <a:pt x="3932" y="2138"/>
                  </a:lnTo>
                  <a:lnTo>
                    <a:pt x="3936" y="2142"/>
                  </a:lnTo>
                  <a:lnTo>
                    <a:pt x="3942" y="2150"/>
                  </a:lnTo>
                  <a:lnTo>
                    <a:pt x="3950" y="2162"/>
                  </a:lnTo>
                  <a:lnTo>
                    <a:pt x="3952" y="2168"/>
                  </a:lnTo>
                  <a:lnTo>
                    <a:pt x="3952" y="2174"/>
                  </a:lnTo>
                  <a:lnTo>
                    <a:pt x="3948" y="2186"/>
                  </a:lnTo>
                  <a:lnTo>
                    <a:pt x="3944" y="2198"/>
                  </a:lnTo>
                  <a:lnTo>
                    <a:pt x="3944" y="2206"/>
                  </a:lnTo>
                  <a:lnTo>
                    <a:pt x="3946" y="2214"/>
                  </a:lnTo>
                  <a:lnTo>
                    <a:pt x="3948" y="2224"/>
                  </a:lnTo>
                  <a:lnTo>
                    <a:pt x="3948" y="2236"/>
                  </a:lnTo>
                  <a:lnTo>
                    <a:pt x="3948" y="2266"/>
                  </a:lnTo>
                  <a:lnTo>
                    <a:pt x="3944" y="2294"/>
                  </a:lnTo>
                  <a:lnTo>
                    <a:pt x="3940" y="2304"/>
                  </a:lnTo>
                  <a:lnTo>
                    <a:pt x="3938" y="2312"/>
                  </a:lnTo>
                  <a:lnTo>
                    <a:pt x="3936" y="2316"/>
                  </a:lnTo>
                  <a:lnTo>
                    <a:pt x="3938" y="2320"/>
                  </a:lnTo>
                  <a:lnTo>
                    <a:pt x="3944" y="2330"/>
                  </a:lnTo>
                  <a:lnTo>
                    <a:pt x="3946" y="2336"/>
                  </a:lnTo>
                  <a:lnTo>
                    <a:pt x="3948" y="2344"/>
                  </a:lnTo>
                  <a:lnTo>
                    <a:pt x="3946" y="2356"/>
                  </a:lnTo>
                  <a:lnTo>
                    <a:pt x="3942" y="2370"/>
                  </a:lnTo>
                  <a:lnTo>
                    <a:pt x="3940" y="2378"/>
                  </a:lnTo>
                  <a:lnTo>
                    <a:pt x="3940" y="2386"/>
                  </a:lnTo>
                  <a:lnTo>
                    <a:pt x="3942" y="2400"/>
                  </a:lnTo>
                  <a:lnTo>
                    <a:pt x="3944" y="2412"/>
                  </a:lnTo>
                  <a:lnTo>
                    <a:pt x="3944" y="2418"/>
                  </a:lnTo>
                  <a:lnTo>
                    <a:pt x="3940" y="2424"/>
                  </a:lnTo>
                  <a:lnTo>
                    <a:pt x="3936" y="2436"/>
                  </a:lnTo>
                  <a:lnTo>
                    <a:pt x="3934" y="2444"/>
                  </a:lnTo>
                  <a:lnTo>
                    <a:pt x="3936" y="2454"/>
                  </a:lnTo>
                  <a:lnTo>
                    <a:pt x="3938" y="2468"/>
                  </a:lnTo>
                  <a:lnTo>
                    <a:pt x="3942" y="2478"/>
                  </a:lnTo>
                  <a:lnTo>
                    <a:pt x="3944" y="2478"/>
                  </a:lnTo>
                  <a:lnTo>
                    <a:pt x="3946" y="2478"/>
                  </a:lnTo>
                  <a:lnTo>
                    <a:pt x="3950" y="2470"/>
                  </a:lnTo>
                  <a:lnTo>
                    <a:pt x="3954" y="2456"/>
                  </a:lnTo>
                  <a:lnTo>
                    <a:pt x="3958" y="2442"/>
                  </a:lnTo>
                  <a:lnTo>
                    <a:pt x="3962" y="2434"/>
                  </a:lnTo>
                  <a:lnTo>
                    <a:pt x="3966" y="2432"/>
                  </a:lnTo>
                  <a:lnTo>
                    <a:pt x="3968" y="2432"/>
                  </a:lnTo>
                  <a:lnTo>
                    <a:pt x="3972" y="2434"/>
                  </a:lnTo>
                  <a:lnTo>
                    <a:pt x="3976" y="2438"/>
                  </a:lnTo>
                  <a:lnTo>
                    <a:pt x="3980" y="2440"/>
                  </a:lnTo>
                  <a:lnTo>
                    <a:pt x="3984" y="2438"/>
                  </a:lnTo>
                  <a:lnTo>
                    <a:pt x="3990" y="2440"/>
                  </a:lnTo>
                  <a:lnTo>
                    <a:pt x="3994" y="2442"/>
                  </a:lnTo>
                  <a:lnTo>
                    <a:pt x="3996" y="2446"/>
                  </a:lnTo>
                  <a:lnTo>
                    <a:pt x="3998" y="2456"/>
                  </a:lnTo>
                  <a:lnTo>
                    <a:pt x="4000" y="2464"/>
                  </a:lnTo>
                  <a:lnTo>
                    <a:pt x="4000" y="2466"/>
                  </a:lnTo>
                  <a:lnTo>
                    <a:pt x="4002" y="2466"/>
                  </a:lnTo>
                  <a:lnTo>
                    <a:pt x="4006" y="2454"/>
                  </a:lnTo>
                  <a:lnTo>
                    <a:pt x="4006" y="2448"/>
                  </a:lnTo>
                  <a:lnTo>
                    <a:pt x="4004" y="2444"/>
                  </a:lnTo>
                  <a:lnTo>
                    <a:pt x="4002" y="2434"/>
                  </a:lnTo>
                  <a:lnTo>
                    <a:pt x="4002" y="2426"/>
                  </a:lnTo>
                  <a:lnTo>
                    <a:pt x="3998" y="2426"/>
                  </a:lnTo>
                  <a:lnTo>
                    <a:pt x="3992" y="2426"/>
                  </a:lnTo>
                  <a:lnTo>
                    <a:pt x="3990" y="2422"/>
                  </a:lnTo>
                  <a:lnTo>
                    <a:pt x="3986" y="2420"/>
                  </a:lnTo>
                  <a:lnTo>
                    <a:pt x="3984" y="2410"/>
                  </a:lnTo>
                  <a:lnTo>
                    <a:pt x="3980" y="2400"/>
                  </a:lnTo>
                  <a:lnTo>
                    <a:pt x="3976" y="2394"/>
                  </a:lnTo>
                  <a:lnTo>
                    <a:pt x="3972" y="2390"/>
                  </a:lnTo>
                  <a:lnTo>
                    <a:pt x="3966" y="2382"/>
                  </a:lnTo>
                  <a:lnTo>
                    <a:pt x="3964" y="2372"/>
                  </a:lnTo>
                  <a:lnTo>
                    <a:pt x="3964" y="2362"/>
                  </a:lnTo>
                  <a:lnTo>
                    <a:pt x="3964" y="2350"/>
                  </a:lnTo>
                  <a:lnTo>
                    <a:pt x="3970" y="2328"/>
                  </a:lnTo>
                  <a:lnTo>
                    <a:pt x="3978" y="2314"/>
                  </a:lnTo>
                  <a:lnTo>
                    <a:pt x="3980" y="2308"/>
                  </a:lnTo>
                  <a:lnTo>
                    <a:pt x="3982" y="2304"/>
                  </a:lnTo>
                  <a:lnTo>
                    <a:pt x="3982" y="2294"/>
                  </a:lnTo>
                  <a:lnTo>
                    <a:pt x="3984" y="2290"/>
                  </a:lnTo>
                  <a:lnTo>
                    <a:pt x="3984" y="2288"/>
                  </a:lnTo>
                  <a:lnTo>
                    <a:pt x="3988" y="2284"/>
                  </a:lnTo>
                  <a:lnTo>
                    <a:pt x="3994" y="2282"/>
                  </a:lnTo>
                  <a:lnTo>
                    <a:pt x="4004" y="2280"/>
                  </a:lnTo>
                  <a:lnTo>
                    <a:pt x="4014" y="2280"/>
                  </a:lnTo>
                  <a:lnTo>
                    <a:pt x="4026" y="2286"/>
                  </a:lnTo>
                  <a:lnTo>
                    <a:pt x="4036" y="2294"/>
                  </a:lnTo>
                  <a:lnTo>
                    <a:pt x="4048" y="2314"/>
                  </a:lnTo>
                  <a:lnTo>
                    <a:pt x="4052" y="2316"/>
                  </a:lnTo>
                  <a:lnTo>
                    <a:pt x="4052" y="2312"/>
                  </a:lnTo>
                  <a:lnTo>
                    <a:pt x="4048" y="2302"/>
                  </a:lnTo>
                  <a:lnTo>
                    <a:pt x="4040" y="2294"/>
                  </a:lnTo>
                  <a:lnTo>
                    <a:pt x="4034" y="2282"/>
                  </a:lnTo>
                  <a:lnTo>
                    <a:pt x="4032" y="2276"/>
                  </a:lnTo>
                  <a:lnTo>
                    <a:pt x="4030" y="2268"/>
                  </a:lnTo>
                  <a:lnTo>
                    <a:pt x="4026" y="2252"/>
                  </a:lnTo>
                  <a:lnTo>
                    <a:pt x="4020" y="2234"/>
                  </a:lnTo>
                  <a:lnTo>
                    <a:pt x="4012" y="2214"/>
                  </a:lnTo>
                  <a:lnTo>
                    <a:pt x="4010" y="2206"/>
                  </a:lnTo>
                  <a:lnTo>
                    <a:pt x="4010" y="2196"/>
                  </a:lnTo>
                  <a:lnTo>
                    <a:pt x="4008" y="2180"/>
                  </a:lnTo>
                  <a:lnTo>
                    <a:pt x="4004" y="2168"/>
                  </a:lnTo>
                  <a:lnTo>
                    <a:pt x="4002" y="2158"/>
                  </a:lnTo>
                  <a:lnTo>
                    <a:pt x="3998" y="2148"/>
                  </a:lnTo>
                  <a:lnTo>
                    <a:pt x="3998" y="2144"/>
                  </a:lnTo>
                  <a:lnTo>
                    <a:pt x="3994" y="2146"/>
                  </a:lnTo>
                  <a:lnTo>
                    <a:pt x="3992" y="2146"/>
                  </a:lnTo>
                  <a:lnTo>
                    <a:pt x="3992" y="2138"/>
                  </a:lnTo>
                  <a:lnTo>
                    <a:pt x="3994" y="2128"/>
                  </a:lnTo>
                  <a:lnTo>
                    <a:pt x="3992" y="2128"/>
                  </a:lnTo>
                  <a:lnTo>
                    <a:pt x="3990" y="2128"/>
                  </a:lnTo>
                  <a:lnTo>
                    <a:pt x="3988" y="2124"/>
                  </a:lnTo>
                  <a:lnTo>
                    <a:pt x="3988" y="2116"/>
                  </a:lnTo>
                  <a:lnTo>
                    <a:pt x="3988" y="2108"/>
                  </a:lnTo>
                  <a:lnTo>
                    <a:pt x="3992" y="2096"/>
                  </a:lnTo>
                  <a:lnTo>
                    <a:pt x="3994" y="2090"/>
                  </a:lnTo>
                  <a:lnTo>
                    <a:pt x="3996" y="2082"/>
                  </a:lnTo>
                  <a:lnTo>
                    <a:pt x="3996" y="2072"/>
                  </a:lnTo>
                  <a:lnTo>
                    <a:pt x="3994" y="2058"/>
                  </a:lnTo>
                  <a:lnTo>
                    <a:pt x="3990" y="2042"/>
                  </a:lnTo>
                  <a:lnTo>
                    <a:pt x="3988" y="2036"/>
                  </a:lnTo>
                  <a:lnTo>
                    <a:pt x="3986" y="2034"/>
                  </a:lnTo>
                  <a:lnTo>
                    <a:pt x="3988" y="2032"/>
                  </a:lnTo>
                  <a:lnTo>
                    <a:pt x="3988" y="2028"/>
                  </a:lnTo>
                  <a:lnTo>
                    <a:pt x="3986" y="2026"/>
                  </a:lnTo>
                  <a:lnTo>
                    <a:pt x="3984" y="2026"/>
                  </a:lnTo>
                  <a:lnTo>
                    <a:pt x="3982" y="2022"/>
                  </a:lnTo>
                  <a:lnTo>
                    <a:pt x="3982" y="2014"/>
                  </a:lnTo>
                  <a:lnTo>
                    <a:pt x="3978" y="2010"/>
                  </a:lnTo>
                  <a:lnTo>
                    <a:pt x="3978" y="2006"/>
                  </a:lnTo>
                  <a:lnTo>
                    <a:pt x="3980" y="2000"/>
                  </a:lnTo>
                  <a:lnTo>
                    <a:pt x="3984" y="1994"/>
                  </a:lnTo>
                  <a:lnTo>
                    <a:pt x="3982" y="1988"/>
                  </a:lnTo>
                  <a:lnTo>
                    <a:pt x="3978" y="1984"/>
                  </a:lnTo>
                  <a:lnTo>
                    <a:pt x="3974" y="1976"/>
                  </a:lnTo>
                  <a:lnTo>
                    <a:pt x="3970" y="1972"/>
                  </a:lnTo>
                  <a:lnTo>
                    <a:pt x="3970" y="1974"/>
                  </a:lnTo>
                  <a:lnTo>
                    <a:pt x="3966" y="1978"/>
                  </a:lnTo>
                  <a:lnTo>
                    <a:pt x="3962" y="1980"/>
                  </a:lnTo>
                  <a:lnTo>
                    <a:pt x="3958" y="1982"/>
                  </a:lnTo>
                  <a:lnTo>
                    <a:pt x="3954" y="1982"/>
                  </a:lnTo>
                  <a:lnTo>
                    <a:pt x="3954" y="1984"/>
                  </a:lnTo>
                  <a:lnTo>
                    <a:pt x="3960" y="1990"/>
                  </a:lnTo>
                  <a:lnTo>
                    <a:pt x="3966" y="1998"/>
                  </a:lnTo>
                  <a:lnTo>
                    <a:pt x="3968" y="2004"/>
                  </a:lnTo>
                  <a:lnTo>
                    <a:pt x="3970" y="2008"/>
                  </a:lnTo>
                  <a:lnTo>
                    <a:pt x="3966" y="2016"/>
                  </a:lnTo>
                  <a:lnTo>
                    <a:pt x="3964" y="2018"/>
                  </a:lnTo>
                  <a:lnTo>
                    <a:pt x="3962" y="2018"/>
                  </a:lnTo>
                  <a:lnTo>
                    <a:pt x="3960" y="2020"/>
                  </a:lnTo>
                  <a:lnTo>
                    <a:pt x="3960" y="2024"/>
                  </a:lnTo>
                  <a:lnTo>
                    <a:pt x="3962" y="2024"/>
                  </a:lnTo>
                  <a:lnTo>
                    <a:pt x="3964" y="2026"/>
                  </a:lnTo>
                  <a:lnTo>
                    <a:pt x="3966" y="2028"/>
                  </a:lnTo>
                  <a:lnTo>
                    <a:pt x="3966" y="2030"/>
                  </a:lnTo>
                  <a:lnTo>
                    <a:pt x="3962" y="2034"/>
                  </a:lnTo>
                  <a:lnTo>
                    <a:pt x="3958" y="2038"/>
                  </a:lnTo>
                  <a:lnTo>
                    <a:pt x="3954" y="2038"/>
                  </a:lnTo>
                  <a:lnTo>
                    <a:pt x="3954" y="2036"/>
                  </a:lnTo>
                  <a:lnTo>
                    <a:pt x="3952" y="2034"/>
                  </a:lnTo>
                  <a:lnTo>
                    <a:pt x="3952" y="2030"/>
                  </a:lnTo>
                  <a:lnTo>
                    <a:pt x="3950" y="2028"/>
                  </a:lnTo>
                  <a:lnTo>
                    <a:pt x="3946" y="2030"/>
                  </a:lnTo>
                  <a:lnTo>
                    <a:pt x="3940" y="2032"/>
                  </a:lnTo>
                  <a:lnTo>
                    <a:pt x="3936" y="2034"/>
                  </a:lnTo>
                  <a:lnTo>
                    <a:pt x="3932" y="2036"/>
                  </a:lnTo>
                  <a:lnTo>
                    <a:pt x="3934" y="2044"/>
                  </a:lnTo>
                  <a:lnTo>
                    <a:pt x="3936" y="2054"/>
                  </a:lnTo>
                  <a:lnTo>
                    <a:pt x="3938" y="2066"/>
                  </a:lnTo>
                  <a:lnTo>
                    <a:pt x="3936" y="2078"/>
                  </a:lnTo>
                  <a:lnTo>
                    <a:pt x="3930" y="2090"/>
                  </a:lnTo>
                  <a:lnTo>
                    <a:pt x="3928" y="2098"/>
                  </a:lnTo>
                  <a:lnTo>
                    <a:pt x="3928" y="2104"/>
                  </a:lnTo>
                  <a:lnTo>
                    <a:pt x="3930" y="2108"/>
                  </a:lnTo>
                  <a:lnTo>
                    <a:pt x="3928" y="2118"/>
                  </a:lnTo>
                  <a:lnTo>
                    <a:pt x="3926" y="2124"/>
                  </a:lnTo>
                  <a:lnTo>
                    <a:pt x="3928" y="2128"/>
                  </a:lnTo>
                  <a:lnTo>
                    <a:pt x="3930" y="2132"/>
                  </a:lnTo>
                  <a:lnTo>
                    <a:pt x="3934" y="2134"/>
                  </a:lnTo>
                  <a:lnTo>
                    <a:pt x="3934" y="2136"/>
                  </a:lnTo>
                  <a:lnTo>
                    <a:pt x="3932" y="2136"/>
                  </a:lnTo>
                  <a:close/>
                  <a:moveTo>
                    <a:pt x="4070" y="2610"/>
                  </a:moveTo>
                  <a:lnTo>
                    <a:pt x="4070" y="2610"/>
                  </a:lnTo>
                  <a:lnTo>
                    <a:pt x="4068" y="2602"/>
                  </a:lnTo>
                  <a:lnTo>
                    <a:pt x="4068" y="2594"/>
                  </a:lnTo>
                  <a:lnTo>
                    <a:pt x="4070" y="2586"/>
                  </a:lnTo>
                  <a:lnTo>
                    <a:pt x="4072" y="2580"/>
                  </a:lnTo>
                  <a:lnTo>
                    <a:pt x="4078" y="2572"/>
                  </a:lnTo>
                  <a:lnTo>
                    <a:pt x="4078" y="2570"/>
                  </a:lnTo>
                  <a:lnTo>
                    <a:pt x="4076" y="2568"/>
                  </a:lnTo>
                  <a:lnTo>
                    <a:pt x="4072" y="2570"/>
                  </a:lnTo>
                  <a:lnTo>
                    <a:pt x="4068" y="2572"/>
                  </a:lnTo>
                  <a:lnTo>
                    <a:pt x="4062" y="2582"/>
                  </a:lnTo>
                  <a:lnTo>
                    <a:pt x="4054" y="2590"/>
                  </a:lnTo>
                  <a:lnTo>
                    <a:pt x="4050" y="2592"/>
                  </a:lnTo>
                  <a:lnTo>
                    <a:pt x="4044" y="2592"/>
                  </a:lnTo>
                  <a:lnTo>
                    <a:pt x="4040" y="2592"/>
                  </a:lnTo>
                  <a:lnTo>
                    <a:pt x="4038" y="2590"/>
                  </a:lnTo>
                  <a:lnTo>
                    <a:pt x="4036" y="2586"/>
                  </a:lnTo>
                  <a:lnTo>
                    <a:pt x="4034" y="2582"/>
                  </a:lnTo>
                  <a:lnTo>
                    <a:pt x="4032" y="2580"/>
                  </a:lnTo>
                  <a:lnTo>
                    <a:pt x="4028" y="2578"/>
                  </a:lnTo>
                  <a:lnTo>
                    <a:pt x="4022" y="2578"/>
                  </a:lnTo>
                  <a:lnTo>
                    <a:pt x="4012" y="2576"/>
                  </a:lnTo>
                  <a:lnTo>
                    <a:pt x="4004" y="2570"/>
                  </a:lnTo>
                  <a:lnTo>
                    <a:pt x="3994" y="2562"/>
                  </a:lnTo>
                  <a:lnTo>
                    <a:pt x="3984" y="2554"/>
                  </a:lnTo>
                  <a:lnTo>
                    <a:pt x="3966" y="2534"/>
                  </a:lnTo>
                  <a:lnTo>
                    <a:pt x="3952" y="2516"/>
                  </a:lnTo>
                  <a:lnTo>
                    <a:pt x="3946" y="2510"/>
                  </a:lnTo>
                  <a:lnTo>
                    <a:pt x="3940" y="2506"/>
                  </a:lnTo>
                  <a:lnTo>
                    <a:pt x="3934" y="2504"/>
                  </a:lnTo>
                  <a:lnTo>
                    <a:pt x="3930" y="2504"/>
                  </a:lnTo>
                  <a:lnTo>
                    <a:pt x="3926" y="2508"/>
                  </a:lnTo>
                  <a:lnTo>
                    <a:pt x="3924" y="2512"/>
                  </a:lnTo>
                  <a:lnTo>
                    <a:pt x="3924" y="2520"/>
                  </a:lnTo>
                  <a:lnTo>
                    <a:pt x="3928" y="2530"/>
                  </a:lnTo>
                  <a:lnTo>
                    <a:pt x="3932" y="2540"/>
                  </a:lnTo>
                  <a:lnTo>
                    <a:pt x="3932" y="2546"/>
                  </a:lnTo>
                  <a:lnTo>
                    <a:pt x="3932" y="2552"/>
                  </a:lnTo>
                  <a:lnTo>
                    <a:pt x="3930" y="2556"/>
                  </a:lnTo>
                  <a:lnTo>
                    <a:pt x="3928" y="2564"/>
                  </a:lnTo>
                  <a:lnTo>
                    <a:pt x="3926" y="2568"/>
                  </a:lnTo>
                  <a:lnTo>
                    <a:pt x="3928" y="2574"/>
                  </a:lnTo>
                  <a:lnTo>
                    <a:pt x="3928" y="2580"/>
                  </a:lnTo>
                  <a:lnTo>
                    <a:pt x="3928" y="2584"/>
                  </a:lnTo>
                  <a:lnTo>
                    <a:pt x="3922" y="2594"/>
                  </a:lnTo>
                  <a:lnTo>
                    <a:pt x="3918" y="2602"/>
                  </a:lnTo>
                  <a:lnTo>
                    <a:pt x="3916" y="2606"/>
                  </a:lnTo>
                  <a:lnTo>
                    <a:pt x="3916" y="2610"/>
                  </a:lnTo>
                  <a:lnTo>
                    <a:pt x="3918" y="2620"/>
                  </a:lnTo>
                  <a:lnTo>
                    <a:pt x="3918" y="2630"/>
                  </a:lnTo>
                  <a:lnTo>
                    <a:pt x="3914" y="2634"/>
                  </a:lnTo>
                  <a:lnTo>
                    <a:pt x="3912" y="2636"/>
                  </a:lnTo>
                  <a:lnTo>
                    <a:pt x="3906" y="2636"/>
                  </a:lnTo>
                  <a:lnTo>
                    <a:pt x="3900" y="2632"/>
                  </a:lnTo>
                  <a:lnTo>
                    <a:pt x="3886" y="2626"/>
                  </a:lnTo>
                  <a:lnTo>
                    <a:pt x="3876" y="2624"/>
                  </a:lnTo>
                  <a:lnTo>
                    <a:pt x="3874" y="2624"/>
                  </a:lnTo>
                  <a:lnTo>
                    <a:pt x="3872" y="2628"/>
                  </a:lnTo>
                  <a:lnTo>
                    <a:pt x="3874" y="2630"/>
                  </a:lnTo>
                  <a:lnTo>
                    <a:pt x="3878" y="2636"/>
                  </a:lnTo>
                  <a:lnTo>
                    <a:pt x="3880" y="2640"/>
                  </a:lnTo>
                  <a:lnTo>
                    <a:pt x="3880" y="2642"/>
                  </a:lnTo>
                  <a:lnTo>
                    <a:pt x="3878" y="2648"/>
                  </a:lnTo>
                  <a:lnTo>
                    <a:pt x="3872" y="2656"/>
                  </a:lnTo>
                  <a:lnTo>
                    <a:pt x="3866" y="2662"/>
                  </a:lnTo>
                  <a:lnTo>
                    <a:pt x="3858" y="2670"/>
                  </a:lnTo>
                  <a:lnTo>
                    <a:pt x="3854" y="2676"/>
                  </a:lnTo>
                  <a:lnTo>
                    <a:pt x="3852" y="2680"/>
                  </a:lnTo>
                  <a:lnTo>
                    <a:pt x="3852" y="2682"/>
                  </a:lnTo>
                  <a:lnTo>
                    <a:pt x="3854" y="2686"/>
                  </a:lnTo>
                  <a:lnTo>
                    <a:pt x="3856" y="2690"/>
                  </a:lnTo>
                  <a:lnTo>
                    <a:pt x="3862" y="2694"/>
                  </a:lnTo>
                  <a:lnTo>
                    <a:pt x="3866" y="2700"/>
                  </a:lnTo>
                  <a:lnTo>
                    <a:pt x="3866" y="2706"/>
                  </a:lnTo>
                  <a:lnTo>
                    <a:pt x="3864" y="2710"/>
                  </a:lnTo>
                  <a:lnTo>
                    <a:pt x="3860" y="2722"/>
                  </a:lnTo>
                  <a:lnTo>
                    <a:pt x="3862" y="2726"/>
                  </a:lnTo>
                  <a:lnTo>
                    <a:pt x="3864" y="2732"/>
                  </a:lnTo>
                  <a:lnTo>
                    <a:pt x="3866" y="2734"/>
                  </a:lnTo>
                  <a:lnTo>
                    <a:pt x="3870" y="2736"/>
                  </a:lnTo>
                  <a:lnTo>
                    <a:pt x="3874" y="2732"/>
                  </a:lnTo>
                  <a:lnTo>
                    <a:pt x="3880" y="2720"/>
                  </a:lnTo>
                  <a:lnTo>
                    <a:pt x="3884" y="2712"/>
                  </a:lnTo>
                  <a:lnTo>
                    <a:pt x="3888" y="2710"/>
                  </a:lnTo>
                  <a:lnTo>
                    <a:pt x="3890" y="2712"/>
                  </a:lnTo>
                  <a:lnTo>
                    <a:pt x="3896" y="2714"/>
                  </a:lnTo>
                  <a:lnTo>
                    <a:pt x="3900" y="2714"/>
                  </a:lnTo>
                  <a:lnTo>
                    <a:pt x="3908" y="2712"/>
                  </a:lnTo>
                  <a:lnTo>
                    <a:pt x="3912" y="2710"/>
                  </a:lnTo>
                  <a:lnTo>
                    <a:pt x="3910" y="2706"/>
                  </a:lnTo>
                  <a:lnTo>
                    <a:pt x="3894" y="2698"/>
                  </a:lnTo>
                  <a:lnTo>
                    <a:pt x="3886" y="2692"/>
                  </a:lnTo>
                  <a:lnTo>
                    <a:pt x="3878" y="2686"/>
                  </a:lnTo>
                  <a:lnTo>
                    <a:pt x="3874" y="2680"/>
                  </a:lnTo>
                  <a:lnTo>
                    <a:pt x="3874" y="2676"/>
                  </a:lnTo>
                  <a:lnTo>
                    <a:pt x="3876" y="2672"/>
                  </a:lnTo>
                  <a:lnTo>
                    <a:pt x="3882" y="2666"/>
                  </a:lnTo>
                  <a:lnTo>
                    <a:pt x="3886" y="2666"/>
                  </a:lnTo>
                  <a:lnTo>
                    <a:pt x="3888" y="2668"/>
                  </a:lnTo>
                  <a:lnTo>
                    <a:pt x="3892" y="2670"/>
                  </a:lnTo>
                  <a:lnTo>
                    <a:pt x="3896" y="2674"/>
                  </a:lnTo>
                  <a:lnTo>
                    <a:pt x="3900" y="2676"/>
                  </a:lnTo>
                  <a:lnTo>
                    <a:pt x="3906" y="2676"/>
                  </a:lnTo>
                  <a:lnTo>
                    <a:pt x="3912" y="2674"/>
                  </a:lnTo>
                  <a:lnTo>
                    <a:pt x="3918" y="2670"/>
                  </a:lnTo>
                  <a:lnTo>
                    <a:pt x="3924" y="2668"/>
                  </a:lnTo>
                  <a:lnTo>
                    <a:pt x="3930" y="2666"/>
                  </a:lnTo>
                  <a:lnTo>
                    <a:pt x="3936" y="2668"/>
                  </a:lnTo>
                  <a:lnTo>
                    <a:pt x="3954" y="2678"/>
                  </a:lnTo>
                  <a:lnTo>
                    <a:pt x="3984" y="2698"/>
                  </a:lnTo>
                  <a:lnTo>
                    <a:pt x="3992" y="2700"/>
                  </a:lnTo>
                  <a:lnTo>
                    <a:pt x="3996" y="2698"/>
                  </a:lnTo>
                  <a:lnTo>
                    <a:pt x="4000" y="2692"/>
                  </a:lnTo>
                  <a:lnTo>
                    <a:pt x="4002" y="2684"/>
                  </a:lnTo>
                  <a:lnTo>
                    <a:pt x="4008" y="2664"/>
                  </a:lnTo>
                  <a:lnTo>
                    <a:pt x="4012" y="2656"/>
                  </a:lnTo>
                  <a:lnTo>
                    <a:pt x="4018" y="2652"/>
                  </a:lnTo>
                  <a:lnTo>
                    <a:pt x="4030" y="2648"/>
                  </a:lnTo>
                  <a:lnTo>
                    <a:pt x="4042" y="2646"/>
                  </a:lnTo>
                  <a:lnTo>
                    <a:pt x="4054" y="2644"/>
                  </a:lnTo>
                  <a:lnTo>
                    <a:pt x="4068" y="2640"/>
                  </a:lnTo>
                  <a:lnTo>
                    <a:pt x="4090" y="2630"/>
                  </a:lnTo>
                  <a:lnTo>
                    <a:pt x="4096" y="2626"/>
                  </a:lnTo>
                  <a:lnTo>
                    <a:pt x="4096" y="2624"/>
                  </a:lnTo>
                  <a:lnTo>
                    <a:pt x="4094" y="2622"/>
                  </a:lnTo>
                  <a:lnTo>
                    <a:pt x="4092" y="2620"/>
                  </a:lnTo>
                  <a:lnTo>
                    <a:pt x="4090" y="2620"/>
                  </a:lnTo>
                  <a:lnTo>
                    <a:pt x="4084" y="2622"/>
                  </a:lnTo>
                  <a:lnTo>
                    <a:pt x="4082" y="2622"/>
                  </a:lnTo>
                  <a:lnTo>
                    <a:pt x="4078" y="2622"/>
                  </a:lnTo>
                  <a:lnTo>
                    <a:pt x="4074" y="2618"/>
                  </a:lnTo>
                  <a:lnTo>
                    <a:pt x="4070" y="2610"/>
                  </a:lnTo>
                  <a:close/>
                  <a:moveTo>
                    <a:pt x="3802" y="2924"/>
                  </a:moveTo>
                  <a:lnTo>
                    <a:pt x="3802" y="2924"/>
                  </a:lnTo>
                  <a:lnTo>
                    <a:pt x="3806" y="2916"/>
                  </a:lnTo>
                  <a:lnTo>
                    <a:pt x="3806" y="2908"/>
                  </a:lnTo>
                  <a:lnTo>
                    <a:pt x="3804" y="2906"/>
                  </a:lnTo>
                  <a:lnTo>
                    <a:pt x="3802" y="2904"/>
                  </a:lnTo>
                  <a:lnTo>
                    <a:pt x="3800" y="2906"/>
                  </a:lnTo>
                  <a:lnTo>
                    <a:pt x="3796" y="2910"/>
                  </a:lnTo>
                  <a:lnTo>
                    <a:pt x="3792" y="2914"/>
                  </a:lnTo>
                  <a:lnTo>
                    <a:pt x="3792" y="2918"/>
                  </a:lnTo>
                  <a:lnTo>
                    <a:pt x="3792" y="2922"/>
                  </a:lnTo>
                  <a:lnTo>
                    <a:pt x="3792" y="2924"/>
                  </a:lnTo>
                  <a:lnTo>
                    <a:pt x="3794" y="2926"/>
                  </a:lnTo>
                  <a:lnTo>
                    <a:pt x="3798" y="2928"/>
                  </a:lnTo>
                  <a:lnTo>
                    <a:pt x="3800" y="2926"/>
                  </a:lnTo>
                  <a:lnTo>
                    <a:pt x="3802" y="2924"/>
                  </a:lnTo>
                  <a:close/>
                  <a:moveTo>
                    <a:pt x="3594" y="3018"/>
                  </a:moveTo>
                  <a:lnTo>
                    <a:pt x="3594" y="3018"/>
                  </a:lnTo>
                  <a:lnTo>
                    <a:pt x="3596" y="3016"/>
                  </a:lnTo>
                  <a:lnTo>
                    <a:pt x="3596" y="3014"/>
                  </a:lnTo>
                  <a:lnTo>
                    <a:pt x="3594" y="3010"/>
                  </a:lnTo>
                  <a:lnTo>
                    <a:pt x="3592" y="3010"/>
                  </a:lnTo>
                  <a:lnTo>
                    <a:pt x="3590" y="3012"/>
                  </a:lnTo>
                  <a:lnTo>
                    <a:pt x="3588" y="3014"/>
                  </a:lnTo>
                  <a:lnTo>
                    <a:pt x="3590" y="3018"/>
                  </a:lnTo>
                  <a:lnTo>
                    <a:pt x="3594" y="3018"/>
                  </a:lnTo>
                  <a:close/>
                  <a:moveTo>
                    <a:pt x="3048" y="4040"/>
                  </a:moveTo>
                  <a:lnTo>
                    <a:pt x="3048" y="4040"/>
                  </a:lnTo>
                  <a:lnTo>
                    <a:pt x="3046" y="4042"/>
                  </a:lnTo>
                  <a:lnTo>
                    <a:pt x="3044" y="4044"/>
                  </a:lnTo>
                  <a:lnTo>
                    <a:pt x="3042" y="4050"/>
                  </a:lnTo>
                  <a:lnTo>
                    <a:pt x="3044" y="4056"/>
                  </a:lnTo>
                  <a:lnTo>
                    <a:pt x="3046" y="4062"/>
                  </a:lnTo>
                  <a:lnTo>
                    <a:pt x="3048" y="4064"/>
                  </a:lnTo>
                  <a:lnTo>
                    <a:pt x="3050" y="4068"/>
                  </a:lnTo>
                  <a:lnTo>
                    <a:pt x="3052" y="4098"/>
                  </a:lnTo>
                  <a:lnTo>
                    <a:pt x="3054" y="4116"/>
                  </a:lnTo>
                  <a:lnTo>
                    <a:pt x="3056" y="4120"/>
                  </a:lnTo>
                  <a:lnTo>
                    <a:pt x="3058" y="4120"/>
                  </a:lnTo>
                  <a:lnTo>
                    <a:pt x="3062" y="4120"/>
                  </a:lnTo>
                  <a:lnTo>
                    <a:pt x="3064" y="4122"/>
                  </a:lnTo>
                  <a:lnTo>
                    <a:pt x="3066" y="4126"/>
                  </a:lnTo>
                  <a:lnTo>
                    <a:pt x="3070" y="4134"/>
                  </a:lnTo>
                  <a:lnTo>
                    <a:pt x="3074" y="4138"/>
                  </a:lnTo>
                  <a:lnTo>
                    <a:pt x="3076" y="4134"/>
                  </a:lnTo>
                  <a:lnTo>
                    <a:pt x="3076" y="4128"/>
                  </a:lnTo>
                  <a:lnTo>
                    <a:pt x="3078" y="4120"/>
                  </a:lnTo>
                  <a:lnTo>
                    <a:pt x="3078" y="4118"/>
                  </a:lnTo>
                  <a:lnTo>
                    <a:pt x="3082" y="4118"/>
                  </a:lnTo>
                  <a:lnTo>
                    <a:pt x="3086" y="4122"/>
                  </a:lnTo>
                  <a:lnTo>
                    <a:pt x="3090" y="4126"/>
                  </a:lnTo>
                  <a:lnTo>
                    <a:pt x="3092" y="4130"/>
                  </a:lnTo>
                  <a:lnTo>
                    <a:pt x="3090" y="4134"/>
                  </a:lnTo>
                  <a:lnTo>
                    <a:pt x="3086" y="4140"/>
                  </a:lnTo>
                  <a:lnTo>
                    <a:pt x="3080" y="4146"/>
                  </a:lnTo>
                  <a:lnTo>
                    <a:pt x="3076" y="4156"/>
                  </a:lnTo>
                  <a:lnTo>
                    <a:pt x="3078" y="4164"/>
                  </a:lnTo>
                  <a:lnTo>
                    <a:pt x="3078" y="4166"/>
                  </a:lnTo>
                  <a:lnTo>
                    <a:pt x="3082" y="4166"/>
                  </a:lnTo>
                  <a:lnTo>
                    <a:pt x="3084" y="4164"/>
                  </a:lnTo>
                  <a:lnTo>
                    <a:pt x="3088" y="4166"/>
                  </a:lnTo>
                  <a:lnTo>
                    <a:pt x="3092" y="4170"/>
                  </a:lnTo>
                  <a:lnTo>
                    <a:pt x="3096" y="4174"/>
                  </a:lnTo>
                  <a:lnTo>
                    <a:pt x="3100" y="4176"/>
                  </a:lnTo>
                  <a:lnTo>
                    <a:pt x="3104" y="4178"/>
                  </a:lnTo>
                  <a:lnTo>
                    <a:pt x="3112" y="4176"/>
                  </a:lnTo>
                  <a:lnTo>
                    <a:pt x="3112" y="4174"/>
                  </a:lnTo>
                  <a:lnTo>
                    <a:pt x="3112" y="4168"/>
                  </a:lnTo>
                  <a:lnTo>
                    <a:pt x="3112" y="4166"/>
                  </a:lnTo>
                  <a:lnTo>
                    <a:pt x="3116" y="4164"/>
                  </a:lnTo>
                  <a:lnTo>
                    <a:pt x="3120" y="4160"/>
                  </a:lnTo>
                  <a:lnTo>
                    <a:pt x="3124" y="4160"/>
                  </a:lnTo>
                  <a:lnTo>
                    <a:pt x="3138" y="4172"/>
                  </a:lnTo>
                  <a:lnTo>
                    <a:pt x="3144" y="4176"/>
                  </a:lnTo>
                  <a:lnTo>
                    <a:pt x="3148" y="4180"/>
                  </a:lnTo>
                  <a:lnTo>
                    <a:pt x="3152" y="4188"/>
                  </a:lnTo>
                  <a:lnTo>
                    <a:pt x="3154" y="4196"/>
                  </a:lnTo>
                  <a:lnTo>
                    <a:pt x="3156" y="4198"/>
                  </a:lnTo>
                  <a:lnTo>
                    <a:pt x="3158" y="4198"/>
                  </a:lnTo>
                  <a:lnTo>
                    <a:pt x="3162" y="4198"/>
                  </a:lnTo>
                  <a:lnTo>
                    <a:pt x="3162" y="4196"/>
                  </a:lnTo>
                  <a:lnTo>
                    <a:pt x="3162" y="4188"/>
                  </a:lnTo>
                  <a:lnTo>
                    <a:pt x="3154" y="4170"/>
                  </a:lnTo>
                  <a:lnTo>
                    <a:pt x="3154" y="4166"/>
                  </a:lnTo>
                  <a:lnTo>
                    <a:pt x="3154" y="4164"/>
                  </a:lnTo>
                  <a:lnTo>
                    <a:pt x="3160" y="4164"/>
                  </a:lnTo>
                  <a:lnTo>
                    <a:pt x="3164" y="4168"/>
                  </a:lnTo>
                  <a:lnTo>
                    <a:pt x="3168" y="4174"/>
                  </a:lnTo>
                  <a:lnTo>
                    <a:pt x="3172" y="4180"/>
                  </a:lnTo>
                  <a:lnTo>
                    <a:pt x="3176" y="4182"/>
                  </a:lnTo>
                  <a:lnTo>
                    <a:pt x="3180" y="4186"/>
                  </a:lnTo>
                  <a:lnTo>
                    <a:pt x="3184" y="4192"/>
                  </a:lnTo>
                  <a:lnTo>
                    <a:pt x="3186" y="4198"/>
                  </a:lnTo>
                  <a:lnTo>
                    <a:pt x="3186" y="4202"/>
                  </a:lnTo>
                  <a:lnTo>
                    <a:pt x="3188" y="4206"/>
                  </a:lnTo>
                  <a:lnTo>
                    <a:pt x="3196" y="4210"/>
                  </a:lnTo>
                  <a:lnTo>
                    <a:pt x="3206" y="4216"/>
                  </a:lnTo>
                  <a:lnTo>
                    <a:pt x="3210" y="4218"/>
                  </a:lnTo>
                  <a:lnTo>
                    <a:pt x="3212" y="4222"/>
                  </a:lnTo>
                  <a:lnTo>
                    <a:pt x="3212" y="4228"/>
                  </a:lnTo>
                  <a:lnTo>
                    <a:pt x="3216" y="4232"/>
                  </a:lnTo>
                  <a:lnTo>
                    <a:pt x="3218" y="4230"/>
                  </a:lnTo>
                  <a:lnTo>
                    <a:pt x="3220" y="4224"/>
                  </a:lnTo>
                  <a:lnTo>
                    <a:pt x="3222" y="4216"/>
                  </a:lnTo>
                  <a:lnTo>
                    <a:pt x="3222" y="4208"/>
                  </a:lnTo>
                  <a:lnTo>
                    <a:pt x="3220" y="4204"/>
                  </a:lnTo>
                  <a:lnTo>
                    <a:pt x="3218" y="4202"/>
                  </a:lnTo>
                  <a:lnTo>
                    <a:pt x="3210" y="4200"/>
                  </a:lnTo>
                  <a:lnTo>
                    <a:pt x="3206" y="4200"/>
                  </a:lnTo>
                  <a:lnTo>
                    <a:pt x="3206" y="4196"/>
                  </a:lnTo>
                  <a:lnTo>
                    <a:pt x="3206" y="4194"/>
                  </a:lnTo>
                  <a:lnTo>
                    <a:pt x="3206" y="4192"/>
                  </a:lnTo>
                  <a:lnTo>
                    <a:pt x="3204" y="4186"/>
                  </a:lnTo>
                  <a:lnTo>
                    <a:pt x="3198" y="4182"/>
                  </a:lnTo>
                  <a:lnTo>
                    <a:pt x="3196" y="4178"/>
                  </a:lnTo>
                  <a:lnTo>
                    <a:pt x="3194" y="4174"/>
                  </a:lnTo>
                  <a:lnTo>
                    <a:pt x="3196" y="4174"/>
                  </a:lnTo>
                  <a:lnTo>
                    <a:pt x="3198" y="4174"/>
                  </a:lnTo>
                  <a:lnTo>
                    <a:pt x="3206" y="4174"/>
                  </a:lnTo>
                  <a:lnTo>
                    <a:pt x="3210" y="4172"/>
                  </a:lnTo>
                  <a:lnTo>
                    <a:pt x="3212" y="4172"/>
                  </a:lnTo>
                  <a:lnTo>
                    <a:pt x="3214" y="4168"/>
                  </a:lnTo>
                  <a:lnTo>
                    <a:pt x="3210" y="4164"/>
                  </a:lnTo>
                  <a:lnTo>
                    <a:pt x="3194" y="4156"/>
                  </a:lnTo>
                  <a:lnTo>
                    <a:pt x="3190" y="4154"/>
                  </a:lnTo>
                  <a:lnTo>
                    <a:pt x="3186" y="4156"/>
                  </a:lnTo>
                  <a:lnTo>
                    <a:pt x="3186" y="4158"/>
                  </a:lnTo>
                  <a:lnTo>
                    <a:pt x="3184" y="4162"/>
                  </a:lnTo>
                  <a:lnTo>
                    <a:pt x="3184" y="4170"/>
                  </a:lnTo>
                  <a:lnTo>
                    <a:pt x="3182" y="4172"/>
                  </a:lnTo>
                  <a:lnTo>
                    <a:pt x="3180" y="4170"/>
                  </a:lnTo>
                  <a:lnTo>
                    <a:pt x="3178" y="4168"/>
                  </a:lnTo>
                  <a:lnTo>
                    <a:pt x="3176" y="4164"/>
                  </a:lnTo>
                  <a:lnTo>
                    <a:pt x="3176" y="4158"/>
                  </a:lnTo>
                  <a:lnTo>
                    <a:pt x="3176" y="4154"/>
                  </a:lnTo>
                  <a:lnTo>
                    <a:pt x="3174" y="4150"/>
                  </a:lnTo>
                  <a:lnTo>
                    <a:pt x="3170" y="4146"/>
                  </a:lnTo>
                  <a:lnTo>
                    <a:pt x="3164" y="4142"/>
                  </a:lnTo>
                  <a:lnTo>
                    <a:pt x="3158" y="4140"/>
                  </a:lnTo>
                  <a:lnTo>
                    <a:pt x="3154" y="4140"/>
                  </a:lnTo>
                  <a:lnTo>
                    <a:pt x="3152" y="4140"/>
                  </a:lnTo>
                  <a:lnTo>
                    <a:pt x="3150" y="4142"/>
                  </a:lnTo>
                  <a:lnTo>
                    <a:pt x="3148" y="4146"/>
                  </a:lnTo>
                  <a:lnTo>
                    <a:pt x="3144" y="4146"/>
                  </a:lnTo>
                  <a:lnTo>
                    <a:pt x="3142" y="4146"/>
                  </a:lnTo>
                  <a:lnTo>
                    <a:pt x="3140" y="4148"/>
                  </a:lnTo>
                  <a:lnTo>
                    <a:pt x="3140" y="4152"/>
                  </a:lnTo>
                  <a:lnTo>
                    <a:pt x="3140" y="4158"/>
                  </a:lnTo>
                  <a:lnTo>
                    <a:pt x="3138" y="4158"/>
                  </a:lnTo>
                  <a:lnTo>
                    <a:pt x="3136" y="4158"/>
                  </a:lnTo>
                  <a:lnTo>
                    <a:pt x="3130" y="4156"/>
                  </a:lnTo>
                  <a:lnTo>
                    <a:pt x="3126" y="4152"/>
                  </a:lnTo>
                  <a:lnTo>
                    <a:pt x="3122" y="4142"/>
                  </a:lnTo>
                  <a:lnTo>
                    <a:pt x="3120" y="4132"/>
                  </a:lnTo>
                  <a:lnTo>
                    <a:pt x="3120" y="4124"/>
                  </a:lnTo>
                  <a:lnTo>
                    <a:pt x="3120" y="4120"/>
                  </a:lnTo>
                  <a:lnTo>
                    <a:pt x="3120" y="4116"/>
                  </a:lnTo>
                  <a:lnTo>
                    <a:pt x="3116" y="4104"/>
                  </a:lnTo>
                  <a:lnTo>
                    <a:pt x="3112" y="4092"/>
                  </a:lnTo>
                  <a:lnTo>
                    <a:pt x="3112" y="4086"/>
                  </a:lnTo>
                  <a:lnTo>
                    <a:pt x="3116" y="4082"/>
                  </a:lnTo>
                  <a:lnTo>
                    <a:pt x="3120" y="4072"/>
                  </a:lnTo>
                  <a:lnTo>
                    <a:pt x="3120" y="4066"/>
                  </a:lnTo>
                  <a:lnTo>
                    <a:pt x="3120" y="4062"/>
                  </a:lnTo>
                  <a:lnTo>
                    <a:pt x="3124" y="4054"/>
                  </a:lnTo>
                  <a:lnTo>
                    <a:pt x="3128" y="4052"/>
                  </a:lnTo>
                  <a:lnTo>
                    <a:pt x="3130" y="4050"/>
                  </a:lnTo>
                  <a:lnTo>
                    <a:pt x="3132" y="4052"/>
                  </a:lnTo>
                  <a:lnTo>
                    <a:pt x="3134" y="4052"/>
                  </a:lnTo>
                  <a:lnTo>
                    <a:pt x="3136" y="4056"/>
                  </a:lnTo>
                  <a:lnTo>
                    <a:pt x="3138" y="4056"/>
                  </a:lnTo>
                  <a:lnTo>
                    <a:pt x="3144" y="4046"/>
                  </a:lnTo>
                  <a:lnTo>
                    <a:pt x="3148" y="4034"/>
                  </a:lnTo>
                  <a:lnTo>
                    <a:pt x="3154" y="4008"/>
                  </a:lnTo>
                  <a:lnTo>
                    <a:pt x="3154" y="4006"/>
                  </a:lnTo>
                  <a:lnTo>
                    <a:pt x="3152" y="4002"/>
                  </a:lnTo>
                  <a:lnTo>
                    <a:pt x="3146" y="3992"/>
                  </a:lnTo>
                  <a:lnTo>
                    <a:pt x="3144" y="3986"/>
                  </a:lnTo>
                  <a:lnTo>
                    <a:pt x="3142" y="3978"/>
                  </a:lnTo>
                  <a:lnTo>
                    <a:pt x="3142" y="3970"/>
                  </a:lnTo>
                  <a:lnTo>
                    <a:pt x="3144" y="3960"/>
                  </a:lnTo>
                  <a:lnTo>
                    <a:pt x="3148" y="3944"/>
                  </a:lnTo>
                  <a:lnTo>
                    <a:pt x="3146" y="3936"/>
                  </a:lnTo>
                  <a:lnTo>
                    <a:pt x="3146" y="3934"/>
                  </a:lnTo>
                  <a:lnTo>
                    <a:pt x="3142" y="3934"/>
                  </a:lnTo>
                  <a:lnTo>
                    <a:pt x="3140" y="3936"/>
                  </a:lnTo>
                  <a:lnTo>
                    <a:pt x="3136" y="3942"/>
                  </a:lnTo>
                  <a:lnTo>
                    <a:pt x="3132" y="3946"/>
                  </a:lnTo>
                  <a:lnTo>
                    <a:pt x="3126" y="3944"/>
                  </a:lnTo>
                  <a:lnTo>
                    <a:pt x="3122" y="3942"/>
                  </a:lnTo>
                  <a:lnTo>
                    <a:pt x="3114" y="3938"/>
                  </a:lnTo>
                  <a:lnTo>
                    <a:pt x="3100" y="3930"/>
                  </a:lnTo>
                  <a:lnTo>
                    <a:pt x="3094" y="3926"/>
                  </a:lnTo>
                  <a:lnTo>
                    <a:pt x="3086" y="3928"/>
                  </a:lnTo>
                  <a:lnTo>
                    <a:pt x="3076" y="3932"/>
                  </a:lnTo>
                  <a:lnTo>
                    <a:pt x="3076" y="3936"/>
                  </a:lnTo>
                  <a:lnTo>
                    <a:pt x="3074" y="3938"/>
                  </a:lnTo>
                  <a:lnTo>
                    <a:pt x="3074" y="3946"/>
                  </a:lnTo>
                  <a:lnTo>
                    <a:pt x="3074" y="3952"/>
                  </a:lnTo>
                  <a:lnTo>
                    <a:pt x="3072" y="3958"/>
                  </a:lnTo>
                  <a:lnTo>
                    <a:pt x="3068" y="3966"/>
                  </a:lnTo>
                  <a:lnTo>
                    <a:pt x="3068" y="3972"/>
                  </a:lnTo>
                  <a:lnTo>
                    <a:pt x="3068" y="3986"/>
                  </a:lnTo>
                  <a:lnTo>
                    <a:pt x="3070" y="4000"/>
                  </a:lnTo>
                  <a:lnTo>
                    <a:pt x="3068" y="4010"/>
                  </a:lnTo>
                  <a:lnTo>
                    <a:pt x="3066" y="4018"/>
                  </a:lnTo>
                  <a:lnTo>
                    <a:pt x="3064" y="4026"/>
                  </a:lnTo>
                  <a:lnTo>
                    <a:pt x="3062" y="4032"/>
                  </a:lnTo>
                  <a:lnTo>
                    <a:pt x="3064" y="4038"/>
                  </a:lnTo>
                  <a:lnTo>
                    <a:pt x="3066" y="4040"/>
                  </a:lnTo>
                  <a:lnTo>
                    <a:pt x="3068" y="4046"/>
                  </a:lnTo>
                  <a:lnTo>
                    <a:pt x="3070" y="4050"/>
                  </a:lnTo>
                  <a:lnTo>
                    <a:pt x="3068" y="4054"/>
                  </a:lnTo>
                  <a:lnTo>
                    <a:pt x="3066" y="4058"/>
                  </a:lnTo>
                  <a:lnTo>
                    <a:pt x="3062" y="4060"/>
                  </a:lnTo>
                  <a:lnTo>
                    <a:pt x="3060" y="4056"/>
                  </a:lnTo>
                  <a:lnTo>
                    <a:pt x="3058" y="4054"/>
                  </a:lnTo>
                  <a:lnTo>
                    <a:pt x="3052" y="4044"/>
                  </a:lnTo>
                  <a:lnTo>
                    <a:pt x="3050" y="4042"/>
                  </a:lnTo>
                  <a:lnTo>
                    <a:pt x="3048" y="4040"/>
                  </a:lnTo>
                  <a:close/>
                  <a:moveTo>
                    <a:pt x="3012" y="4336"/>
                  </a:moveTo>
                  <a:lnTo>
                    <a:pt x="3012" y="4336"/>
                  </a:lnTo>
                  <a:lnTo>
                    <a:pt x="2996" y="4362"/>
                  </a:lnTo>
                  <a:lnTo>
                    <a:pt x="2978" y="4384"/>
                  </a:lnTo>
                  <a:lnTo>
                    <a:pt x="2960" y="4400"/>
                  </a:lnTo>
                  <a:lnTo>
                    <a:pt x="2950" y="4412"/>
                  </a:lnTo>
                  <a:lnTo>
                    <a:pt x="2948" y="4420"/>
                  </a:lnTo>
                  <a:lnTo>
                    <a:pt x="2944" y="4428"/>
                  </a:lnTo>
                  <a:lnTo>
                    <a:pt x="2944" y="4432"/>
                  </a:lnTo>
                  <a:lnTo>
                    <a:pt x="2946" y="4434"/>
                  </a:lnTo>
                  <a:lnTo>
                    <a:pt x="2950" y="4432"/>
                  </a:lnTo>
                  <a:lnTo>
                    <a:pt x="2954" y="4426"/>
                  </a:lnTo>
                  <a:lnTo>
                    <a:pt x="2960" y="4422"/>
                  </a:lnTo>
                  <a:lnTo>
                    <a:pt x="2968" y="4410"/>
                  </a:lnTo>
                  <a:lnTo>
                    <a:pt x="2994" y="4388"/>
                  </a:lnTo>
                  <a:lnTo>
                    <a:pt x="3002" y="4380"/>
                  </a:lnTo>
                  <a:lnTo>
                    <a:pt x="3006" y="4372"/>
                  </a:lnTo>
                  <a:lnTo>
                    <a:pt x="3008" y="4368"/>
                  </a:lnTo>
                  <a:lnTo>
                    <a:pt x="3008" y="4364"/>
                  </a:lnTo>
                  <a:lnTo>
                    <a:pt x="3010" y="4358"/>
                  </a:lnTo>
                  <a:lnTo>
                    <a:pt x="3012" y="4356"/>
                  </a:lnTo>
                  <a:lnTo>
                    <a:pt x="3016" y="4354"/>
                  </a:lnTo>
                  <a:lnTo>
                    <a:pt x="3022" y="4352"/>
                  </a:lnTo>
                  <a:lnTo>
                    <a:pt x="3024" y="4350"/>
                  </a:lnTo>
                  <a:lnTo>
                    <a:pt x="3028" y="4344"/>
                  </a:lnTo>
                  <a:lnTo>
                    <a:pt x="3030" y="4338"/>
                  </a:lnTo>
                  <a:lnTo>
                    <a:pt x="3030" y="4336"/>
                  </a:lnTo>
                  <a:lnTo>
                    <a:pt x="3034" y="4336"/>
                  </a:lnTo>
                  <a:lnTo>
                    <a:pt x="3038" y="4334"/>
                  </a:lnTo>
                  <a:lnTo>
                    <a:pt x="3042" y="4330"/>
                  </a:lnTo>
                  <a:lnTo>
                    <a:pt x="3044" y="4324"/>
                  </a:lnTo>
                  <a:lnTo>
                    <a:pt x="3042" y="4316"/>
                  </a:lnTo>
                  <a:lnTo>
                    <a:pt x="3040" y="4312"/>
                  </a:lnTo>
                  <a:lnTo>
                    <a:pt x="3040" y="4306"/>
                  </a:lnTo>
                  <a:lnTo>
                    <a:pt x="3040" y="4296"/>
                  </a:lnTo>
                  <a:lnTo>
                    <a:pt x="3040" y="4288"/>
                  </a:lnTo>
                  <a:lnTo>
                    <a:pt x="3038" y="4286"/>
                  </a:lnTo>
                  <a:lnTo>
                    <a:pt x="3036" y="4284"/>
                  </a:lnTo>
                  <a:lnTo>
                    <a:pt x="3034" y="4284"/>
                  </a:lnTo>
                  <a:lnTo>
                    <a:pt x="3032" y="4286"/>
                  </a:lnTo>
                  <a:lnTo>
                    <a:pt x="3032" y="4294"/>
                  </a:lnTo>
                  <a:lnTo>
                    <a:pt x="3030" y="4302"/>
                  </a:lnTo>
                  <a:lnTo>
                    <a:pt x="3028" y="4304"/>
                  </a:lnTo>
                  <a:lnTo>
                    <a:pt x="3026" y="4306"/>
                  </a:lnTo>
                  <a:lnTo>
                    <a:pt x="3024" y="4306"/>
                  </a:lnTo>
                  <a:lnTo>
                    <a:pt x="3024" y="4308"/>
                  </a:lnTo>
                  <a:lnTo>
                    <a:pt x="3026" y="4312"/>
                  </a:lnTo>
                  <a:lnTo>
                    <a:pt x="3028" y="4318"/>
                  </a:lnTo>
                  <a:lnTo>
                    <a:pt x="3028" y="4322"/>
                  </a:lnTo>
                  <a:lnTo>
                    <a:pt x="3026" y="4326"/>
                  </a:lnTo>
                  <a:lnTo>
                    <a:pt x="3022" y="4330"/>
                  </a:lnTo>
                  <a:lnTo>
                    <a:pt x="3020" y="4328"/>
                  </a:lnTo>
                  <a:lnTo>
                    <a:pt x="3018" y="4328"/>
                  </a:lnTo>
                  <a:lnTo>
                    <a:pt x="3012" y="4336"/>
                  </a:lnTo>
                  <a:close/>
                  <a:moveTo>
                    <a:pt x="3126" y="3596"/>
                  </a:moveTo>
                  <a:lnTo>
                    <a:pt x="3126" y="3596"/>
                  </a:lnTo>
                  <a:lnTo>
                    <a:pt x="3122" y="3592"/>
                  </a:lnTo>
                  <a:lnTo>
                    <a:pt x="3118" y="3590"/>
                  </a:lnTo>
                  <a:lnTo>
                    <a:pt x="3116" y="3590"/>
                  </a:lnTo>
                  <a:lnTo>
                    <a:pt x="3114" y="3590"/>
                  </a:lnTo>
                  <a:lnTo>
                    <a:pt x="3110" y="3594"/>
                  </a:lnTo>
                  <a:lnTo>
                    <a:pt x="3104" y="3598"/>
                  </a:lnTo>
                  <a:lnTo>
                    <a:pt x="3098" y="3600"/>
                  </a:lnTo>
                  <a:lnTo>
                    <a:pt x="3092" y="3608"/>
                  </a:lnTo>
                  <a:lnTo>
                    <a:pt x="3072" y="3644"/>
                  </a:lnTo>
                  <a:lnTo>
                    <a:pt x="3062" y="3662"/>
                  </a:lnTo>
                  <a:lnTo>
                    <a:pt x="3060" y="3678"/>
                  </a:lnTo>
                  <a:lnTo>
                    <a:pt x="3060" y="3694"/>
                  </a:lnTo>
                  <a:lnTo>
                    <a:pt x="3062" y="3712"/>
                  </a:lnTo>
                  <a:lnTo>
                    <a:pt x="3066" y="3726"/>
                  </a:lnTo>
                  <a:lnTo>
                    <a:pt x="3070" y="3730"/>
                  </a:lnTo>
                  <a:lnTo>
                    <a:pt x="3074" y="3734"/>
                  </a:lnTo>
                  <a:lnTo>
                    <a:pt x="3078" y="3742"/>
                  </a:lnTo>
                  <a:lnTo>
                    <a:pt x="3082" y="3752"/>
                  </a:lnTo>
                  <a:lnTo>
                    <a:pt x="3086" y="3762"/>
                  </a:lnTo>
                  <a:lnTo>
                    <a:pt x="3088" y="3764"/>
                  </a:lnTo>
                  <a:lnTo>
                    <a:pt x="3090" y="3762"/>
                  </a:lnTo>
                  <a:lnTo>
                    <a:pt x="3090" y="3756"/>
                  </a:lnTo>
                  <a:lnTo>
                    <a:pt x="3090" y="3748"/>
                  </a:lnTo>
                  <a:lnTo>
                    <a:pt x="3092" y="3738"/>
                  </a:lnTo>
                  <a:lnTo>
                    <a:pt x="3094" y="3730"/>
                  </a:lnTo>
                  <a:lnTo>
                    <a:pt x="3096" y="3726"/>
                  </a:lnTo>
                  <a:lnTo>
                    <a:pt x="3098" y="3722"/>
                  </a:lnTo>
                  <a:lnTo>
                    <a:pt x="3102" y="3718"/>
                  </a:lnTo>
                  <a:lnTo>
                    <a:pt x="3106" y="3712"/>
                  </a:lnTo>
                  <a:lnTo>
                    <a:pt x="3110" y="3702"/>
                  </a:lnTo>
                  <a:lnTo>
                    <a:pt x="3114" y="3690"/>
                  </a:lnTo>
                  <a:lnTo>
                    <a:pt x="3120" y="3662"/>
                  </a:lnTo>
                  <a:lnTo>
                    <a:pt x="3126" y="3644"/>
                  </a:lnTo>
                  <a:lnTo>
                    <a:pt x="3130" y="3632"/>
                  </a:lnTo>
                  <a:lnTo>
                    <a:pt x="3130" y="3628"/>
                  </a:lnTo>
                  <a:lnTo>
                    <a:pt x="3128" y="3622"/>
                  </a:lnTo>
                  <a:lnTo>
                    <a:pt x="3128" y="3618"/>
                  </a:lnTo>
                  <a:lnTo>
                    <a:pt x="3128" y="3614"/>
                  </a:lnTo>
                  <a:lnTo>
                    <a:pt x="3130" y="3610"/>
                  </a:lnTo>
                  <a:lnTo>
                    <a:pt x="3132" y="3608"/>
                  </a:lnTo>
                  <a:lnTo>
                    <a:pt x="3132" y="3604"/>
                  </a:lnTo>
                  <a:lnTo>
                    <a:pt x="3130" y="3600"/>
                  </a:lnTo>
                  <a:lnTo>
                    <a:pt x="3126" y="3596"/>
                  </a:lnTo>
                  <a:close/>
                  <a:moveTo>
                    <a:pt x="4186" y="2510"/>
                  </a:moveTo>
                  <a:lnTo>
                    <a:pt x="4186" y="2510"/>
                  </a:lnTo>
                  <a:lnTo>
                    <a:pt x="4182" y="2506"/>
                  </a:lnTo>
                  <a:lnTo>
                    <a:pt x="4182" y="2510"/>
                  </a:lnTo>
                  <a:lnTo>
                    <a:pt x="4180" y="2516"/>
                  </a:lnTo>
                  <a:lnTo>
                    <a:pt x="4180" y="2518"/>
                  </a:lnTo>
                  <a:lnTo>
                    <a:pt x="4176" y="2522"/>
                  </a:lnTo>
                  <a:lnTo>
                    <a:pt x="4166" y="2526"/>
                  </a:lnTo>
                  <a:lnTo>
                    <a:pt x="4156" y="2534"/>
                  </a:lnTo>
                  <a:lnTo>
                    <a:pt x="4148" y="2544"/>
                  </a:lnTo>
                  <a:lnTo>
                    <a:pt x="4140" y="2558"/>
                  </a:lnTo>
                  <a:lnTo>
                    <a:pt x="4140" y="2560"/>
                  </a:lnTo>
                  <a:lnTo>
                    <a:pt x="4140" y="2562"/>
                  </a:lnTo>
                  <a:lnTo>
                    <a:pt x="4142" y="2564"/>
                  </a:lnTo>
                  <a:lnTo>
                    <a:pt x="4144" y="2562"/>
                  </a:lnTo>
                  <a:lnTo>
                    <a:pt x="4152" y="2556"/>
                  </a:lnTo>
                  <a:lnTo>
                    <a:pt x="4162" y="2546"/>
                  </a:lnTo>
                  <a:lnTo>
                    <a:pt x="4170" y="2536"/>
                  </a:lnTo>
                  <a:lnTo>
                    <a:pt x="4176" y="2532"/>
                  </a:lnTo>
                  <a:lnTo>
                    <a:pt x="4182" y="2528"/>
                  </a:lnTo>
                  <a:lnTo>
                    <a:pt x="4192" y="2522"/>
                  </a:lnTo>
                  <a:lnTo>
                    <a:pt x="4196" y="2518"/>
                  </a:lnTo>
                  <a:lnTo>
                    <a:pt x="4202" y="2516"/>
                  </a:lnTo>
                  <a:lnTo>
                    <a:pt x="4212" y="2512"/>
                  </a:lnTo>
                  <a:lnTo>
                    <a:pt x="4216" y="2510"/>
                  </a:lnTo>
                  <a:lnTo>
                    <a:pt x="4218" y="2508"/>
                  </a:lnTo>
                  <a:lnTo>
                    <a:pt x="4218" y="2506"/>
                  </a:lnTo>
                  <a:lnTo>
                    <a:pt x="4216" y="2502"/>
                  </a:lnTo>
                  <a:lnTo>
                    <a:pt x="4214" y="2500"/>
                  </a:lnTo>
                  <a:lnTo>
                    <a:pt x="4210" y="2500"/>
                  </a:lnTo>
                  <a:lnTo>
                    <a:pt x="4204" y="2504"/>
                  </a:lnTo>
                  <a:lnTo>
                    <a:pt x="4194" y="2510"/>
                  </a:lnTo>
                  <a:lnTo>
                    <a:pt x="4190" y="2510"/>
                  </a:lnTo>
                  <a:lnTo>
                    <a:pt x="4186" y="2510"/>
                  </a:lnTo>
                  <a:close/>
                  <a:moveTo>
                    <a:pt x="3264" y="4226"/>
                  </a:moveTo>
                  <a:lnTo>
                    <a:pt x="3264" y="4226"/>
                  </a:lnTo>
                  <a:lnTo>
                    <a:pt x="3258" y="4226"/>
                  </a:lnTo>
                  <a:lnTo>
                    <a:pt x="3250" y="4226"/>
                  </a:lnTo>
                  <a:lnTo>
                    <a:pt x="3242" y="4228"/>
                  </a:lnTo>
                  <a:lnTo>
                    <a:pt x="3234" y="4226"/>
                  </a:lnTo>
                  <a:lnTo>
                    <a:pt x="3230" y="4226"/>
                  </a:lnTo>
                  <a:lnTo>
                    <a:pt x="3228" y="4228"/>
                  </a:lnTo>
                  <a:lnTo>
                    <a:pt x="3228" y="4234"/>
                  </a:lnTo>
                  <a:lnTo>
                    <a:pt x="3234" y="4244"/>
                  </a:lnTo>
                  <a:lnTo>
                    <a:pt x="3242" y="4252"/>
                  </a:lnTo>
                  <a:lnTo>
                    <a:pt x="3246" y="4258"/>
                  </a:lnTo>
                  <a:lnTo>
                    <a:pt x="3248" y="4260"/>
                  </a:lnTo>
                  <a:lnTo>
                    <a:pt x="3250" y="4262"/>
                  </a:lnTo>
                  <a:lnTo>
                    <a:pt x="3254" y="4264"/>
                  </a:lnTo>
                  <a:lnTo>
                    <a:pt x="3258" y="4266"/>
                  </a:lnTo>
                  <a:lnTo>
                    <a:pt x="3258" y="4268"/>
                  </a:lnTo>
                  <a:lnTo>
                    <a:pt x="3256" y="4272"/>
                  </a:lnTo>
                  <a:lnTo>
                    <a:pt x="3254" y="4276"/>
                  </a:lnTo>
                  <a:lnTo>
                    <a:pt x="3252" y="4276"/>
                  </a:lnTo>
                  <a:lnTo>
                    <a:pt x="3252" y="4278"/>
                  </a:lnTo>
                  <a:lnTo>
                    <a:pt x="3256" y="4282"/>
                  </a:lnTo>
                  <a:lnTo>
                    <a:pt x="3260" y="4288"/>
                  </a:lnTo>
                  <a:lnTo>
                    <a:pt x="3264" y="4296"/>
                  </a:lnTo>
                  <a:lnTo>
                    <a:pt x="3266" y="4298"/>
                  </a:lnTo>
                  <a:lnTo>
                    <a:pt x="3268" y="4300"/>
                  </a:lnTo>
                  <a:lnTo>
                    <a:pt x="3272" y="4298"/>
                  </a:lnTo>
                  <a:lnTo>
                    <a:pt x="3276" y="4298"/>
                  </a:lnTo>
                  <a:lnTo>
                    <a:pt x="3280" y="4298"/>
                  </a:lnTo>
                  <a:lnTo>
                    <a:pt x="3282" y="4300"/>
                  </a:lnTo>
                  <a:lnTo>
                    <a:pt x="3286" y="4302"/>
                  </a:lnTo>
                  <a:lnTo>
                    <a:pt x="3288" y="4300"/>
                  </a:lnTo>
                  <a:lnTo>
                    <a:pt x="3286" y="4296"/>
                  </a:lnTo>
                  <a:lnTo>
                    <a:pt x="3282" y="4292"/>
                  </a:lnTo>
                  <a:lnTo>
                    <a:pt x="3282" y="4290"/>
                  </a:lnTo>
                  <a:lnTo>
                    <a:pt x="3282" y="4288"/>
                  </a:lnTo>
                  <a:lnTo>
                    <a:pt x="3282" y="4284"/>
                  </a:lnTo>
                  <a:lnTo>
                    <a:pt x="3278" y="4280"/>
                  </a:lnTo>
                  <a:lnTo>
                    <a:pt x="3276" y="4276"/>
                  </a:lnTo>
                  <a:lnTo>
                    <a:pt x="3276" y="4272"/>
                  </a:lnTo>
                  <a:lnTo>
                    <a:pt x="3276" y="4260"/>
                  </a:lnTo>
                  <a:lnTo>
                    <a:pt x="3276" y="4248"/>
                  </a:lnTo>
                  <a:lnTo>
                    <a:pt x="3276" y="4242"/>
                  </a:lnTo>
                  <a:lnTo>
                    <a:pt x="3274" y="4240"/>
                  </a:lnTo>
                  <a:lnTo>
                    <a:pt x="3270" y="4236"/>
                  </a:lnTo>
                  <a:lnTo>
                    <a:pt x="3270" y="4234"/>
                  </a:lnTo>
                  <a:lnTo>
                    <a:pt x="3268" y="4230"/>
                  </a:lnTo>
                  <a:lnTo>
                    <a:pt x="3264" y="4226"/>
                  </a:lnTo>
                  <a:close/>
                  <a:moveTo>
                    <a:pt x="2906" y="4970"/>
                  </a:moveTo>
                  <a:lnTo>
                    <a:pt x="2906" y="4970"/>
                  </a:lnTo>
                  <a:lnTo>
                    <a:pt x="2908" y="4964"/>
                  </a:lnTo>
                  <a:lnTo>
                    <a:pt x="2910" y="4962"/>
                  </a:lnTo>
                  <a:lnTo>
                    <a:pt x="2914" y="4960"/>
                  </a:lnTo>
                  <a:lnTo>
                    <a:pt x="2918" y="4958"/>
                  </a:lnTo>
                  <a:lnTo>
                    <a:pt x="2918" y="4956"/>
                  </a:lnTo>
                  <a:lnTo>
                    <a:pt x="2918" y="4950"/>
                  </a:lnTo>
                  <a:lnTo>
                    <a:pt x="2916" y="4942"/>
                  </a:lnTo>
                  <a:lnTo>
                    <a:pt x="2914" y="4932"/>
                  </a:lnTo>
                  <a:lnTo>
                    <a:pt x="2914" y="4924"/>
                  </a:lnTo>
                  <a:lnTo>
                    <a:pt x="2916" y="4918"/>
                  </a:lnTo>
                  <a:lnTo>
                    <a:pt x="2920" y="4912"/>
                  </a:lnTo>
                  <a:lnTo>
                    <a:pt x="2930" y="4902"/>
                  </a:lnTo>
                  <a:lnTo>
                    <a:pt x="2934" y="4898"/>
                  </a:lnTo>
                  <a:lnTo>
                    <a:pt x="2938" y="4892"/>
                  </a:lnTo>
                  <a:lnTo>
                    <a:pt x="2940" y="4888"/>
                  </a:lnTo>
                  <a:lnTo>
                    <a:pt x="2944" y="4886"/>
                  </a:lnTo>
                  <a:lnTo>
                    <a:pt x="2952" y="4882"/>
                  </a:lnTo>
                  <a:lnTo>
                    <a:pt x="2954" y="4882"/>
                  </a:lnTo>
                  <a:lnTo>
                    <a:pt x="2958" y="4878"/>
                  </a:lnTo>
                  <a:lnTo>
                    <a:pt x="2958" y="4872"/>
                  </a:lnTo>
                  <a:lnTo>
                    <a:pt x="2958" y="4862"/>
                  </a:lnTo>
                  <a:lnTo>
                    <a:pt x="2956" y="4840"/>
                  </a:lnTo>
                  <a:lnTo>
                    <a:pt x="2958" y="4822"/>
                  </a:lnTo>
                  <a:lnTo>
                    <a:pt x="2962" y="4808"/>
                  </a:lnTo>
                  <a:lnTo>
                    <a:pt x="2964" y="4804"/>
                  </a:lnTo>
                  <a:lnTo>
                    <a:pt x="2968" y="4800"/>
                  </a:lnTo>
                  <a:lnTo>
                    <a:pt x="2972" y="4796"/>
                  </a:lnTo>
                  <a:lnTo>
                    <a:pt x="2974" y="4792"/>
                  </a:lnTo>
                  <a:lnTo>
                    <a:pt x="2978" y="4792"/>
                  </a:lnTo>
                  <a:lnTo>
                    <a:pt x="2982" y="4796"/>
                  </a:lnTo>
                  <a:lnTo>
                    <a:pt x="2988" y="4800"/>
                  </a:lnTo>
                  <a:lnTo>
                    <a:pt x="2992" y="4802"/>
                  </a:lnTo>
                  <a:lnTo>
                    <a:pt x="3002" y="4802"/>
                  </a:lnTo>
                  <a:lnTo>
                    <a:pt x="3010" y="4800"/>
                  </a:lnTo>
                  <a:lnTo>
                    <a:pt x="3012" y="4798"/>
                  </a:lnTo>
                  <a:lnTo>
                    <a:pt x="3014" y="4796"/>
                  </a:lnTo>
                  <a:lnTo>
                    <a:pt x="3012" y="4792"/>
                  </a:lnTo>
                  <a:lnTo>
                    <a:pt x="3006" y="4786"/>
                  </a:lnTo>
                  <a:lnTo>
                    <a:pt x="2988" y="4770"/>
                  </a:lnTo>
                  <a:lnTo>
                    <a:pt x="2980" y="4760"/>
                  </a:lnTo>
                  <a:lnTo>
                    <a:pt x="2972" y="4752"/>
                  </a:lnTo>
                  <a:lnTo>
                    <a:pt x="2970" y="4744"/>
                  </a:lnTo>
                  <a:lnTo>
                    <a:pt x="2970" y="4742"/>
                  </a:lnTo>
                  <a:lnTo>
                    <a:pt x="2970" y="4738"/>
                  </a:lnTo>
                  <a:lnTo>
                    <a:pt x="2974" y="4734"/>
                  </a:lnTo>
                  <a:lnTo>
                    <a:pt x="2976" y="4730"/>
                  </a:lnTo>
                  <a:lnTo>
                    <a:pt x="2974" y="4726"/>
                  </a:lnTo>
                  <a:lnTo>
                    <a:pt x="2972" y="4722"/>
                  </a:lnTo>
                  <a:lnTo>
                    <a:pt x="2966" y="4714"/>
                  </a:lnTo>
                  <a:lnTo>
                    <a:pt x="2964" y="4708"/>
                  </a:lnTo>
                  <a:lnTo>
                    <a:pt x="2962" y="4702"/>
                  </a:lnTo>
                  <a:lnTo>
                    <a:pt x="2960" y="4696"/>
                  </a:lnTo>
                  <a:lnTo>
                    <a:pt x="2958" y="4692"/>
                  </a:lnTo>
                  <a:lnTo>
                    <a:pt x="2954" y="4690"/>
                  </a:lnTo>
                  <a:lnTo>
                    <a:pt x="2950" y="4686"/>
                  </a:lnTo>
                  <a:lnTo>
                    <a:pt x="2948" y="4684"/>
                  </a:lnTo>
                  <a:lnTo>
                    <a:pt x="2950" y="4678"/>
                  </a:lnTo>
                  <a:lnTo>
                    <a:pt x="2950" y="4672"/>
                  </a:lnTo>
                  <a:lnTo>
                    <a:pt x="2952" y="4668"/>
                  </a:lnTo>
                  <a:lnTo>
                    <a:pt x="2956" y="4666"/>
                  </a:lnTo>
                  <a:lnTo>
                    <a:pt x="2958" y="4666"/>
                  </a:lnTo>
                  <a:lnTo>
                    <a:pt x="2964" y="4666"/>
                  </a:lnTo>
                  <a:lnTo>
                    <a:pt x="2966" y="4666"/>
                  </a:lnTo>
                  <a:lnTo>
                    <a:pt x="2966" y="4662"/>
                  </a:lnTo>
                  <a:lnTo>
                    <a:pt x="2964" y="4658"/>
                  </a:lnTo>
                  <a:lnTo>
                    <a:pt x="2956" y="4648"/>
                  </a:lnTo>
                  <a:lnTo>
                    <a:pt x="2954" y="4644"/>
                  </a:lnTo>
                  <a:lnTo>
                    <a:pt x="2954" y="4642"/>
                  </a:lnTo>
                  <a:lnTo>
                    <a:pt x="2954" y="4640"/>
                  </a:lnTo>
                  <a:lnTo>
                    <a:pt x="2956" y="4638"/>
                  </a:lnTo>
                  <a:lnTo>
                    <a:pt x="2958" y="4638"/>
                  </a:lnTo>
                  <a:lnTo>
                    <a:pt x="2960" y="4636"/>
                  </a:lnTo>
                  <a:lnTo>
                    <a:pt x="2958" y="4630"/>
                  </a:lnTo>
                  <a:lnTo>
                    <a:pt x="2958" y="4628"/>
                  </a:lnTo>
                  <a:lnTo>
                    <a:pt x="2966" y="4632"/>
                  </a:lnTo>
                  <a:lnTo>
                    <a:pt x="2972" y="4636"/>
                  </a:lnTo>
                  <a:lnTo>
                    <a:pt x="2976" y="4636"/>
                  </a:lnTo>
                  <a:lnTo>
                    <a:pt x="2980" y="4632"/>
                  </a:lnTo>
                  <a:lnTo>
                    <a:pt x="2986" y="4632"/>
                  </a:lnTo>
                  <a:lnTo>
                    <a:pt x="2992" y="4630"/>
                  </a:lnTo>
                  <a:lnTo>
                    <a:pt x="2998" y="4628"/>
                  </a:lnTo>
                  <a:lnTo>
                    <a:pt x="2998" y="4626"/>
                  </a:lnTo>
                  <a:lnTo>
                    <a:pt x="2998" y="4624"/>
                  </a:lnTo>
                  <a:lnTo>
                    <a:pt x="2990" y="4618"/>
                  </a:lnTo>
                  <a:lnTo>
                    <a:pt x="2982" y="4610"/>
                  </a:lnTo>
                  <a:lnTo>
                    <a:pt x="2980" y="4606"/>
                  </a:lnTo>
                  <a:lnTo>
                    <a:pt x="2982" y="4602"/>
                  </a:lnTo>
                  <a:lnTo>
                    <a:pt x="2986" y="4598"/>
                  </a:lnTo>
                  <a:lnTo>
                    <a:pt x="2988" y="4598"/>
                  </a:lnTo>
                  <a:lnTo>
                    <a:pt x="2990" y="4598"/>
                  </a:lnTo>
                  <a:lnTo>
                    <a:pt x="2994" y="4600"/>
                  </a:lnTo>
                  <a:lnTo>
                    <a:pt x="3002" y="4600"/>
                  </a:lnTo>
                  <a:lnTo>
                    <a:pt x="3014" y="4596"/>
                  </a:lnTo>
                  <a:lnTo>
                    <a:pt x="3020" y="4592"/>
                  </a:lnTo>
                  <a:lnTo>
                    <a:pt x="3024" y="4586"/>
                  </a:lnTo>
                  <a:lnTo>
                    <a:pt x="3024" y="4580"/>
                  </a:lnTo>
                  <a:lnTo>
                    <a:pt x="3022" y="4578"/>
                  </a:lnTo>
                  <a:lnTo>
                    <a:pt x="3022" y="4576"/>
                  </a:lnTo>
                  <a:lnTo>
                    <a:pt x="3018" y="4576"/>
                  </a:lnTo>
                  <a:lnTo>
                    <a:pt x="3014" y="4578"/>
                  </a:lnTo>
                  <a:lnTo>
                    <a:pt x="3012" y="4578"/>
                  </a:lnTo>
                  <a:lnTo>
                    <a:pt x="3010" y="4576"/>
                  </a:lnTo>
                  <a:lnTo>
                    <a:pt x="3006" y="4572"/>
                  </a:lnTo>
                  <a:lnTo>
                    <a:pt x="3004" y="4572"/>
                  </a:lnTo>
                  <a:lnTo>
                    <a:pt x="3000" y="4570"/>
                  </a:lnTo>
                  <a:lnTo>
                    <a:pt x="2998" y="4566"/>
                  </a:lnTo>
                  <a:lnTo>
                    <a:pt x="2994" y="4562"/>
                  </a:lnTo>
                  <a:lnTo>
                    <a:pt x="2988" y="4560"/>
                  </a:lnTo>
                  <a:lnTo>
                    <a:pt x="2984" y="4560"/>
                  </a:lnTo>
                  <a:lnTo>
                    <a:pt x="2982" y="4560"/>
                  </a:lnTo>
                  <a:lnTo>
                    <a:pt x="2976" y="4564"/>
                  </a:lnTo>
                  <a:lnTo>
                    <a:pt x="2974" y="4564"/>
                  </a:lnTo>
                  <a:lnTo>
                    <a:pt x="2972" y="4562"/>
                  </a:lnTo>
                  <a:lnTo>
                    <a:pt x="2972" y="4560"/>
                  </a:lnTo>
                  <a:lnTo>
                    <a:pt x="2974" y="4558"/>
                  </a:lnTo>
                  <a:lnTo>
                    <a:pt x="2976" y="4556"/>
                  </a:lnTo>
                  <a:lnTo>
                    <a:pt x="2976" y="4550"/>
                  </a:lnTo>
                  <a:lnTo>
                    <a:pt x="2974" y="4548"/>
                  </a:lnTo>
                  <a:lnTo>
                    <a:pt x="2972" y="4548"/>
                  </a:lnTo>
                  <a:lnTo>
                    <a:pt x="2968" y="4548"/>
                  </a:lnTo>
                  <a:lnTo>
                    <a:pt x="2964" y="4550"/>
                  </a:lnTo>
                  <a:lnTo>
                    <a:pt x="2962" y="4550"/>
                  </a:lnTo>
                  <a:lnTo>
                    <a:pt x="2960" y="4548"/>
                  </a:lnTo>
                  <a:lnTo>
                    <a:pt x="2960" y="4542"/>
                  </a:lnTo>
                  <a:lnTo>
                    <a:pt x="2960" y="4536"/>
                  </a:lnTo>
                  <a:lnTo>
                    <a:pt x="2962" y="4530"/>
                  </a:lnTo>
                  <a:lnTo>
                    <a:pt x="2958" y="4522"/>
                  </a:lnTo>
                  <a:lnTo>
                    <a:pt x="2954" y="4518"/>
                  </a:lnTo>
                  <a:lnTo>
                    <a:pt x="2952" y="4520"/>
                  </a:lnTo>
                  <a:lnTo>
                    <a:pt x="2948" y="4520"/>
                  </a:lnTo>
                  <a:lnTo>
                    <a:pt x="2946" y="4518"/>
                  </a:lnTo>
                  <a:lnTo>
                    <a:pt x="2944" y="4510"/>
                  </a:lnTo>
                  <a:lnTo>
                    <a:pt x="2942" y="4504"/>
                  </a:lnTo>
                  <a:lnTo>
                    <a:pt x="2940" y="4502"/>
                  </a:lnTo>
                  <a:lnTo>
                    <a:pt x="2938" y="4502"/>
                  </a:lnTo>
                  <a:lnTo>
                    <a:pt x="2936" y="4504"/>
                  </a:lnTo>
                  <a:lnTo>
                    <a:pt x="2934" y="4508"/>
                  </a:lnTo>
                  <a:lnTo>
                    <a:pt x="2932" y="4514"/>
                  </a:lnTo>
                  <a:lnTo>
                    <a:pt x="2928" y="4520"/>
                  </a:lnTo>
                  <a:lnTo>
                    <a:pt x="2926" y="4522"/>
                  </a:lnTo>
                  <a:lnTo>
                    <a:pt x="2924" y="4520"/>
                  </a:lnTo>
                  <a:lnTo>
                    <a:pt x="2926" y="4512"/>
                  </a:lnTo>
                  <a:lnTo>
                    <a:pt x="2928" y="4504"/>
                  </a:lnTo>
                  <a:lnTo>
                    <a:pt x="2926" y="4500"/>
                  </a:lnTo>
                  <a:lnTo>
                    <a:pt x="2924" y="4500"/>
                  </a:lnTo>
                  <a:lnTo>
                    <a:pt x="2920" y="4502"/>
                  </a:lnTo>
                  <a:lnTo>
                    <a:pt x="2918" y="4506"/>
                  </a:lnTo>
                  <a:lnTo>
                    <a:pt x="2916" y="4514"/>
                  </a:lnTo>
                  <a:lnTo>
                    <a:pt x="2910" y="4528"/>
                  </a:lnTo>
                  <a:lnTo>
                    <a:pt x="2904" y="4538"/>
                  </a:lnTo>
                  <a:lnTo>
                    <a:pt x="2900" y="4542"/>
                  </a:lnTo>
                  <a:lnTo>
                    <a:pt x="2896" y="4544"/>
                  </a:lnTo>
                  <a:lnTo>
                    <a:pt x="2896" y="4548"/>
                  </a:lnTo>
                  <a:lnTo>
                    <a:pt x="2894" y="4556"/>
                  </a:lnTo>
                  <a:lnTo>
                    <a:pt x="2892" y="4558"/>
                  </a:lnTo>
                  <a:lnTo>
                    <a:pt x="2890" y="4560"/>
                  </a:lnTo>
                  <a:lnTo>
                    <a:pt x="2890" y="4562"/>
                  </a:lnTo>
                  <a:lnTo>
                    <a:pt x="2888" y="4570"/>
                  </a:lnTo>
                  <a:lnTo>
                    <a:pt x="2884" y="4572"/>
                  </a:lnTo>
                  <a:lnTo>
                    <a:pt x="2882" y="4574"/>
                  </a:lnTo>
                  <a:lnTo>
                    <a:pt x="2880" y="4572"/>
                  </a:lnTo>
                  <a:lnTo>
                    <a:pt x="2876" y="4570"/>
                  </a:lnTo>
                  <a:lnTo>
                    <a:pt x="2874" y="4572"/>
                  </a:lnTo>
                  <a:lnTo>
                    <a:pt x="2868" y="4580"/>
                  </a:lnTo>
                  <a:lnTo>
                    <a:pt x="2868" y="4582"/>
                  </a:lnTo>
                  <a:lnTo>
                    <a:pt x="2868" y="4584"/>
                  </a:lnTo>
                  <a:lnTo>
                    <a:pt x="2872" y="4586"/>
                  </a:lnTo>
                  <a:lnTo>
                    <a:pt x="2876" y="4592"/>
                  </a:lnTo>
                  <a:lnTo>
                    <a:pt x="2874" y="4594"/>
                  </a:lnTo>
                  <a:lnTo>
                    <a:pt x="2872" y="4598"/>
                  </a:lnTo>
                  <a:lnTo>
                    <a:pt x="2868" y="4602"/>
                  </a:lnTo>
                  <a:lnTo>
                    <a:pt x="2864" y="4600"/>
                  </a:lnTo>
                  <a:lnTo>
                    <a:pt x="2862" y="4600"/>
                  </a:lnTo>
                  <a:lnTo>
                    <a:pt x="2858" y="4604"/>
                  </a:lnTo>
                  <a:lnTo>
                    <a:pt x="2854" y="4608"/>
                  </a:lnTo>
                  <a:lnTo>
                    <a:pt x="2854" y="4604"/>
                  </a:lnTo>
                  <a:lnTo>
                    <a:pt x="2856" y="4598"/>
                  </a:lnTo>
                  <a:lnTo>
                    <a:pt x="2856" y="4596"/>
                  </a:lnTo>
                  <a:lnTo>
                    <a:pt x="2854" y="4596"/>
                  </a:lnTo>
                  <a:lnTo>
                    <a:pt x="2850" y="4598"/>
                  </a:lnTo>
                  <a:lnTo>
                    <a:pt x="2844" y="4602"/>
                  </a:lnTo>
                  <a:lnTo>
                    <a:pt x="2836" y="4610"/>
                  </a:lnTo>
                  <a:lnTo>
                    <a:pt x="2828" y="4616"/>
                  </a:lnTo>
                  <a:lnTo>
                    <a:pt x="2822" y="4618"/>
                  </a:lnTo>
                  <a:lnTo>
                    <a:pt x="2816" y="4618"/>
                  </a:lnTo>
                  <a:lnTo>
                    <a:pt x="2814" y="4618"/>
                  </a:lnTo>
                  <a:lnTo>
                    <a:pt x="2812" y="4618"/>
                  </a:lnTo>
                  <a:lnTo>
                    <a:pt x="2812" y="4630"/>
                  </a:lnTo>
                  <a:lnTo>
                    <a:pt x="2810" y="4634"/>
                  </a:lnTo>
                  <a:lnTo>
                    <a:pt x="2806" y="4640"/>
                  </a:lnTo>
                  <a:lnTo>
                    <a:pt x="2798" y="4652"/>
                  </a:lnTo>
                  <a:lnTo>
                    <a:pt x="2786" y="4666"/>
                  </a:lnTo>
                  <a:lnTo>
                    <a:pt x="2780" y="4674"/>
                  </a:lnTo>
                  <a:lnTo>
                    <a:pt x="2778" y="4684"/>
                  </a:lnTo>
                  <a:lnTo>
                    <a:pt x="2774" y="4688"/>
                  </a:lnTo>
                  <a:lnTo>
                    <a:pt x="2766" y="4692"/>
                  </a:lnTo>
                  <a:lnTo>
                    <a:pt x="2746" y="4696"/>
                  </a:lnTo>
                  <a:lnTo>
                    <a:pt x="2724" y="4700"/>
                  </a:lnTo>
                  <a:lnTo>
                    <a:pt x="2716" y="4704"/>
                  </a:lnTo>
                  <a:lnTo>
                    <a:pt x="2712" y="4706"/>
                  </a:lnTo>
                  <a:lnTo>
                    <a:pt x="2710" y="4710"/>
                  </a:lnTo>
                  <a:lnTo>
                    <a:pt x="2708" y="4716"/>
                  </a:lnTo>
                  <a:lnTo>
                    <a:pt x="2710" y="4724"/>
                  </a:lnTo>
                  <a:lnTo>
                    <a:pt x="2708" y="4728"/>
                  </a:lnTo>
                  <a:lnTo>
                    <a:pt x="2704" y="4726"/>
                  </a:lnTo>
                  <a:lnTo>
                    <a:pt x="2702" y="4724"/>
                  </a:lnTo>
                  <a:lnTo>
                    <a:pt x="2700" y="4724"/>
                  </a:lnTo>
                  <a:lnTo>
                    <a:pt x="2698" y="4728"/>
                  </a:lnTo>
                  <a:lnTo>
                    <a:pt x="2698" y="4734"/>
                  </a:lnTo>
                  <a:lnTo>
                    <a:pt x="2700" y="4738"/>
                  </a:lnTo>
                  <a:lnTo>
                    <a:pt x="2702" y="4738"/>
                  </a:lnTo>
                  <a:lnTo>
                    <a:pt x="2702" y="4740"/>
                  </a:lnTo>
                  <a:lnTo>
                    <a:pt x="2700" y="4742"/>
                  </a:lnTo>
                  <a:lnTo>
                    <a:pt x="2698" y="4750"/>
                  </a:lnTo>
                  <a:lnTo>
                    <a:pt x="2696" y="4756"/>
                  </a:lnTo>
                  <a:lnTo>
                    <a:pt x="2692" y="4760"/>
                  </a:lnTo>
                  <a:lnTo>
                    <a:pt x="2692" y="4764"/>
                  </a:lnTo>
                  <a:lnTo>
                    <a:pt x="2696" y="4768"/>
                  </a:lnTo>
                  <a:lnTo>
                    <a:pt x="2698" y="4772"/>
                  </a:lnTo>
                  <a:lnTo>
                    <a:pt x="2698" y="4774"/>
                  </a:lnTo>
                  <a:lnTo>
                    <a:pt x="2690" y="4768"/>
                  </a:lnTo>
                  <a:lnTo>
                    <a:pt x="2684" y="4766"/>
                  </a:lnTo>
                  <a:lnTo>
                    <a:pt x="2678" y="4766"/>
                  </a:lnTo>
                  <a:lnTo>
                    <a:pt x="2672" y="4764"/>
                  </a:lnTo>
                  <a:lnTo>
                    <a:pt x="2672" y="4762"/>
                  </a:lnTo>
                  <a:lnTo>
                    <a:pt x="2672" y="4760"/>
                  </a:lnTo>
                  <a:lnTo>
                    <a:pt x="2674" y="4756"/>
                  </a:lnTo>
                  <a:lnTo>
                    <a:pt x="2672" y="4756"/>
                  </a:lnTo>
                  <a:lnTo>
                    <a:pt x="2670" y="4756"/>
                  </a:lnTo>
                  <a:lnTo>
                    <a:pt x="2666" y="4754"/>
                  </a:lnTo>
                  <a:lnTo>
                    <a:pt x="2664" y="4752"/>
                  </a:lnTo>
                  <a:lnTo>
                    <a:pt x="2664" y="4754"/>
                  </a:lnTo>
                  <a:lnTo>
                    <a:pt x="2662" y="4756"/>
                  </a:lnTo>
                  <a:lnTo>
                    <a:pt x="2656" y="4758"/>
                  </a:lnTo>
                  <a:lnTo>
                    <a:pt x="2650" y="4758"/>
                  </a:lnTo>
                  <a:lnTo>
                    <a:pt x="2644" y="4756"/>
                  </a:lnTo>
                  <a:lnTo>
                    <a:pt x="2640" y="4750"/>
                  </a:lnTo>
                  <a:lnTo>
                    <a:pt x="2638" y="4742"/>
                  </a:lnTo>
                  <a:lnTo>
                    <a:pt x="2632" y="4744"/>
                  </a:lnTo>
                  <a:lnTo>
                    <a:pt x="2628" y="4746"/>
                  </a:lnTo>
                  <a:lnTo>
                    <a:pt x="2622" y="4750"/>
                  </a:lnTo>
                  <a:lnTo>
                    <a:pt x="2620" y="4758"/>
                  </a:lnTo>
                  <a:lnTo>
                    <a:pt x="2618" y="4764"/>
                  </a:lnTo>
                  <a:lnTo>
                    <a:pt x="2614" y="4772"/>
                  </a:lnTo>
                  <a:lnTo>
                    <a:pt x="2610" y="4780"/>
                  </a:lnTo>
                  <a:lnTo>
                    <a:pt x="2606" y="4802"/>
                  </a:lnTo>
                  <a:lnTo>
                    <a:pt x="2606" y="4812"/>
                  </a:lnTo>
                  <a:lnTo>
                    <a:pt x="2608" y="4820"/>
                  </a:lnTo>
                  <a:lnTo>
                    <a:pt x="2610" y="4826"/>
                  </a:lnTo>
                  <a:lnTo>
                    <a:pt x="2616" y="4830"/>
                  </a:lnTo>
                  <a:lnTo>
                    <a:pt x="2620" y="4834"/>
                  </a:lnTo>
                  <a:lnTo>
                    <a:pt x="2620" y="4836"/>
                  </a:lnTo>
                  <a:lnTo>
                    <a:pt x="2616" y="4844"/>
                  </a:lnTo>
                  <a:lnTo>
                    <a:pt x="2614" y="4848"/>
                  </a:lnTo>
                  <a:lnTo>
                    <a:pt x="2614" y="4854"/>
                  </a:lnTo>
                  <a:lnTo>
                    <a:pt x="2614" y="4858"/>
                  </a:lnTo>
                  <a:lnTo>
                    <a:pt x="2618" y="4864"/>
                  </a:lnTo>
                  <a:lnTo>
                    <a:pt x="2622" y="4870"/>
                  </a:lnTo>
                  <a:lnTo>
                    <a:pt x="2624" y="4874"/>
                  </a:lnTo>
                  <a:lnTo>
                    <a:pt x="2624" y="4876"/>
                  </a:lnTo>
                  <a:lnTo>
                    <a:pt x="2622" y="4878"/>
                  </a:lnTo>
                  <a:lnTo>
                    <a:pt x="2620" y="4880"/>
                  </a:lnTo>
                  <a:lnTo>
                    <a:pt x="2626" y="4882"/>
                  </a:lnTo>
                  <a:lnTo>
                    <a:pt x="2630" y="4886"/>
                  </a:lnTo>
                  <a:lnTo>
                    <a:pt x="2632" y="4888"/>
                  </a:lnTo>
                  <a:lnTo>
                    <a:pt x="2632" y="4890"/>
                  </a:lnTo>
                  <a:lnTo>
                    <a:pt x="2630" y="4892"/>
                  </a:lnTo>
                  <a:lnTo>
                    <a:pt x="2628" y="4898"/>
                  </a:lnTo>
                  <a:lnTo>
                    <a:pt x="2626" y="4900"/>
                  </a:lnTo>
                  <a:lnTo>
                    <a:pt x="2628" y="4902"/>
                  </a:lnTo>
                  <a:lnTo>
                    <a:pt x="2632" y="4904"/>
                  </a:lnTo>
                  <a:lnTo>
                    <a:pt x="2634" y="4904"/>
                  </a:lnTo>
                  <a:lnTo>
                    <a:pt x="2640" y="4900"/>
                  </a:lnTo>
                  <a:lnTo>
                    <a:pt x="2646" y="4898"/>
                  </a:lnTo>
                  <a:lnTo>
                    <a:pt x="2650" y="4898"/>
                  </a:lnTo>
                  <a:lnTo>
                    <a:pt x="2652" y="4902"/>
                  </a:lnTo>
                  <a:lnTo>
                    <a:pt x="2652" y="4908"/>
                  </a:lnTo>
                  <a:lnTo>
                    <a:pt x="2652" y="4910"/>
                  </a:lnTo>
                  <a:lnTo>
                    <a:pt x="2650" y="4918"/>
                  </a:lnTo>
                  <a:lnTo>
                    <a:pt x="2648" y="4926"/>
                  </a:lnTo>
                  <a:lnTo>
                    <a:pt x="2648" y="4934"/>
                  </a:lnTo>
                  <a:lnTo>
                    <a:pt x="2652" y="4942"/>
                  </a:lnTo>
                  <a:lnTo>
                    <a:pt x="2658" y="4960"/>
                  </a:lnTo>
                  <a:lnTo>
                    <a:pt x="2660" y="4972"/>
                  </a:lnTo>
                  <a:lnTo>
                    <a:pt x="2660" y="4980"/>
                  </a:lnTo>
                  <a:lnTo>
                    <a:pt x="2660" y="4984"/>
                  </a:lnTo>
                  <a:lnTo>
                    <a:pt x="2660" y="4986"/>
                  </a:lnTo>
                  <a:lnTo>
                    <a:pt x="2666" y="4986"/>
                  </a:lnTo>
                  <a:lnTo>
                    <a:pt x="2678" y="4988"/>
                  </a:lnTo>
                  <a:lnTo>
                    <a:pt x="2684" y="4992"/>
                  </a:lnTo>
                  <a:lnTo>
                    <a:pt x="2692" y="4992"/>
                  </a:lnTo>
                  <a:lnTo>
                    <a:pt x="2698" y="4986"/>
                  </a:lnTo>
                  <a:lnTo>
                    <a:pt x="2702" y="4982"/>
                  </a:lnTo>
                  <a:lnTo>
                    <a:pt x="2706" y="4982"/>
                  </a:lnTo>
                  <a:lnTo>
                    <a:pt x="2712" y="4982"/>
                  </a:lnTo>
                  <a:lnTo>
                    <a:pt x="2716" y="4984"/>
                  </a:lnTo>
                  <a:lnTo>
                    <a:pt x="2720" y="4986"/>
                  </a:lnTo>
                  <a:lnTo>
                    <a:pt x="2722" y="4992"/>
                  </a:lnTo>
                  <a:lnTo>
                    <a:pt x="2724" y="4996"/>
                  </a:lnTo>
                  <a:lnTo>
                    <a:pt x="2724" y="5002"/>
                  </a:lnTo>
                  <a:lnTo>
                    <a:pt x="2724" y="5010"/>
                  </a:lnTo>
                  <a:lnTo>
                    <a:pt x="2726" y="5012"/>
                  </a:lnTo>
                  <a:lnTo>
                    <a:pt x="2728" y="5012"/>
                  </a:lnTo>
                  <a:lnTo>
                    <a:pt x="2734" y="5010"/>
                  </a:lnTo>
                  <a:lnTo>
                    <a:pt x="2740" y="5004"/>
                  </a:lnTo>
                  <a:lnTo>
                    <a:pt x="2742" y="5002"/>
                  </a:lnTo>
                  <a:lnTo>
                    <a:pt x="2746" y="5002"/>
                  </a:lnTo>
                  <a:lnTo>
                    <a:pt x="2754" y="5004"/>
                  </a:lnTo>
                  <a:lnTo>
                    <a:pt x="2756" y="5004"/>
                  </a:lnTo>
                  <a:lnTo>
                    <a:pt x="2760" y="5004"/>
                  </a:lnTo>
                  <a:lnTo>
                    <a:pt x="2764" y="5002"/>
                  </a:lnTo>
                  <a:lnTo>
                    <a:pt x="2768" y="4998"/>
                  </a:lnTo>
                  <a:lnTo>
                    <a:pt x="2770" y="4992"/>
                  </a:lnTo>
                  <a:lnTo>
                    <a:pt x="2774" y="4990"/>
                  </a:lnTo>
                  <a:lnTo>
                    <a:pt x="2776" y="4990"/>
                  </a:lnTo>
                  <a:lnTo>
                    <a:pt x="2778" y="4992"/>
                  </a:lnTo>
                  <a:lnTo>
                    <a:pt x="2784" y="4996"/>
                  </a:lnTo>
                  <a:lnTo>
                    <a:pt x="2788" y="4998"/>
                  </a:lnTo>
                  <a:lnTo>
                    <a:pt x="2792" y="4998"/>
                  </a:lnTo>
                  <a:lnTo>
                    <a:pt x="2794" y="4998"/>
                  </a:lnTo>
                  <a:lnTo>
                    <a:pt x="2796" y="5000"/>
                  </a:lnTo>
                  <a:lnTo>
                    <a:pt x="2796" y="5004"/>
                  </a:lnTo>
                  <a:lnTo>
                    <a:pt x="2796" y="5006"/>
                  </a:lnTo>
                  <a:lnTo>
                    <a:pt x="2798" y="5008"/>
                  </a:lnTo>
                  <a:lnTo>
                    <a:pt x="2800" y="5008"/>
                  </a:lnTo>
                  <a:lnTo>
                    <a:pt x="2806" y="5006"/>
                  </a:lnTo>
                  <a:lnTo>
                    <a:pt x="2814" y="5004"/>
                  </a:lnTo>
                  <a:lnTo>
                    <a:pt x="2820" y="5004"/>
                  </a:lnTo>
                  <a:lnTo>
                    <a:pt x="2826" y="5008"/>
                  </a:lnTo>
                  <a:lnTo>
                    <a:pt x="2830" y="5012"/>
                  </a:lnTo>
                  <a:lnTo>
                    <a:pt x="2834" y="5016"/>
                  </a:lnTo>
                  <a:lnTo>
                    <a:pt x="2836" y="5022"/>
                  </a:lnTo>
                  <a:lnTo>
                    <a:pt x="2836" y="5030"/>
                  </a:lnTo>
                  <a:lnTo>
                    <a:pt x="2836" y="5036"/>
                  </a:lnTo>
                  <a:lnTo>
                    <a:pt x="2836" y="5040"/>
                  </a:lnTo>
                  <a:lnTo>
                    <a:pt x="2840" y="5042"/>
                  </a:lnTo>
                  <a:lnTo>
                    <a:pt x="2846" y="5040"/>
                  </a:lnTo>
                  <a:lnTo>
                    <a:pt x="2852" y="5036"/>
                  </a:lnTo>
                  <a:lnTo>
                    <a:pt x="2868" y="5026"/>
                  </a:lnTo>
                  <a:lnTo>
                    <a:pt x="2876" y="5024"/>
                  </a:lnTo>
                  <a:lnTo>
                    <a:pt x="2882" y="5022"/>
                  </a:lnTo>
                  <a:lnTo>
                    <a:pt x="2886" y="5020"/>
                  </a:lnTo>
                  <a:lnTo>
                    <a:pt x="2890" y="5018"/>
                  </a:lnTo>
                  <a:lnTo>
                    <a:pt x="2894" y="5008"/>
                  </a:lnTo>
                  <a:lnTo>
                    <a:pt x="2896" y="4996"/>
                  </a:lnTo>
                  <a:lnTo>
                    <a:pt x="2898" y="4986"/>
                  </a:lnTo>
                  <a:lnTo>
                    <a:pt x="2898" y="4982"/>
                  </a:lnTo>
                  <a:lnTo>
                    <a:pt x="2902" y="4980"/>
                  </a:lnTo>
                  <a:lnTo>
                    <a:pt x="2904" y="4978"/>
                  </a:lnTo>
                  <a:lnTo>
                    <a:pt x="2906" y="4970"/>
                  </a:lnTo>
                  <a:close/>
                  <a:moveTo>
                    <a:pt x="2606" y="3938"/>
                  </a:moveTo>
                  <a:lnTo>
                    <a:pt x="2606" y="3938"/>
                  </a:lnTo>
                  <a:lnTo>
                    <a:pt x="2616" y="3942"/>
                  </a:lnTo>
                  <a:lnTo>
                    <a:pt x="2622" y="3944"/>
                  </a:lnTo>
                  <a:lnTo>
                    <a:pt x="2624" y="3944"/>
                  </a:lnTo>
                  <a:lnTo>
                    <a:pt x="2626" y="3944"/>
                  </a:lnTo>
                  <a:lnTo>
                    <a:pt x="2630" y="3948"/>
                  </a:lnTo>
                  <a:lnTo>
                    <a:pt x="2634" y="3950"/>
                  </a:lnTo>
                  <a:lnTo>
                    <a:pt x="2638" y="3948"/>
                  </a:lnTo>
                  <a:lnTo>
                    <a:pt x="2640" y="3942"/>
                  </a:lnTo>
                  <a:lnTo>
                    <a:pt x="2640" y="3940"/>
                  </a:lnTo>
                  <a:lnTo>
                    <a:pt x="2642" y="3940"/>
                  </a:lnTo>
                  <a:lnTo>
                    <a:pt x="2646" y="3940"/>
                  </a:lnTo>
                  <a:lnTo>
                    <a:pt x="2652" y="3938"/>
                  </a:lnTo>
                  <a:lnTo>
                    <a:pt x="2654" y="3938"/>
                  </a:lnTo>
                  <a:lnTo>
                    <a:pt x="2654" y="3934"/>
                  </a:lnTo>
                  <a:lnTo>
                    <a:pt x="2656" y="3930"/>
                  </a:lnTo>
                  <a:lnTo>
                    <a:pt x="2658" y="3928"/>
                  </a:lnTo>
                  <a:lnTo>
                    <a:pt x="2664" y="3926"/>
                  </a:lnTo>
                  <a:lnTo>
                    <a:pt x="2666" y="3924"/>
                  </a:lnTo>
                  <a:lnTo>
                    <a:pt x="2670" y="3922"/>
                  </a:lnTo>
                  <a:lnTo>
                    <a:pt x="2670" y="3918"/>
                  </a:lnTo>
                  <a:lnTo>
                    <a:pt x="2672" y="3912"/>
                  </a:lnTo>
                  <a:lnTo>
                    <a:pt x="2674" y="3902"/>
                  </a:lnTo>
                  <a:lnTo>
                    <a:pt x="2678" y="3892"/>
                  </a:lnTo>
                  <a:lnTo>
                    <a:pt x="2684" y="3884"/>
                  </a:lnTo>
                  <a:lnTo>
                    <a:pt x="2690" y="3878"/>
                  </a:lnTo>
                  <a:lnTo>
                    <a:pt x="2692" y="3874"/>
                  </a:lnTo>
                  <a:lnTo>
                    <a:pt x="2692" y="3868"/>
                  </a:lnTo>
                  <a:lnTo>
                    <a:pt x="2690" y="3862"/>
                  </a:lnTo>
                  <a:lnTo>
                    <a:pt x="2686" y="3858"/>
                  </a:lnTo>
                  <a:lnTo>
                    <a:pt x="2682" y="3856"/>
                  </a:lnTo>
                  <a:lnTo>
                    <a:pt x="2680" y="3854"/>
                  </a:lnTo>
                  <a:lnTo>
                    <a:pt x="2676" y="3852"/>
                  </a:lnTo>
                  <a:lnTo>
                    <a:pt x="2674" y="3854"/>
                  </a:lnTo>
                  <a:lnTo>
                    <a:pt x="2670" y="3856"/>
                  </a:lnTo>
                  <a:lnTo>
                    <a:pt x="2666" y="3856"/>
                  </a:lnTo>
                  <a:lnTo>
                    <a:pt x="2660" y="3856"/>
                  </a:lnTo>
                  <a:lnTo>
                    <a:pt x="2654" y="3858"/>
                  </a:lnTo>
                  <a:lnTo>
                    <a:pt x="2652" y="3860"/>
                  </a:lnTo>
                  <a:lnTo>
                    <a:pt x="2648" y="3860"/>
                  </a:lnTo>
                  <a:lnTo>
                    <a:pt x="2642" y="3858"/>
                  </a:lnTo>
                  <a:lnTo>
                    <a:pt x="2636" y="3858"/>
                  </a:lnTo>
                  <a:lnTo>
                    <a:pt x="2634" y="3858"/>
                  </a:lnTo>
                  <a:lnTo>
                    <a:pt x="2632" y="3862"/>
                  </a:lnTo>
                  <a:lnTo>
                    <a:pt x="2630" y="3864"/>
                  </a:lnTo>
                  <a:lnTo>
                    <a:pt x="2626" y="3864"/>
                  </a:lnTo>
                  <a:lnTo>
                    <a:pt x="2622" y="3862"/>
                  </a:lnTo>
                  <a:lnTo>
                    <a:pt x="2620" y="3864"/>
                  </a:lnTo>
                  <a:lnTo>
                    <a:pt x="2618" y="3866"/>
                  </a:lnTo>
                  <a:lnTo>
                    <a:pt x="2616" y="3870"/>
                  </a:lnTo>
                  <a:lnTo>
                    <a:pt x="2616" y="3872"/>
                  </a:lnTo>
                  <a:lnTo>
                    <a:pt x="2614" y="3874"/>
                  </a:lnTo>
                  <a:lnTo>
                    <a:pt x="2608" y="3882"/>
                  </a:lnTo>
                  <a:lnTo>
                    <a:pt x="2604" y="3886"/>
                  </a:lnTo>
                  <a:lnTo>
                    <a:pt x="2598" y="3890"/>
                  </a:lnTo>
                  <a:lnTo>
                    <a:pt x="2596" y="3896"/>
                  </a:lnTo>
                  <a:lnTo>
                    <a:pt x="2596" y="3908"/>
                  </a:lnTo>
                  <a:lnTo>
                    <a:pt x="2596" y="3920"/>
                  </a:lnTo>
                  <a:lnTo>
                    <a:pt x="2596" y="3926"/>
                  </a:lnTo>
                  <a:lnTo>
                    <a:pt x="2600" y="3932"/>
                  </a:lnTo>
                  <a:lnTo>
                    <a:pt x="2606" y="3938"/>
                  </a:lnTo>
                  <a:close/>
                  <a:moveTo>
                    <a:pt x="3234" y="3626"/>
                  </a:moveTo>
                  <a:lnTo>
                    <a:pt x="3234" y="3626"/>
                  </a:lnTo>
                  <a:lnTo>
                    <a:pt x="3234" y="3624"/>
                  </a:lnTo>
                  <a:lnTo>
                    <a:pt x="3232" y="3624"/>
                  </a:lnTo>
                  <a:lnTo>
                    <a:pt x="3226" y="3626"/>
                  </a:lnTo>
                  <a:lnTo>
                    <a:pt x="3222" y="3632"/>
                  </a:lnTo>
                  <a:lnTo>
                    <a:pt x="3222" y="3634"/>
                  </a:lnTo>
                  <a:lnTo>
                    <a:pt x="3224" y="3636"/>
                  </a:lnTo>
                  <a:lnTo>
                    <a:pt x="3226" y="3636"/>
                  </a:lnTo>
                  <a:lnTo>
                    <a:pt x="3230" y="3634"/>
                  </a:lnTo>
                  <a:lnTo>
                    <a:pt x="3234" y="3626"/>
                  </a:lnTo>
                  <a:close/>
                  <a:moveTo>
                    <a:pt x="3140" y="4236"/>
                  </a:moveTo>
                  <a:lnTo>
                    <a:pt x="3140" y="4236"/>
                  </a:lnTo>
                  <a:lnTo>
                    <a:pt x="3142" y="4224"/>
                  </a:lnTo>
                  <a:lnTo>
                    <a:pt x="3142" y="4222"/>
                  </a:lnTo>
                  <a:lnTo>
                    <a:pt x="3138" y="4224"/>
                  </a:lnTo>
                  <a:lnTo>
                    <a:pt x="3136" y="4226"/>
                  </a:lnTo>
                  <a:lnTo>
                    <a:pt x="3136" y="4230"/>
                  </a:lnTo>
                  <a:lnTo>
                    <a:pt x="3134" y="4236"/>
                  </a:lnTo>
                  <a:lnTo>
                    <a:pt x="3134" y="4240"/>
                  </a:lnTo>
                  <a:lnTo>
                    <a:pt x="3136" y="4242"/>
                  </a:lnTo>
                  <a:lnTo>
                    <a:pt x="3138" y="4242"/>
                  </a:lnTo>
                  <a:lnTo>
                    <a:pt x="3140" y="4236"/>
                  </a:lnTo>
                  <a:close/>
                  <a:moveTo>
                    <a:pt x="3216" y="3638"/>
                  </a:moveTo>
                  <a:lnTo>
                    <a:pt x="3216" y="3638"/>
                  </a:lnTo>
                  <a:lnTo>
                    <a:pt x="3216" y="3634"/>
                  </a:lnTo>
                  <a:lnTo>
                    <a:pt x="3212" y="3632"/>
                  </a:lnTo>
                  <a:lnTo>
                    <a:pt x="3208" y="3632"/>
                  </a:lnTo>
                  <a:lnTo>
                    <a:pt x="3206" y="3636"/>
                  </a:lnTo>
                  <a:lnTo>
                    <a:pt x="3208" y="3638"/>
                  </a:lnTo>
                  <a:lnTo>
                    <a:pt x="3210" y="3640"/>
                  </a:lnTo>
                  <a:lnTo>
                    <a:pt x="3214" y="3640"/>
                  </a:lnTo>
                  <a:lnTo>
                    <a:pt x="3216" y="3638"/>
                  </a:lnTo>
                  <a:close/>
                  <a:moveTo>
                    <a:pt x="3130" y="4102"/>
                  </a:moveTo>
                  <a:lnTo>
                    <a:pt x="3130" y="4102"/>
                  </a:lnTo>
                  <a:lnTo>
                    <a:pt x="3128" y="4106"/>
                  </a:lnTo>
                  <a:lnTo>
                    <a:pt x="3128" y="4108"/>
                  </a:lnTo>
                  <a:lnTo>
                    <a:pt x="3132" y="4120"/>
                  </a:lnTo>
                  <a:lnTo>
                    <a:pt x="3134" y="4124"/>
                  </a:lnTo>
                  <a:lnTo>
                    <a:pt x="3136" y="4124"/>
                  </a:lnTo>
                  <a:lnTo>
                    <a:pt x="3136" y="4120"/>
                  </a:lnTo>
                  <a:lnTo>
                    <a:pt x="3136" y="4116"/>
                  </a:lnTo>
                  <a:lnTo>
                    <a:pt x="3134" y="4104"/>
                  </a:lnTo>
                  <a:lnTo>
                    <a:pt x="3132" y="4102"/>
                  </a:lnTo>
                  <a:lnTo>
                    <a:pt x="3130" y="4102"/>
                  </a:lnTo>
                  <a:close/>
                  <a:moveTo>
                    <a:pt x="3462" y="5402"/>
                  </a:moveTo>
                  <a:lnTo>
                    <a:pt x="3462" y="5402"/>
                  </a:lnTo>
                  <a:lnTo>
                    <a:pt x="3462" y="5410"/>
                  </a:lnTo>
                  <a:lnTo>
                    <a:pt x="3462" y="5414"/>
                  </a:lnTo>
                  <a:lnTo>
                    <a:pt x="3466" y="5416"/>
                  </a:lnTo>
                  <a:lnTo>
                    <a:pt x="3472" y="5418"/>
                  </a:lnTo>
                  <a:lnTo>
                    <a:pt x="3476" y="5418"/>
                  </a:lnTo>
                  <a:lnTo>
                    <a:pt x="3478" y="5416"/>
                  </a:lnTo>
                  <a:lnTo>
                    <a:pt x="3478" y="5412"/>
                  </a:lnTo>
                  <a:lnTo>
                    <a:pt x="3474" y="5404"/>
                  </a:lnTo>
                  <a:lnTo>
                    <a:pt x="3468" y="5398"/>
                  </a:lnTo>
                  <a:lnTo>
                    <a:pt x="3464" y="5394"/>
                  </a:lnTo>
                  <a:lnTo>
                    <a:pt x="3462" y="5396"/>
                  </a:lnTo>
                  <a:lnTo>
                    <a:pt x="3462" y="5402"/>
                  </a:lnTo>
                  <a:close/>
                  <a:moveTo>
                    <a:pt x="4244" y="2492"/>
                  </a:moveTo>
                  <a:lnTo>
                    <a:pt x="4244" y="2492"/>
                  </a:lnTo>
                  <a:lnTo>
                    <a:pt x="4244" y="2496"/>
                  </a:lnTo>
                  <a:lnTo>
                    <a:pt x="4248" y="2496"/>
                  </a:lnTo>
                  <a:lnTo>
                    <a:pt x="4256" y="2492"/>
                  </a:lnTo>
                  <a:lnTo>
                    <a:pt x="4264" y="2486"/>
                  </a:lnTo>
                  <a:lnTo>
                    <a:pt x="4280" y="2470"/>
                  </a:lnTo>
                  <a:lnTo>
                    <a:pt x="4284" y="2464"/>
                  </a:lnTo>
                  <a:lnTo>
                    <a:pt x="4284" y="2460"/>
                  </a:lnTo>
                  <a:lnTo>
                    <a:pt x="4282" y="2460"/>
                  </a:lnTo>
                  <a:lnTo>
                    <a:pt x="4276" y="2460"/>
                  </a:lnTo>
                  <a:lnTo>
                    <a:pt x="4266" y="2466"/>
                  </a:lnTo>
                  <a:lnTo>
                    <a:pt x="4254" y="2476"/>
                  </a:lnTo>
                  <a:lnTo>
                    <a:pt x="4248" y="2484"/>
                  </a:lnTo>
                  <a:lnTo>
                    <a:pt x="4244" y="2492"/>
                  </a:lnTo>
                  <a:close/>
                  <a:moveTo>
                    <a:pt x="4364" y="2396"/>
                  </a:moveTo>
                  <a:lnTo>
                    <a:pt x="4364" y="2396"/>
                  </a:lnTo>
                  <a:lnTo>
                    <a:pt x="4368" y="2398"/>
                  </a:lnTo>
                  <a:lnTo>
                    <a:pt x="4370" y="2396"/>
                  </a:lnTo>
                  <a:lnTo>
                    <a:pt x="4370" y="2394"/>
                  </a:lnTo>
                  <a:lnTo>
                    <a:pt x="4368" y="2392"/>
                  </a:lnTo>
                  <a:lnTo>
                    <a:pt x="4366" y="2390"/>
                  </a:lnTo>
                  <a:lnTo>
                    <a:pt x="4364" y="2392"/>
                  </a:lnTo>
                  <a:lnTo>
                    <a:pt x="4364" y="2394"/>
                  </a:lnTo>
                  <a:lnTo>
                    <a:pt x="4364" y="2396"/>
                  </a:lnTo>
                  <a:close/>
                  <a:moveTo>
                    <a:pt x="4388" y="2374"/>
                  </a:moveTo>
                  <a:lnTo>
                    <a:pt x="4388" y="2374"/>
                  </a:lnTo>
                  <a:lnTo>
                    <a:pt x="4392" y="2376"/>
                  </a:lnTo>
                  <a:lnTo>
                    <a:pt x="4392" y="2374"/>
                  </a:lnTo>
                  <a:lnTo>
                    <a:pt x="4394" y="2370"/>
                  </a:lnTo>
                  <a:lnTo>
                    <a:pt x="4392" y="2368"/>
                  </a:lnTo>
                  <a:lnTo>
                    <a:pt x="4390" y="2366"/>
                  </a:lnTo>
                  <a:lnTo>
                    <a:pt x="4388" y="2368"/>
                  </a:lnTo>
                  <a:lnTo>
                    <a:pt x="4388" y="2372"/>
                  </a:lnTo>
                  <a:lnTo>
                    <a:pt x="4388" y="2374"/>
                  </a:lnTo>
                  <a:close/>
                  <a:moveTo>
                    <a:pt x="264" y="3518"/>
                  </a:moveTo>
                  <a:lnTo>
                    <a:pt x="264" y="3518"/>
                  </a:lnTo>
                  <a:lnTo>
                    <a:pt x="266" y="3518"/>
                  </a:lnTo>
                  <a:lnTo>
                    <a:pt x="264" y="3518"/>
                  </a:lnTo>
                  <a:close/>
                  <a:moveTo>
                    <a:pt x="5798" y="1166"/>
                  </a:moveTo>
                  <a:lnTo>
                    <a:pt x="5798" y="1166"/>
                  </a:lnTo>
                  <a:lnTo>
                    <a:pt x="5790" y="1156"/>
                  </a:lnTo>
                  <a:lnTo>
                    <a:pt x="5782" y="1148"/>
                  </a:lnTo>
                  <a:lnTo>
                    <a:pt x="5772" y="1144"/>
                  </a:lnTo>
                  <a:lnTo>
                    <a:pt x="5760" y="1140"/>
                  </a:lnTo>
                  <a:lnTo>
                    <a:pt x="5732" y="1138"/>
                  </a:lnTo>
                  <a:lnTo>
                    <a:pt x="5698" y="1136"/>
                  </a:lnTo>
                  <a:lnTo>
                    <a:pt x="5692" y="1138"/>
                  </a:lnTo>
                  <a:lnTo>
                    <a:pt x="5688" y="1140"/>
                  </a:lnTo>
                  <a:lnTo>
                    <a:pt x="5686" y="1144"/>
                  </a:lnTo>
                  <a:lnTo>
                    <a:pt x="5686" y="1148"/>
                  </a:lnTo>
                  <a:lnTo>
                    <a:pt x="5690" y="1160"/>
                  </a:lnTo>
                  <a:lnTo>
                    <a:pt x="5696" y="1172"/>
                  </a:lnTo>
                  <a:lnTo>
                    <a:pt x="5702" y="1184"/>
                  </a:lnTo>
                  <a:lnTo>
                    <a:pt x="5704" y="1190"/>
                  </a:lnTo>
                  <a:lnTo>
                    <a:pt x="5704" y="1192"/>
                  </a:lnTo>
                  <a:lnTo>
                    <a:pt x="5700" y="1192"/>
                  </a:lnTo>
                  <a:lnTo>
                    <a:pt x="5684" y="1186"/>
                  </a:lnTo>
                  <a:lnTo>
                    <a:pt x="5676" y="1180"/>
                  </a:lnTo>
                  <a:lnTo>
                    <a:pt x="5670" y="1174"/>
                  </a:lnTo>
                  <a:lnTo>
                    <a:pt x="5666" y="1168"/>
                  </a:lnTo>
                  <a:lnTo>
                    <a:pt x="5664" y="1162"/>
                  </a:lnTo>
                  <a:lnTo>
                    <a:pt x="5664" y="1150"/>
                  </a:lnTo>
                  <a:lnTo>
                    <a:pt x="5666" y="1138"/>
                  </a:lnTo>
                  <a:lnTo>
                    <a:pt x="5666" y="1126"/>
                  </a:lnTo>
                  <a:lnTo>
                    <a:pt x="5664" y="1120"/>
                  </a:lnTo>
                  <a:lnTo>
                    <a:pt x="5660" y="1114"/>
                  </a:lnTo>
                  <a:lnTo>
                    <a:pt x="5654" y="1106"/>
                  </a:lnTo>
                  <a:lnTo>
                    <a:pt x="5646" y="1100"/>
                  </a:lnTo>
                  <a:lnTo>
                    <a:pt x="5634" y="1092"/>
                  </a:lnTo>
                  <a:lnTo>
                    <a:pt x="5618" y="1084"/>
                  </a:lnTo>
                  <a:lnTo>
                    <a:pt x="5580" y="1068"/>
                  </a:lnTo>
                  <a:lnTo>
                    <a:pt x="5546" y="1050"/>
                  </a:lnTo>
                  <a:lnTo>
                    <a:pt x="5478" y="1014"/>
                  </a:lnTo>
                  <a:lnTo>
                    <a:pt x="5478" y="1008"/>
                  </a:lnTo>
                  <a:lnTo>
                    <a:pt x="5448" y="994"/>
                  </a:lnTo>
                  <a:lnTo>
                    <a:pt x="5418" y="982"/>
                  </a:lnTo>
                  <a:lnTo>
                    <a:pt x="5386" y="970"/>
                  </a:lnTo>
                  <a:lnTo>
                    <a:pt x="5356" y="962"/>
                  </a:lnTo>
                  <a:lnTo>
                    <a:pt x="5310" y="952"/>
                  </a:lnTo>
                  <a:lnTo>
                    <a:pt x="5294" y="946"/>
                  </a:lnTo>
                  <a:lnTo>
                    <a:pt x="5270" y="944"/>
                  </a:lnTo>
                  <a:lnTo>
                    <a:pt x="5210" y="940"/>
                  </a:lnTo>
                  <a:lnTo>
                    <a:pt x="5170" y="936"/>
                  </a:lnTo>
                  <a:lnTo>
                    <a:pt x="5144" y="930"/>
                  </a:lnTo>
                  <a:lnTo>
                    <a:pt x="5126" y="924"/>
                  </a:lnTo>
                  <a:lnTo>
                    <a:pt x="5116" y="918"/>
                  </a:lnTo>
                  <a:lnTo>
                    <a:pt x="5108" y="916"/>
                  </a:lnTo>
                  <a:lnTo>
                    <a:pt x="5102" y="918"/>
                  </a:lnTo>
                  <a:lnTo>
                    <a:pt x="5096" y="926"/>
                  </a:lnTo>
                  <a:lnTo>
                    <a:pt x="5086" y="942"/>
                  </a:lnTo>
                  <a:lnTo>
                    <a:pt x="5080" y="950"/>
                  </a:lnTo>
                  <a:lnTo>
                    <a:pt x="5078" y="958"/>
                  </a:lnTo>
                  <a:lnTo>
                    <a:pt x="5078" y="964"/>
                  </a:lnTo>
                  <a:lnTo>
                    <a:pt x="5080" y="968"/>
                  </a:lnTo>
                  <a:lnTo>
                    <a:pt x="5084" y="972"/>
                  </a:lnTo>
                  <a:lnTo>
                    <a:pt x="5088" y="974"/>
                  </a:lnTo>
                  <a:lnTo>
                    <a:pt x="5100" y="978"/>
                  </a:lnTo>
                  <a:lnTo>
                    <a:pt x="5110" y="982"/>
                  </a:lnTo>
                  <a:lnTo>
                    <a:pt x="5114" y="986"/>
                  </a:lnTo>
                  <a:lnTo>
                    <a:pt x="5116" y="988"/>
                  </a:lnTo>
                  <a:lnTo>
                    <a:pt x="5116" y="992"/>
                  </a:lnTo>
                  <a:lnTo>
                    <a:pt x="5114" y="998"/>
                  </a:lnTo>
                  <a:lnTo>
                    <a:pt x="5108" y="1004"/>
                  </a:lnTo>
                  <a:lnTo>
                    <a:pt x="5100" y="1012"/>
                  </a:lnTo>
                  <a:lnTo>
                    <a:pt x="5084" y="1024"/>
                  </a:lnTo>
                  <a:lnTo>
                    <a:pt x="5076" y="1028"/>
                  </a:lnTo>
                  <a:lnTo>
                    <a:pt x="5072" y="1030"/>
                  </a:lnTo>
                  <a:lnTo>
                    <a:pt x="5068" y="1028"/>
                  </a:lnTo>
                  <a:lnTo>
                    <a:pt x="5064" y="1026"/>
                  </a:lnTo>
                  <a:lnTo>
                    <a:pt x="5058" y="1020"/>
                  </a:lnTo>
                  <a:lnTo>
                    <a:pt x="5052" y="1012"/>
                  </a:lnTo>
                  <a:lnTo>
                    <a:pt x="5044" y="1004"/>
                  </a:lnTo>
                  <a:lnTo>
                    <a:pt x="5040" y="1000"/>
                  </a:lnTo>
                  <a:lnTo>
                    <a:pt x="5034" y="996"/>
                  </a:lnTo>
                  <a:lnTo>
                    <a:pt x="5028" y="996"/>
                  </a:lnTo>
                  <a:lnTo>
                    <a:pt x="5020" y="994"/>
                  </a:lnTo>
                  <a:lnTo>
                    <a:pt x="5012" y="994"/>
                  </a:lnTo>
                  <a:lnTo>
                    <a:pt x="5006" y="992"/>
                  </a:lnTo>
                  <a:lnTo>
                    <a:pt x="5004" y="990"/>
                  </a:lnTo>
                  <a:lnTo>
                    <a:pt x="5002" y="988"/>
                  </a:lnTo>
                  <a:lnTo>
                    <a:pt x="5000" y="978"/>
                  </a:lnTo>
                  <a:lnTo>
                    <a:pt x="5000" y="970"/>
                  </a:lnTo>
                  <a:lnTo>
                    <a:pt x="5000" y="962"/>
                  </a:lnTo>
                  <a:lnTo>
                    <a:pt x="4998" y="960"/>
                  </a:lnTo>
                  <a:lnTo>
                    <a:pt x="4994" y="958"/>
                  </a:lnTo>
                  <a:lnTo>
                    <a:pt x="4988" y="956"/>
                  </a:lnTo>
                  <a:lnTo>
                    <a:pt x="4980" y="958"/>
                  </a:lnTo>
                  <a:lnTo>
                    <a:pt x="4958" y="964"/>
                  </a:lnTo>
                  <a:lnTo>
                    <a:pt x="4944" y="968"/>
                  </a:lnTo>
                  <a:lnTo>
                    <a:pt x="4930" y="970"/>
                  </a:lnTo>
                  <a:lnTo>
                    <a:pt x="4920" y="972"/>
                  </a:lnTo>
                  <a:lnTo>
                    <a:pt x="4908" y="972"/>
                  </a:lnTo>
                  <a:lnTo>
                    <a:pt x="4890" y="968"/>
                  </a:lnTo>
                  <a:lnTo>
                    <a:pt x="4870" y="964"/>
                  </a:lnTo>
                  <a:lnTo>
                    <a:pt x="4850" y="958"/>
                  </a:lnTo>
                  <a:lnTo>
                    <a:pt x="4828" y="954"/>
                  </a:lnTo>
                  <a:lnTo>
                    <a:pt x="4814" y="954"/>
                  </a:lnTo>
                  <a:lnTo>
                    <a:pt x="4800" y="954"/>
                  </a:lnTo>
                  <a:lnTo>
                    <a:pt x="4784" y="956"/>
                  </a:lnTo>
                  <a:lnTo>
                    <a:pt x="4766" y="958"/>
                  </a:lnTo>
                  <a:lnTo>
                    <a:pt x="4732" y="966"/>
                  </a:lnTo>
                  <a:lnTo>
                    <a:pt x="4706" y="966"/>
                  </a:lnTo>
                  <a:lnTo>
                    <a:pt x="4686" y="964"/>
                  </a:lnTo>
                  <a:lnTo>
                    <a:pt x="4674" y="960"/>
                  </a:lnTo>
                  <a:lnTo>
                    <a:pt x="4668" y="956"/>
                  </a:lnTo>
                  <a:lnTo>
                    <a:pt x="4666" y="952"/>
                  </a:lnTo>
                  <a:lnTo>
                    <a:pt x="4662" y="944"/>
                  </a:lnTo>
                  <a:lnTo>
                    <a:pt x="4664" y="934"/>
                  </a:lnTo>
                  <a:lnTo>
                    <a:pt x="4668" y="924"/>
                  </a:lnTo>
                  <a:lnTo>
                    <a:pt x="4670" y="918"/>
                  </a:lnTo>
                  <a:lnTo>
                    <a:pt x="4670" y="912"/>
                  </a:lnTo>
                  <a:lnTo>
                    <a:pt x="4668" y="906"/>
                  </a:lnTo>
                  <a:lnTo>
                    <a:pt x="4662" y="898"/>
                  </a:lnTo>
                  <a:lnTo>
                    <a:pt x="4656" y="892"/>
                  </a:lnTo>
                  <a:lnTo>
                    <a:pt x="4648" y="884"/>
                  </a:lnTo>
                  <a:lnTo>
                    <a:pt x="4636" y="878"/>
                  </a:lnTo>
                  <a:lnTo>
                    <a:pt x="4624" y="872"/>
                  </a:lnTo>
                  <a:lnTo>
                    <a:pt x="4608" y="868"/>
                  </a:lnTo>
                  <a:lnTo>
                    <a:pt x="4592" y="862"/>
                  </a:lnTo>
                  <a:lnTo>
                    <a:pt x="4572" y="860"/>
                  </a:lnTo>
                  <a:lnTo>
                    <a:pt x="4552" y="856"/>
                  </a:lnTo>
                  <a:lnTo>
                    <a:pt x="4528" y="856"/>
                  </a:lnTo>
                  <a:lnTo>
                    <a:pt x="4504" y="856"/>
                  </a:lnTo>
                  <a:lnTo>
                    <a:pt x="4476" y="860"/>
                  </a:lnTo>
                  <a:lnTo>
                    <a:pt x="4448" y="864"/>
                  </a:lnTo>
                  <a:lnTo>
                    <a:pt x="4420" y="868"/>
                  </a:lnTo>
                  <a:lnTo>
                    <a:pt x="4396" y="870"/>
                  </a:lnTo>
                  <a:lnTo>
                    <a:pt x="4374" y="868"/>
                  </a:lnTo>
                  <a:lnTo>
                    <a:pt x="4358" y="866"/>
                  </a:lnTo>
                  <a:lnTo>
                    <a:pt x="4342" y="860"/>
                  </a:lnTo>
                  <a:lnTo>
                    <a:pt x="4328" y="854"/>
                  </a:lnTo>
                  <a:lnTo>
                    <a:pt x="4318" y="848"/>
                  </a:lnTo>
                  <a:lnTo>
                    <a:pt x="4308" y="840"/>
                  </a:lnTo>
                  <a:lnTo>
                    <a:pt x="4292" y="822"/>
                  </a:lnTo>
                  <a:lnTo>
                    <a:pt x="4278" y="804"/>
                  </a:lnTo>
                  <a:lnTo>
                    <a:pt x="4264" y="788"/>
                  </a:lnTo>
                  <a:lnTo>
                    <a:pt x="4256" y="782"/>
                  </a:lnTo>
                  <a:lnTo>
                    <a:pt x="4246" y="778"/>
                  </a:lnTo>
                  <a:lnTo>
                    <a:pt x="4228" y="772"/>
                  </a:lnTo>
                  <a:lnTo>
                    <a:pt x="4214" y="768"/>
                  </a:lnTo>
                  <a:lnTo>
                    <a:pt x="4186" y="768"/>
                  </a:lnTo>
                  <a:lnTo>
                    <a:pt x="4154" y="764"/>
                  </a:lnTo>
                  <a:lnTo>
                    <a:pt x="4130" y="762"/>
                  </a:lnTo>
                  <a:lnTo>
                    <a:pt x="4100" y="754"/>
                  </a:lnTo>
                  <a:lnTo>
                    <a:pt x="4068" y="748"/>
                  </a:lnTo>
                  <a:lnTo>
                    <a:pt x="4044" y="744"/>
                  </a:lnTo>
                  <a:lnTo>
                    <a:pt x="4002" y="740"/>
                  </a:lnTo>
                  <a:lnTo>
                    <a:pt x="3964" y="738"/>
                  </a:lnTo>
                  <a:lnTo>
                    <a:pt x="3944" y="734"/>
                  </a:lnTo>
                  <a:lnTo>
                    <a:pt x="3922" y="730"/>
                  </a:lnTo>
                  <a:lnTo>
                    <a:pt x="3902" y="724"/>
                  </a:lnTo>
                  <a:lnTo>
                    <a:pt x="3892" y="724"/>
                  </a:lnTo>
                  <a:lnTo>
                    <a:pt x="3892" y="726"/>
                  </a:lnTo>
                  <a:lnTo>
                    <a:pt x="3890" y="728"/>
                  </a:lnTo>
                  <a:lnTo>
                    <a:pt x="3890" y="734"/>
                  </a:lnTo>
                  <a:lnTo>
                    <a:pt x="3892" y="740"/>
                  </a:lnTo>
                  <a:lnTo>
                    <a:pt x="3890" y="744"/>
                  </a:lnTo>
                  <a:lnTo>
                    <a:pt x="3888" y="746"/>
                  </a:lnTo>
                  <a:lnTo>
                    <a:pt x="3882" y="750"/>
                  </a:lnTo>
                  <a:lnTo>
                    <a:pt x="3876" y="752"/>
                  </a:lnTo>
                  <a:lnTo>
                    <a:pt x="3854" y="754"/>
                  </a:lnTo>
                  <a:lnTo>
                    <a:pt x="3842" y="756"/>
                  </a:lnTo>
                  <a:lnTo>
                    <a:pt x="3834" y="758"/>
                  </a:lnTo>
                  <a:lnTo>
                    <a:pt x="3830" y="764"/>
                  </a:lnTo>
                  <a:lnTo>
                    <a:pt x="3830" y="768"/>
                  </a:lnTo>
                  <a:lnTo>
                    <a:pt x="3832" y="776"/>
                  </a:lnTo>
                  <a:lnTo>
                    <a:pt x="3836" y="782"/>
                  </a:lnTo>
                  <a:lnTo>
                    <a:pt x="3846" y="798"/>
                  </a:lnTo>
                  <a:lnTo>
                    <a:pt x="3856" y="812"/>
                  </a:lnTo>
                  <a:lnTo>
                    <a:pt x="3860" y="818"/>
                  </a:lnTo>
                  <a:lnTo>
                    <a:pt x="3862" y="822"/>
                  </a:lnTo>
                  <a:lnTo>
                    <a:pt x="3860" y="826"/>
                  </a:lnTo>
                  <a:lnTo>
                    <a:pt x="3856" y="828"/>
                  </a:lnTo>
                  <a:lnTo>
                    <a:pt x="3848" y="826"/>
                  </a:lnTo>
                  <a:lnTo>
                    <a:pt x="3836" y="824"/>
                  </a:lnTo>
                  <a:lnTo>
                    <a:pt x="3810" y="818"/>
                  </a:lnTo>
                  <a:lnTo>
                    <a:pt x="3792" y="818"/>
                  </a:lnTo>
                  <a:lnTo>
                    <a:pt x="3778" y="818"/>
                  </a:lnTo>
                  <a:lnTo>
                    <a:pt x="3770" y="820"/>
                  </a:lnTo>
                  <a:lnTo>
                    <a:pt x="3760" y="824"/>
                  </a:lnTo>
                  <a:lnTo>
                    <a:pt x="3750" y="824"/>
                  </a:lnTo>
                  <a:lnTo>
                    <a:pt x="3736" y="824"/>
                  </a:lnTo>
                  <a:lnTo>
                    <a:pt x="3716" y="820"/>
                  </a:lnTo>
                  <a:lnTo>
                    <a:pt x="3704" y="818"/>
                  </a:lnTo>
                  <a:lnTo>
                    <a:pt x="3694" y="818"/>
                  </a:lnTo>
                  <a:lnTo>
                    <a:pt x="3686" y="818"/>
                  </a:lnTo>
                  <a:lnTo>
                    <a:pt x="3676" y="820"/>
                  </a:lnTo>
                  <a:lnTo>
                    <a:pt x="3662" y="826"/>
                  </a:lnTo>
                  <a:lnTo>
                    <a:pt x="3650" y="832"/>
                  </a:lnTo>
                  <a:lnTo>
                    <a:pt x="3638" y="836"/>
                  </a:lnTo>
                  <a:lnTo>
                    <a:pt x="3632" y="838"/>
                  </a:lnTo>
                  <a:lnTo>
                    <a:pt x="3624" y="836"/>
                  </a:lnTo>
                  <a:lnTo>
                    <a:pt x="3616" y="836"/>
                  </a:lnTo>
                  <a:lnTo>
                    <a:pt x="3608" y="832"/>
                  </a:lnTo>
                  <a:lnTo>
                    <a:pt x="3598" y="826"/>
                  </a:lnTo>
                  <a:lnTo>
                    <a:pt x="3586" y="818"/>
                  </a:lnTo>
                  <a:lnTo>
                    <a:pt x="3576" y="812"/>
                  </a:lnTo>
                  <a:lnTo>
                    <a:pt x="3566" y="810"/>
                  </a:lnTo>
                  <a:lnTo>
                    <a:pt x="3558" y="810"/>
                  </a:lnTo>
                  <a:lnTo>
                    <a:pt x="3552" y="814"/>
                  </a:lnTo>
                  <a:lnTo>
                    <a:pt x="3546" y="820"/>
                  </a:lnTo>
                  <a:lnTo>
                    <a:pt x="3540" y="828"/>
                  </a:lnTo>
                  <a:lnTo>
                    <a:pt x="3530" y="848"/>
                  </a:lnTo>
                  <a:lnTo>
                    <a:pt x="3520" y="864"/>
                  </a:lnTo>
                  <a:lnTo>
                    <a:pt x="3514" y="872"/>
                  </a:lnTo>
                  <a:lnTo>
                    <a:pt x="3508" y="876"/>
                  </a:lnTo>
                  <a:lnTo>
                    <a:pt x="3500" y="878"/>
                  </a:lnTo>
                  <a:lnTo>
                    <a:pt x="3492" y="878"/>
                  </a:lnTo>
                  <a:lnTo>
                    <a:pt x="3482" y="872"/>
                  </a:lnTo>
                  <a:lnTo>
                    <a:pt x="3470" y="864"/>
                  </a:lnTo>
                  <a:lnTo>
                    <a:pt x="3428" y="824"/>
                  </a:lnTo>
                  <a:lnTo>
                    <a:pt x="3402" y="796"/>
                  </a:lnTo>
                  <a:lnTo>
                    <a:pt x="3390" y="784"/>
                  </a:lnTo>
                  <a:lnTo>
                    <a:pt x="3380" y="776"/>
                  </a:lnTo>
                  <a:lnTo>
                    <a:pt x="3368" y="768"/>
                  </a:lnTo>
                  <a:lnTo>
                    <a:pt x="3352" y="762"/>
                  </a:lnTo>
                  <a:lnTo>
                    <a:pt x="3346" y="760"/>
                  </a:lnTo>
                  <a:lnTo>
                    <a:pt x="3342" y="760"/>
                  </a:lnTo>
                  <a:lnTo>
                    <a:pt x="3338" y="762"/>
                  </a:lnTo>
                  <a:lnTo>
                    <a:pt x="3338" y="764"/>
                  </a:lnTo>
                  <a:lnTo>
                    <a:pt x="3340" y="772"/>
                  </a:lnTo>
                  <a:lnTo>
                    <a:pt x="3344" y="782"/>
                  </a:lnTo>
                  <a:lnTo>
                    <a:pt x="3348" y="792"/>
                  </a:lnTo>
                  <a:lnTo>
                    <a:pt x="3350" y="798"/>
                  </a:lnTo>
                  <a:lnTo>
                    <a:pt x="3348" y="798"/>
                  </a:lnTo>
                  <a:lnTo>
                    <a:pt x="3346" y="798"/>
                  </a:lnTo>
                  <a:lnTo>
                    <a:pt x="3336" y="790"/>
                  </a:lnTo>
                  <a:lnTo>
                    <a:pt x="3318" y="778"/>
                  </a:lnTo>
                  <a:lnTo>
                    <a:pt x="3296" y="766"/>
                  </a:lnTo>
                  <a:lnTo>
                    <a:pt x="3270" y="754"/>
                  </a:lnTo>
                  <a:lnTo>
                    <a:pt x="3242" y="744"/>
                  </a:lnTo>
                  <a:lnTo>
                    <a:pt x="3208" y="734"/>
                  </a:lnTo>
                  <a:lnTo>
                    <a:pt x="3170" y="728"/>
                  </a:lnTo>
                  <a:lnTo>
                    <a:pt x="3128" y="722"/>
                  </a:lnTo>
                  <a:lnTo>
                    <a:pt x="3082" y="716"/>
                  </a:lnTo>
                  <a:lnTo>
                    <a:pt x="3030" y="712"/>
                  </a:lnTo>
                  <a:lnTo>
                    <a:pt x="3012" y="708"/>
                  </a:lnTo>
                  <a:lnTo>
                    <a:pt x="3000" y="704"/>
                  </a:lnTo>
                  <a:lnTo>
                    <a:pt x="2994" y="702"/>
                  </a:lnTo>
                  <a:lnTo>
                    <a:pt x="2992" y="698"/>
                  </a:lnTo>
                  <a:lnTo>
                    <a:pt x="2992" y="694"/>
                  </a:lnTo>
                  <a:lnTo>
                    <a:pt x="2994" y="690"/>
                  </a:lnTo>
                  <a:lnTo>
                    <a:pt x="3002" y="684"/>
                  </a:lnTo>
                  <a:lnTo>
                    <a:pt x="3008" y="678"/>
                  </a:lnTo>
                  <a:lnTo>
                    <a:pt x="3008" y="676"/>
                  </a:lnTo>
                  <a:lnTo>
                    <a:pt x="3006" y="674"/>
                  </a:lnTo>
                  <a:lnTo>
                    <a:pt x="3002" y="672"/>
                  </a:lnTo>
                  <a:lnTo>
                    <a:pt x="2992" y="670"/>
                  </a:lnTo>
                  <a:lnTo>
                    <a:pt x="2946" y="666"/>
                  </a:lnTo>
                  <a:lnTo>
                    <a:pt x="2904" y="664"/>
                  </a:lnTo>
                  <a:lnTo>
                    <a:pt x="2864" y="664"/>
                  </a:lnTo>
                  <a:lnTo>
                    <a:pt x="2844" y="666"/>
                  </a:lnTo>
                  <a:lnTo>
                    <a:pt x="2822" y="670"/>
                  </a:lnTo>
                  <a:lnTo>
                    <a:pt x="2814" y="670"/>
                  </a:lnTo>
                  <a:lnTo>
                    <a:pt x="2806" y="670"/>
                  </a:lnTo>
                  <a:lnTo>
                    <a:pt x="2800" y="670"/>
                  </a:lnTo>
                  <a:lnTo>
                    <a:pt x="2794" y="668"/>
                  </a:lnTo>
                  <a:lnTo>
                    <a:pt x="2790" y="662"/>
                  </a:lnTo>
                  <a:lnTo>
                    <a:pt x="2786" y="654"/>
                  </a:lnTo>
                  <a:lnTo>
                    <a:pt x="2784" y="648"/>
                  </a:lnTo>
                  <a:lnTo>
                    <a:pt x="2780" y="644"/>
                  </a:lnTo>
                  <a:lnTo>
                    <a:pt x="2778" y="642"/>
                  </a:lnTo>
                  <a:lnTo>
                    <a:pt x="2774" y="642"/>
                  </a:lnTo>
                  <a:lnTo>
                    <a:pt x="2762" y="648"/>
                  </a:lnTo>
                  <a:lnTo>
                    <a:pt x="2748" y="654"/>
                  </a:lnTo>
                  <a:lnTo>
                    <a:pt x="2738" y="654"/>
                  </a:lnTo>
                  <a:lnTo>
                    <a:pt x="2730" y="652"/>
                  </a:lnTo>
                  <a:lnTo>
                    <a:pt x="2722" y="648"/>
                  </a:lnTo>
                  <a:lnTo>
                    <a:pt x="2714" y="644"/>
                  </a:lnTo>
                  <a:lnTo>
                    <a:pt x="2704" y="640"/>
                  </a:lnTo>
                  <a:lnTo>
                    <a:pt x="2692" y="638"/>
                  </a:lnTo>
                  <a:lnTo>
                    <a:pt x="2676" y="640"/>
                  </a:lnTo>
                  <a:lnTo>
                    <a:pt x="2660" y="644"/>
                  </a:lnTo>
                  <a:lnTo>
                    <a:pt x="2652" y="650"/>
                  </a:lnTo>
                  <a:lnTo>
                    <a:pt x="2650" y="658"/>
                  </a:lnTo>
                  <a:lnTo>
                    <a:pt x="2648" y="664"/>
                  </a:lnTo>
                  <a:lnTo>
                    <a:pt x="2642" y="672"/>
                  </a:lnTo>
                  <a:lnTo>
                    <a:pt x="2634" y="680"/>
                  </a:lnTo>
                  <a:lnTo>
                    <a:pt x="2614" y="686"/>
                  </a:lnTo>
                  <a:lnTo>
                    <a:pt x="2586" y="692"/>
                  </a:lnTo>
                  <a:lnTo>
                    <a:pt x="2554" y="696"/>
                  </a:lnTo>
                  <a:lnTo>
                    <a:pt x="2530" y="698"/>
                  </a:lnTo>
                  <a:lnTo>
                    <a:pt x="2516" y="696"/>
                  </a:lnTo>
                  <a:lnTo>
                    <a:pt x="2512" y="694"/>
                  </a:lnTo>
                  <a:lnTo>
                    <a:pt x="2512" y="692"/>
                  </a:lnTo>
                  <a:lnTo>
                    <a:pt x="2512" y="690"/>
                  </a:lnTo>
                  <a:lnTo>
                    <a:pt x="2516" y="686"/>
                  </a:lnTo>
                  <a:lnTo>
                    <a:pt x="2528" y="676"/>
                  </a:lnTo>
                  <a:lnTo>
                    <a:pt x="2550" y="666"/>
                  </a:lnTo>
                  <a:lnTo>
                    <a:pt x="2580" y="652"/>
                  </a:lnTo>
                  <a:lnTo>
                    <a:pt x="2610" y="640"/>
                  </a:lnTo>
                  <a:lnTo>
                    <a:pt x="2632" y="628"/>
                  </a:lnTo>
                  <a:lnTo>
                    <a:pt x="2660" y="610"/>
                  </a:lnTo>
                  <a:lnTo>
                    <a:pt x="2672" y="602"/>
                  </a:lnTo>
                  <a:lnTo>
                    <a:pt x="2688" y="594"/>
                  </a:lnTo>
                  <a:lnTo>
                    <a:pt x="2706" y="586"/>
                  </a:lnTo>
                  <a:lnTo>
                    <a:pt x="2734" y="576"/>
                  </a:lnTo>
                  <a:lnTo>
                    <a:pt x="2762" y="566"/>
                  </a:lnTo>
                  <a:lnTo>
                    <a:pt x="2782" y="554"/>
                  </a:lnTo>
                  <a:lnTo>
                    <a:pt x="2788" y="548"/>
                  </a:lnTo>
                  <a:lnTo>
                    <a:pt x="2794" y="542"/>
                  </a:lnTo>
                  <a:lnTo>
                    <a:pt x="2802" y="528"/>
                  </a:lnTo>
                  <a:lnTo>
                    <a:pt x="2806" y="514"/>
                  </a:lnTo>
                  <a:lnTo>
                    <a:pt x="2806" y="502"/>
                  </a:lnTo>
                  <a:lnTo>
                    <a:pt x="2802" y="490"/>
                  </a:lnTo>
                  <a:lnTo>
                    <a:pt x="2798" y="478"/>
                  </a:lnTo>
                  <a:lnTo>
                    <a:pt x="2792" y="470"/>
                  </a:lnTo>
                  <a:lnTo>
                    <a:pt x="2784" y="464"/>
                  </a:lnTo>
                  <a:lnTo>
                    <a:pt x="2776" y="462"/>
                  </a:lnTo>
                  <a:lnTo>
                    <a:pt x="2768" y="460"/>
                  </a:lnTo>
                  <a:lnTo>
                    <a:pt x="2748" y="454"/>
                  </a:lnTo>
                  <a:lnTo>
                    <a:pt x="2738" y="448"/>
                  </a:lnTo>
                  <a:lnTo>
                    <a:pt x="2724" y="438"/>
                  </a:lnTo>
                  <a:lnTo>
                    <a:pt x="2712" y="430"/>
                  </a:lnTo>
                  <a:lnTo>
                    <a:pt x="2700" y="426"/>
                  </a:lnTo>
                  <a:lnTo>
                    <a:pt x="2686" y="424"/>
                  </a:lnTo>
                  <a:lnTo>
                    <a:pt x="2672" y="424"/>
                  </a:lnTo>
                  <a:lnTo>
                    <a:pt x="2644" y="428"/>
                  </a:lnTo>
                  <a:lnTo>
                    <a:pt x="2628" y="428"/>
                  </a:lnTo>
                  <a:lnTo>
                    <a:pt x="2612" y="426"/>
                  </a:lnTo>
                  <a:lnTo>
                    <a:pt x="2598" y="424"/>
                  </a:lnTo>
                  <a:lnTo>
                    <a:pt x="2590" y="424"/>
                  </a:lnTo>
                  <a:lnTo>
                    <a:pt x="2582" y="426"/>
                  </a:lnTo>
                  <a:lnTo>
                    <a:pt x="2578" y="428"/>
                  </a:lnTo>
                  <a:lnTo>
                    <a:pt x="2574" y="432"/>
                  </a:lnTo>
                  <a:lnTo>
                    <a:pt x="2566" y="436"/>
                  </a:lnTo>
                  <a:lnTo>
                    <a:pt x="2554" y="440"/>
                  </a:lnTo>
                  <a:lnTo>
                    <a:pt x="2538" y="444"/>
                  </a:lnTo>
                  <a:lnTo>
                    <a:pt x="2516" y="444"/>
                  </a:lnTo>
                  <a:lnTo>
                    <a:pt x="2512" y="444"/>
                  </a:lnTo>
                  <a:lnTo>
                    <a:pt x="2512" y="442"/>
                  </a:lnTo>
                  <a:lnTo>
                    <a:pt x="2516" y="436"/>
                  </a:lnTo>
                  <a:lnTo>
                    <a:pt x="2528" y="428"/>
                  </a:lnTo>
                  <a:lnTo>
                    <a:pt x="2538" y="420"/>
                  </a:lnTo>
                  <a:lnTo>
                    <a:pt x="2540" y="416"/>
                  </a:lnTo>
                  <a:lnTo>
                    <a:pt x="2542" y="412"/>
                  </a:lnTo>
                  <a:lnTo>
                    <a:pt x="2540" y="410"/>
                  </a:lnTo>
                  <a:lnTo>
                    <a:pt x="2534" y="406"/>
                  </a:lnTo>
                  <a:lnTo>
                    <a:pt x="2524" y="404"/>
                  </a:lnTo>
                  <a:lnTo>
                    <a:pt x="2508" y="402"/>
                  </a:lnTo>
                  <a:lnTo>
                    <a:pt x="2478" y="400"/>
                  </a:lnTo>
                  <a:lnTo>
                    <a:pt x="2458" y="398"/>
                  </a:lnTo>
                  <a:lnTo>
                    <a:pt x="2448" y="394"/>
                  </a:lnTo>
                  <a:lnTo>
                    <a:pt x="2446" y="394"/>
                  </a:lnTo>
                  <a:lnTo>
                    <a:pt x="2446" y="392"/>
                  </a:lnTo>
                  <a:lnTo>
                    <a:pt x="2450" y="388"/>
                  </a:lnTo>
                  <a:lnTo>
                    <a:pt x="2458" y="386"/>
                  </a:lnTo>
                  <a:lnTo>
                    <a:pt x="2486" y="378"/>
                  </a:lnTo>
                  <a:lnTo>
                    <a:pt x="2492" y="376"/>
                  </a:lnTo>
                  <a:lnTo>
                    <a:pt x="2496" y="374"/>
                  </a:lnTo>
                  <a:lnTo>
                    <a:pt x="2496" y="370"/>
                  </a:lnTo>
                  <a:lnTo>
                    <a:pt x="2496" y="366"/>
                  </a:lnTo>
                  <a:lnTo>
                    <a:pt x="2492" y="364"/>
                  </a:lnTo>
                  <a:lnTo>
                    <a:pt x="2486" y="360"/>
                  </a:lnTo>
                  <a:lnTo>
                    <a:pt x="2470" y="352"/>
                  </a:lnTo>
                  <a:lnTo>
                    <a:pt x="2448" y="348"/>
                  </a:lnTo>
                  <a:lnTo>
                    <a:pt x="2422" y="348"/>
                  </a:lnTo>
                  <a:lnTo>
                    <a:pt x="2408" y="348"/>
                  </a:lnTo>
                  <a:lnTo>
                    <a:pt x="2392" y="352"/>
                  </a:lnTo>
                  <a:lnTo>
                    <a:pt x="2378" y="356"/>
                  </a:lnTo>
                  <a:lnTo>
                    <a:pt x="2362" y="362"/>
                  </a:lnTo>
                  <a:lnTo>
                    <a:pt x="2342" y="370"/>
                  </a:lnTo>
                  <a:lnTo>
                    <a:pt x="2326" y="380"/>
                  </a:lnTo>
                  <a:lnTo>
                    <a:pt x="2314" y="388"/>
                  </a:lnTo>
                  <a:lnTo>
                    <a:pt x="2304" y="396"/>
                  </a:lnTo>
                  <a:lnTo>
                    <a:pt x="2296" y="402"/>
                  </a:lnTo>
                  <a:lnTo>
                    <a:pt x="2292" y="408"/>
                  </a:lnTo>
                  <a:lnTo>
                    <a:pt x="2286" y="420"/>
                  </a:lnTo>
                  <a:lnTo>
                    <a:pt x="2284" y="428"/>
                  </a:lnTo>
                  <a:lnTo>
                    <a:pt x="2280" y="434"/>
                  </a:lnTo>
                  <a:lnTo>
                    <a:pt x="2276" y="436"/>
                  </a:lnTo>
                  <a:lnTo>
                    <a:pt x="2272" y="438"/>
                  </a:lnTo>
                  <a:lnTo>
                    <a:pt x="2256" y="440"/>
                  </a:lnTo>
                  <a:lnTo>
                    <a:pt x="2224" y="442"/>
                  </a:lnTo>
                  <a:lnTo>
                    <a:pt x="2208" y="444"/>
                  </a:lnTo>
                  <a:lnTo>
                    <a:pt x="2206" y="444"/>
                  </a:lnTo>
                  <a:lnTo>
                    <a:pt x="2206" y="446"/>
                  </a:lnTo>
                  <a:lnTo>
                    <a:pt x="2206" y="448"/>
                  </a:lnTo>
                  <a:lnTo>
                    <a:pt x="2210" y="452"/>
                  </a:lnTo>
                  <a:lnTo>
                    <a:pt x="2208" y="456"/>
                  </a:lnTo>
                  <a:lnTo>
                    <a:pt x="2206" y="458"/>
                  </a:lnTo>
                  <a:lnTo>
                    <a:pt x="2192" y="464"/>
                  </a:lnTo>
                  <a:lnTo>
                    <a:pt x="2162" y="472"/>
                  </a:lnTo>
                  <a:lnTo>
                    <a:pt x="2132" y="478"/>
                  </a:lnTo>
                  <a:lnTo>
                    <a:pt x="2118" y="478"/>
                  </a:lnTo>
                  <a:lnTo>
                    <a:pt x="2114" y="476"/>
                  </a:lnTo>
                  <a:lnTo>
                    <a:pt x="2112" y="474"/>
                  </a:lnTo>
                  <a:lnTo>
                    <a:pt x="2112" y="470"/>
                  </a:lnTo>
                  <a:lnTo>
                    <a:pt x="2110" y="468"/>
                  </a:lnTo>
                  <a:lnTo>
                    <a:pt x="2108" y="464"/>
                  </a:lnTo>
                  <a:lnTo>
                    <a:pt x="2106" y="462"/>
                  </a:lnTo>
                  <a:lnTo>
                    <a:pt x="2098" y="462"/>
                  </a:lnTo>
                  <a:lnTo>
                    <a:pt x="2076" y="460"/>
                  </a:lnTo>
                  <a:lnTo>
                    <a:pt x="2034" y="464"/>
                  </a:lnTo>
                  <a:lnTo>
                    <a:pt x="1994" y="472"/>
                  </a:lnTo>
                  <a:lnTo>
                    <a:pt x="1982" y="474"/>
                  </a:lnTo>
                  <a:lnTo>
                    <a:pt x="1974" y="478"/>
                  </a:lnTo>
                  <a:lnTo>
                    <a:pt x="1970" y="482"/>
                  </a:lnTo>
                  <a:lnTo>
                    <a:pt x="1968" y="484"/>
                  </a:lnTo>
                  <a:lnTo>
                    <a:pt x="1970" y="490"/>
                  </a:lnTo>
                  <a:lnTo>
                    <a:pt x="1970" y="494"/>
                  </a:lnTo>
                  <a:lnTo>
                    <a:pt x="1970" y="496"/>
                  </a:lnTo>
                  <a:lnTo>
                    <a:pt x="1968" y="500"/>
                  </a:lnTo>
                  <a:lnTo>
                    <a:pt x="1964" y="502"/>
                  </a:lnTo>
                  <a:lnTo>
                    <a:pt x="1954" y="504"/>
                  </a:lnTo>
                  <a:lnTo>
                    <a:pt x="1942" y="506"/>
                  </a:lnTo>
                  <a:lnTo>
                    <a:pt x="1898" y="512"/>
                  </a:lnTo>
                  <a:lnTo>
                    <a:pt x="1850" y="516"/>
                  </a:lnTo>
                  <a:lnTo>
                    <a:pt x="1818" y="522"/>
                  </a:lnTo>
                  <a:lnTo>
                    <a:pt x="1800" y="526"/>
                  </a:lnTo>
                  <a:lnTo>
                    <a:pt x="1790" y="532"/>
                  </a:lnTo>
                  <a:lnTo>
                    <a:pt x="1784" y="538"/>
                  </a:lnTo>
                  <a:lnTo>
                    <a:pt x="1776" y="542"/>
                  </a:lnTo>
                  <a:lnTo>
                    <a:pt x="1764" y="546"/>
                  </a:lnTo>
                  <a:lnTo>
                    <a:pt x="1742" y="550"/>
                  </a:lnTo>
                  <a:lnTo>
                    <a:pt x="1728" y="550"/>
                  </a:lnTo>
                  <a:lnTo>
                    <a:pt x="1718" y="554"/>
                  </a:lnTo>
                  <a:lnTo>
                    <a:pt x="1708" y="558"/>
                  </a:lnTo>
                  <a:lnTo>
                    <a:pt x="1698" y="562"/>
                  </a:lnTo>
                  <a:lnTo>
                    <a:pt x="1692" y="566"/>
                  </a:lnTo>
                  <a:lnTo>
                    <a:pt x="1686" y="572"/>
                  </a:lnTo>
                  <a:lnTo>
                    <a:pt x="1682" y="578"/>
                  </a:lnTo>
                  <a:lnTo>
                    <a:pt x="1680" y="584"/>
                  </a:lnTo>
                  <a:lnTo>
                    <a:pt x="1678" y="590"/>
                  </a:lnTo>
                  <a:lnTo>
                    <a:pt x="1678" y="596"/>
                  </a:lnTo>
                  <a:lnTo>
                    <a:pt x="1680" y="602"/>
                  </a:lnTo>
                  <a:lnTo>
                    <a:pt x="1682" y="608"/>
                  </a:lnTo>
                  <a:lnTo>
                    <a:pt x="1686" y="612"/>
                  </a:lnTo>
                  <a:lnTo>
                    <a:pt x="1690" y="616"/>
                  </a:lnTo>
                  <a:lnTo>
                    <a:pt x="1696" y="618"/>
                  </a:lnTo>
                  <a:lnTo>
                    <a:pt x="1704" y="620"/>
                  </a:lnTo>
                  <a:lnTo>
                    <a:pt x="1716" y="622"/>
                  </a:lnTo>
                  <a:lnTo>
                    <a:pt x="1724" y="624"/>
                  </a:lnTo>
                  <a:lnTo>
                    <a:pt x="1726" y="628"/>
                  </a:lnTo>
                  <a:lnTo>
                    <a:pt x="1724" y="634"/>
                  </a:lnTo>
                  <a:lnTo>
                    <a:pt x="1716" y="638"/>
                  </a:lnTo>
                  <a:lnTo>
                    <a:pt x="1704" y="644"/>
                  </a:lnTo>
                  <a:lnTo>
                    <a:pt x="1690" y="648"/>
                  </a:lnTo>
                  <a:lnTo>
                    <a:pt x="1672" y="652"/>
                  </a:lnTo>
                  <a:lnTo>
                    <a:pt x="1638" y="658"/>
                  </a:lnTo>
                  <a:lnTo>
                    <a:pt x="1604" y="662"/>
                  </a:lnTo>
                  <a:lnTo>
                    <a:pt x="1542" y="662"/>
                  </a:lnTo>
                  <a:lnTo>
                    <a:pt x="1514" y="662"/>
                  </a:lnTo>
                  <a:lnTo>
                    <a:pt x="1490" y="666"/>
                  </a:lnTo>
                  <a:lnTo>
                    <a:pt x="1480" y="668"/>
                  </a:lnTo>
                  <a:lnTo>
                    <a:pt x="1470" y="672"/>
                  </a:lnTo>
                  <a:lnTo>
                    <a:pt x="1462" y="676"/>
                  </a:lnTo>
                  <a:lnTo>
                    <a:pt x="1458" y="682"/>
                  </a:lnTo>
                  <a:lnTo>
                    <a:pt x="1450" y="692"/>
                  </a:lnTo>
                  <a:lnTo>
                    <a:pt x="1450" y="696"/>
                  </a:lnTo>
                  <a:lnTo>
                    <a:pt x="1452" y="698"/>
                  </a:lnTo>
                  <a:lnTo>
                    <a:pt x="1456" y="702"/>
                  </a:lnTo>
                  <a:lnTo>
                    <a:pt x="1462" y="704"/>
                  </a:lnTo>
                  <a:lnTo>
                    <a:pt x="1470" y="706"/>
                  </a:lnTo>
                  <a:lnTo>
                    <a:pt x="1476" y="710"/>
                  </a:lnTo>
                  <a:lnTo>
                    <a:pt x="1476" y="714"/>
                  </a:lnTo>
                  <a:lnTo>
                    <a:pt x="1476" y="718"/>
                  </a:lnTo>
                  <a:lnTo>
                    <a:pt x="1476" y="724"/>
                  </a:lnTo>
                  <a:lnTo>
                    <a:pt x="1472" y="732"/>
                  </a:lnTo>
                  <a:lnTo>
                    <a:pt x="1468" y="738"/>
                  </a:lnTo>
                  <a:lnTo>
                    <a:pt x="1468" y="744"/>
                  </a:lnTo>
                  <a:lnTo>
                    <a:pt x="1468" y="748"/>
                  </a:lnTo>
                  <a:lnTo>
                    <a:pt x="1472" y="752"/>
                  </a:lnTo>
                  <a:lnTo>
                    <a:pt x="1480" y="756"/>
                  </a:lnTo>
                  <a:lnTo>
                    <a:pt x="1492" y="758"/>
                  </a:lnTo>
                  <a:lnTo>
                    <a:pt x="1506" y="760"/>
                  </a:lnTo>
                  <a:lnTo>
                    <a:pt x="1520" y="764"/>
                  </a:lnTo>
                  <a:lnTo>
                    <a:pt x="1524" y="766"/>
                  </a:lnTo>
                  <a:lnTo>
                    <a:pt x="1528" y="770"/>
                  </a:lnTo>
                  <a:lnTo>
                    <a:pt x="1532" y="774"/>
                  </a:lnTo>
                  <a:lnTo>
                    <a:pt x="1532" y="780"/>
                  </a:lnTo>
                  <a:lnTo>
                    <a:pt x="1534" y="786"/>
                  </a:lnTo>
                  <a:lnTo>
                    <a:pt x="1536" y="790"/>
                  </a:lnTo>
                  <a:lnTo>
                    <a:pt x="1540" y="792"/>
                  </a:lnTo>
                  <a:lnTo>
                    <a:pt x="1546" y="794"/>
                  </a:lnTo>
                  <a:lnTo>
                    <a:pt x="1556" y="796"/>
                  </a:lnTo>
                  <a:lnTo>
                    <a:pt x="1568" y="796"/>
                  </a:lnTo>
                  <a:lnTo>
                    <a:pt x="1580" y="798"/>
                  </a:lnTo>
                  <a:lnTo>
                    <a:pt x="1584" y="800"/>
                  </a:lnTo>
                  <a:lnTo>
                    <a:pt x="1586" y="804"/>
                  </a:lnTo>
                  <a:lnTo>
                    <a:pt x="1588" y="806"/>
                  </a:lnTo>
                  <a:lnTo>
                    <a:pt x="1588" y="812"/>
                  </a:lnTo>
                  <a:lnTo>
                    <a:pt x="1586" y="818"/>
                  </a:lnTo>
                  <a:lnTo>
                    <a:pt x="1582" y="828"/>
                  </a:lnTo>
                  <a:lnTo>
                    <a:pt x="1578" y="836"/>
                  </a:lnTo>
                  <a:lnTo>
                    <a:pt x="1576" y="844"/>
                  </a:lnTo>
                  <a:lnTo>
                    <a:pt x="1576" y="852"/>
                  </a:lnTo>
                  <a:lnTo>
                    <a:pt x="1578" y="858"/>
                  </a:lnTo>
                  <a:lnTo>
                    <a:pt x="1582" y="868"/>
                  </a:lnTo>
                  <a:lnTo>
                    <a:pt x="1590" y="876"/>
                  </a:lnTo>
                  <a:lnTo>
                    <a:pt x="1596" y="882"/>
                  </a:lnTo>
                  <a:lnTo>
                    <a:pt x="1598" y="886"/>
                  </a:lnTo>
                  <a:lnTo>
                    <a:pt x="1598" y="890"/>
                  </a:lnTo>
                  <a:lnTo>
                    <a:pt x="1598" y="896"/>
                  </a:lnTo>
                  <a:lnTo>
                    <a:pt x="1596" y="900"/>
                  </a:lnTo>
                  <a:lnTo>
                    <a:pt x="1590" y="906"/>
                  </a:lnTo>
                  <a:lnTo>
                    <a:pt x="1584" y="912"/>
                  </a:lnTo>
                  <a:lnTo>
                    <a:pt x="1570" y="922"/>
                  </a:lnTo>
                  <a:lnTo>
                    <a:pt x="1566" y="924"/>
                  </a:lnTo>
                  <a:lnTo>
                    <a:pt x="1564" y="922"/>
                  </a:lnTo>
                  <a:lnTo>
                    <a:pt x="1566" y="912"/>
                  </a:lnTo>
                  <a:lnTo>
                    <a:pt x="1568" y="898"/>
                  </a:lnTo>
                  <a:lnTo>
                    <a:pt x="1572" y="884"/>
                  </a:lnTo>
                  <a:lnTo>
                    <a:pt x="1572" y="878"/>
                  </a:lnTo>
                  <a:lnTo>
                    <a:pt x="1572" y="872"/>
                  </a:lnTo>
                  <a:lnTo>
                    <a:pt x="1570" y="866"/>
                  </a:lnTo>
                  <a:lnTo>
                    <a:pt x="1566" y="864"/>
                  </a:lnTo>
                  <a:lnTo>
                    <a:pt x="1560" y="864"/>
                  </a:lnTo>
                  <a:lnTo>
                    <a:pt x="1552" y="866"/>
                  </a:lnTo>
                  <a:lnTo>
                    <a:pt x="1542" y="868"/>
                  </a:lnTo>
                  <a:lnTo>
                    <a:pt x="1538" y="868"/>
                  </a:lnTo>
                  <a:lnTo>
                    <a:pt x="1536" y="866"/>
                  </a:lnTo>
                  <a:lnTo>
                    <a:pt x="1536" y="864"/>
                  </a:lnTo>
                  <a:lnTo>
                    <a:pt x="1542" y="856"/>
                  </a:lnTo>
                  <a:lnTo>
                    <a:pt x="1550" y="844"/>
                  </a:lnTo>
                  <a:lnTo>
                    <a:pt x="1560" y="832"/>
                  </a:lnTo>
                  <a:lnTo>
                    <a:pt x="1562" y="826"/>
                  </a:lnTo>
                  <a:lnTo>
                    <a:pt x="1564" y="820"/>
                  </a:lnTo>
                  <a:lnTo>
                    <a:pt x="1562" y="816"/>
                  </a:lnTo>
                  <a:lnTo>
                    <a:pt x="1558" y="812"/>
                  </a:lnTo>
                  <a:lnTo>
                    <a:pt x="1552" y="810"/>
                  </a:lnTo>
                  <a:lnTo>
                    <a:pt x="1540" y="810"/>
                  </a:lnTo>
                  <a:lnTo>
                    <a:pt x="1518" y="810"/>
                  </a:lnTo>
                  <a:lnTo>
                    <a:pt x="1504" y="806"/>
                  </a:lnTo>
                  <a:lnTo>
                    <a:pt x="1492" y="798"/>
                  </a:lnTo>
                  <a:lnTo>
                    <a:pt x="1482" y="792"/>
                  </a:lnTo>
                  <a:lnTo>
                    <a:pt x="1472" y="782"/>
                  </a:lnTo>
                  <a:lnTo>
                    <a:pt x="1460" y="774"/>
                  </a:lnTo>
                  <a:lnTo>
                    <a:pt x="1442" y="768"/>
                  </a:lnTo>
                  <a:lnTo>
                    <a:pt x="1416" y="762"/>
                  </a:lnTo>
                  <a:lnTo>
                    <a:pt x="1400" y="760"/>
                  </a:lnTo>
                  <a:lnTo>
                    <a:pt x="1386" y="760"/>
                  </a:lnTo>
                  <a:lnTo>
                    <a:pt x="1374" y="760"/>
                  </a:lnTo>
                  <a:lnTo>
                    <a:pt x="1364" y="762"/>
                  </a:lnTo>
                  <a:lnTo>
                    <a:pt x="1358" y="764"/>
                  </a:lnTo>
                  <a:lnTo>
                    <a:pt x="1352" y="768"/>
                  </a:lnTo>
                  <a:lnTo>
                    <a:pt x="1346" y="776"/>
                  </a:lnTo>
                  <a:lnTo>
                    <a:pt x="1342" y="784"/>
                  </a:lnTo>
                  <a:lnTo>
                    <a:pt x="1340" y="790"/>
                  </a:lnTo>
                  <a:lnTo>
                    <a:pt x="1336" y="794"/>
                  </a:lnTo>
                  <a:lnTo>
                    <a:pt x="1334" y="794"/>
                  </a:lnTo>
                  <a:lnTo>
                    <a:pt x="1330" y="792"/>
                  </a:lnTo>
                  <a:lnTo>
                    <a:pt x="1316" y="788"/>
                  </a:lnTo>
                  <a:lnTo>
                    <a:pt x="1302" y="788"/>
                  </a:lnTo>
                  <a:lnTo>
                    <a:pt x="1292" y="792"/>
                  </a:lnTo>
                  <a:lnTo>
                    <a:pt x="1284" y="796"/>
                  </a:lnTo>
                  <a:lnTo>
                    <a:pt x="1282" y="800"/>
                  </a:lnTo>
                  <a:lnTo>
                    <a:pt x="1282" y="804"/>
                  </a:lnTo>
                  <a:lnTo>
                    <a:pt x="1282" y="808"/>
                  </a:lnTo>
                  <a:lnTo>
                    <a:pt x="1284" y="812"/>
                  </a:lnTo>
                  <a:lnTo>
                    <a:pt x="1288" y="816"/>
                  </a:lnTo>
                  <a:lnTo>
                    <a:pt x="1294" y="820"/>
                  </a:lnTo>
                  <a:lnTo>
                    <a:pt x="1314" y="828"/>
                  </a:lnTo>
                  <a:lnTo>
                    <a:pt x="1332" y="834"/>
                  </a:lnTo>
                  <a:lnTo>
                    <a:pt x="1342" y="840"/>
                  </a:lnTo>
                  <a:lnTo>
                    <a:pt x="1344" y="842"/>
                  </a:lnTo>
                  <a:lnTo>
                    <a:pt x="1344" y="844"/>
                  </a:lnTo>
                  <a:lnTo>
                    <a:pt x="1340" y="846"/>
                  </a:lnTo>
                  <a:lnTo>
                    <a:pt x="1332" y="848"/>
                  </a:lnTo>
                  <a:lnTo>
                    <a:pt x="1318" y="848"/>
                  </a:lnTo>
                  <a:lnTo>
                    <a:pt x="1280" y="844"/>
                  </a:lnTo>
                  <a:lnTo>
                    <a:pt x="1270" y="842"/>
                  </a:lnTo>
                  <a:lnTo>
                    <a:pt x="1264" y="840"/>
                  </a:lnTo>
                  <a:lnTo>
                    <a:pt x="1260" y="836"/>
                  </a:lnTo>
                  <a:lnTo>
                    <a:pt x="1256" y="830"/>
                  </a:lnTo>
                  <a:lnTo>
                    <a:pt x="1256" y="824"/>
                  </a:lnTo>
                  <a:lnTo>
                    <a:pt x="1256" y="818"/>
                  </a:lnTo>
                  <a:lnTo>
                    <a:pt x="1260" y="804"/>
                  </a:lnTo>
                  <a:lnTo>
                    <a:pt x="1264" y="788"/>
                  </a:lnTo>
                  <a:lnTo>
                    <a:pt x="1268" y="772"/>
                  </a:lnTo>
                  <a:lnTo>
                    <a:pt x="1270" y="758"/>
                  </a:lnTo>
                  <a:lnTo>
                    <a:pt x="1268" y="750"/>
                  </a:lnTo>
                  <a:lnTo>
                    <a:pt x="1266" y="744"/>
                  </a:lnTo>
                  <a:lnTo>
                    <a:pt x="1258" y="734"/>
                  </a:lnTo>
                  <a:lnTo>
                    <a:pt x="1250" y="726"/>
                  </a:lnTo>
                  <a:lnTo>
                    <a:pt x="1244" y="722"/>
                  </a:lnTo>
                  <a:lnTo>
                    <a:pt x="1240" y="722"/>
                  </a:lnTo>
                  <a:lnTo>
                    <a:pt x="1236" y="724"/>
                  </a:lnTo>
                  <a:lnTo>
                    <a:pt x="1234" y="730"/>
                  </a:lnTo>
                  <a:lnTo>
                    <a:pt x="1234" y="738"/>
                  </a:lnTo>
                  <a:lnTo>
                    <a:pt x="1238" y="752"/>
                  </a:lnTo>
                  <a:lnTo>
                    <a:pt x="1240" y="762"/>
                  </a:lnTo>
                  <a:lnTo>
                    <a:pt x="1238" y="772"/>
                  </a:lnTo>
                  <a:lnTo>
                    <a:pt x="1236" y="778"/>
                  </a:lnTo>
                  <a:lnTo>
                    <a:pt x="1230" y="784"/>
                  </a:lnTo>
                  <a:lnTo>
                    <a:pt x="1224" y="788"/>
                  </a:lnTo>
                  <a:lnTo>
                    <a:pt x="1216" y="792"/>
                  </a:lnTo>
                  <a:lnTo>
                    <a:pt x="1198" y="798"/>
                  </a:lnTo>
                  <a:lnTo>
                    <a:pt x="1182" y="804"/>
                  </a:lnTo>
                  <a:lnTo>
                    <a:pt x="1176" y="808"/>
                  </a:lnTo>
                  <a:lnTo>
                    <a:pt x="1170" y="812"/>
                  </a:lnTo>
                  <a:lnTo>
                    <a:pt x="1168" y="818"/>
                  </a:lnTo>
                  <a:lnTo>
                    <a:pt x="1168" y="824"/>
                  </a:lnTo>
                  <a:lnTo>
                    <a:pt x="1172" y="832"/>
                  </a:lnTo>
                  <a:lnTo>
                    <a:pt x="1178" y="842"/>
                  </a:lnTo>
                  <a:lnTo>
                    <a:pt x="1200" y="870"/>
                  </a:lnTo>
                  <a:lnTo>
                    <a:pt x="1208" y="878"/>
                  </a:lnTo>
                  <a:lnTo>
                    <a:pt x="1212" y="886"/>
                  </a:lnTo>
                  <a:lnTo>
                    <a:pt x="1212" y="894"/>
                  </a:lnTo>
                  <a:lnTo>
                    <a:pt x="1210" y="902"/>
                  </a:lnTo>
                  <a:lnTo>
                    <a:pt x="1204" y="912"/>
                  </a:lnTo>
                  <a:lnTo>
                    <a:pt x="1194" y="926"/>
                  </a:lnTo>
                  <a:lnTo>
                    <a:pt x="1184" y="940"/>
                  </a:lnTo>
                  <a:lnTo>
                    <a:pt x="1180" y="950"/>
                  </a:lnTo>
                  <a:lnTo>
                    <a:pt x="1180" y="956"/>
                  </a:lnTo>
                  <a:lnTo>
                    <a:pt x="1182" y="962"/>
                  </a:lnTo>
                  <a:lnTo>
                    <a:pt x="1190" y="974"/>
                  </a:lnTo>
                  <a:lnTo>
                    <a:pt x="1192" y="982"/>
                  </a:lnTo>
                  <a:lnTo>
                    <a:pt x="1194" y="992"/>
                  </a:lnTo>
                  <a:lnTo>
                    <a:pt x="1194" y="996"/>
                  </a:lnTo>
                  <a:lnTo>
                    <a:pt x="1196" y="1000"/>
                  </a:lnTo>
                  <a:lnTo>
                    <a:pt x="1200" y="1002"/>
                  </a:lnTo>
                  <a:lnTo>
                    <a:pt x="1204" y="1002"/>
                  </a:lnTo>
                  <a:lnTo>
                    <a:pt x="1218" y="1000"/>
                  </a:lnTo>
                  <a:lnTo>
                    <a:pt x="1234" y="996"/>
                  </a:lnTo>
                  <a:lnTo>
                    <a:pt x="1254" y="992"/>
                  </a:lnTo>
                  <a:lnTo>
                    <a:pt x="1276" y="992"/>
                  </a:lnTo>
                  <a:lnTo>
                    <a:pt x="1288" y="992"/>
                  </a:lnTo>
                  <a:lnTo>
                    <a:pt x="1298" y="994"/>
                  </a:lnTo>
                  <a:lnTo>
                    <a:pt x="1310" y="998"/>
                  </a:lnTo>
                  <a:lnTo>
                    <a:pt x="1322" y="1004"/>
                  </a:lnTo>
                  <a:lnTo>
                    <a:pt x="1340" y="1016"/>
                  </a:lnTo>
                  <a:lnTo>
                    <a:pt x="1352" y="1028"/>
                  </a:lnTo>
                  <a:lnTo>
                    <a:pt x="1358" y="1036"/>
                  </a:lnTo>
                  <a:lnTo>
                    <a:pt x="1360" y="1044"/>
                  </a:lnTo>
                  <a:lnTo>
                    <a:pt x="1360" y="1050"/>
                  </a:lnTo>
                  <a:lnTo>
                    <a:pt x="1356" y="1054"/>
                  </a:lnTo>
                  <a:lnTo>
                    <a:pt x="1350" y="1066"/>
                  </a:lnTo>
                  <a:lnTo>
                    <a:pt x="1342" y="1078"/>
                  </a:lnTo>
                  <a:lnTo>
                    <a:pt x="1334" y="1092"/>
                  </a:lnTo>
                  <a:lnTo>
                    <a:pt x="1332" y="1096"/>
                  </a:lnTo>
                  <a:lnTo>
                    <a:pt x="1330" y="1098"/>
                  </a:lnTo>
                  <a:lnTo>
                    <a:pt x="1330" y="1092"/>
                  </a:lnTo>
                  <a:lnTo>
                    <a:pt x="1332" y="1082"/>
                  </a:lnTo>
                  <a:lnTo>
                    <a:pt x="1334" y="1066"/>
                  </a:lnTo>
                  <a:lnTo>
                    <a:pt x="1334" y="1052"/>
                  </a:lnTo>
                  <a:lnTo>
                    <a:pt x="1330" y="1038"/>
                  </a:lnTo>
                  <a:lnTo>
                    <a:pt x="1322" y="1026"/>
                  </a:lnTo>
                  <a:lnTo>
                    <a:pt x="1318" y="1020"/>
                  </a:lnTo>
                  <a:lnTo>
                    <a:pt x="1312" y="1016"/>
                  </a:lnTo>
                  <a:lnTo>
                    <a:pt x="1304" y="1014"/>
                  </a:lnTo>
                  <a:lnTo>
                    <a:pt x="1298" y="1012"/>
                  </a:lnTo>
                  <a:lnTo>
                    <a:pt x="1288" y="1010"/>
                  </a:lnTo>
                  <a:lnTo>
                    <a:pt x="1278" y="1010"/>
                  </a:lnTo>
                  <a:lnTo>
                    <a:pt x="1266" y="1012"/>
                  </a:lnTo>
                  <a:lnTo>
                    <a:pt x="1254" y="1016"/>
                  </a:lnTo>
                  <a:lnTo>
                    <a:pt x="1242" y="1020"/>
                  </a:lnTo>
                  <a:lnTo>
                    <a:pt x="1234" y="1026"/>
                  </a:lnTo>
                  <a:lnTo>
                    <a:pt x="1228" y="1032"/>
                  </a:lnTo>
                  <a:lnTo>
                    <a:pt x="1224" y="1036"/>
                  </a:lnTo>
                  <a:lnTo>
                    <a:pt x="1222" y="1044"/>
                  </a:lnTo>
                  <a:lnTo>
                    <a:pt x="1222" y="1050"/>
                  </a:lnTo>
                  <a:lnTo>
                    <a:pt x="1226" y="1062"/>
                  </a:lnTo>
                  <a:lnTo>
                    <a:pt x="1230" y="1076"/>
                  </a:lnTo>
                  <a:lnTo>
                    <a:pt x="1234" y="1088"/>
                  </a:lnTo>
                  <a:lnTo>
                    <a:pt x="1234" y="1092"/>
                  </a:lnTo>
                  <a:lnTo>
                    <a:pt x="1232" y="1098"/>
                  </a:lnTo>
                  <a:lnTo>
                    <a:pt x="1228" y="1102"/>
                  </a:lnTo>
                  <a:lnTo>
                    <a:pt x="1222" y="1106"/>
                  </a:lnTo>
                  <a:lnTo>
                    <a:pt x="1210" y="1112"/>
                  </a:lnTo>
                  <a:lnTo>
                    <a:pt x="1202" y="1120"/>
                  </a:lnTo>
                  <a:lnTo>
                    <a:pt x="1198" y="1128"/>
                  </a:lnTo>
                  <a:lnTo>
                    <a:pt x="1196" y="1136"/>
                  </a:lnTo>
                  <a:lnTo>
                    <a:pt x="1194" y="1144"/>
                  </a:lnTo>
                  <a:lnTo>
                    <a:pt x="1188" y="1152"/>
                  </a:lnTo>
                  <a:lnTo>
                    <a:pt x="1180" y="1160"/>
                  </a:lnTo>
                  <a:lnTo>
                    <a:pt x="1166" y="1168"/>
                  </a:lnTo>
                  <a:lnTo>
                    <a:pt x="1152" y="1176"/>
                  </a:lnTo>
                  <a:lnTo>
                    <a:pt x="1144" y="1184"/>
                  </a:lnTo>
                  <a:lnTo>
                    <a:pt x="1136" y="1196"/>
                  </a:lnTo>
                  <a:lnTo>
                    <a:pt x="1130" y="1200"/>
                  </a:lnTo>
                  <a:lnTo>
                    <a:pt x="1118" y="1202"/>
                  </a:lnTo>
                  <a:lnTo>
                    <a:pt x="1100" y="1200"/>
                  </a:lnTo>
                  <a:lnTo>
                    <a:pt x="1070" y="1196"/>
                  </a:lnTo>
                  <a:lnTo>
                    <a:pt x="1044" y="1190"/>
                  </a:lnTo>
                  <a:lnTo>
                    <a:pt x="1036" y="1186"/>
                  </a:lnTo>
                  <a:lnTo>
                    <a:pt x="1040" y="1184"/>
                  </a:lnTo>
                  <a:lnTo>
                    <a:pt x="1052" y="1180"/>
                  </a:lnTo>
                  <a:lnTo>
                    <a:pt x="1072" y="1176"/>
                  </a:lnTo>
                  <a:lnTo>
                    <a:pt x="1094" y="1168"/>
                  </a:lnTo>
                  <a:lnTo>
                    <a:pt x="1104" y="1162"/>
                  </a:lnTo>
                  <a:lnTo>
                    <a:pt x="1114" y="1156"/>
                  </a:lnTo>
                  <a:lnTo>
                    <a:pt x="1122" y="1148"/>
                  </a:lnTo>
                  <a:lnTo>
                    <a:pt x="1128" y="1138"/>
                  </a:lnTo>
                  <a:lnTo>
                    <a:pt x="1138" y="1122"/>
                  </a:lnTo>
                  <a:lnTo>
                    <a:pt x="1146" y="1112"/>
                  </a:lnTo>
                  <a:lnTo>
                    <a:pt x="1154" y="1106"/>
                  </a:lnTo>
                  <a:lnTo>
                    <a:pt x="1160" y="1104"/>
                  </a:lnTo>
                  <a:lnTo>
                    <a:pt x="1166" y="1100"/>
                  </a:lnTo>
                  <a:lnTo>
                    <a:pt x="1170" y="1096"/>
                  </a:lnTo>
                  <a:lnTo>
                    <a:pt x="1174" y="1088"/>
                  </a:lnTo>
                  <a:lnTo>
                    <a:pt x="1176" y="1072"/>
                  </a:lnTo>
                  <a:lnTo>
                    <a:pt x="1176" y="1058"/>
                  </a:lnTo>
                  <a:lnTo>
                    <a:pt x="1174" y="1044"/>
                  </a:lnTo>
                  <a:lnTo>
                    <a:pt x="1166" y="1034"/>
                  </a:lnTo>
                  <a:lnTo>
                    <a:pt x="1160" y="1026"/>
                  </a:lnTo>
                  <a:lnTo>
                    <a:pt x="1152" y="1016"/>
                  </a:lnTo>
                  <a:lnTo>
                    <a:pt x="1146" y="1004"/>
                  </a:lnTo>
                  <a:lnTo>
                    <a:pt x="1142" y="988"/>
                  </a:lnTo>
                  <a:lnTo>
                    <a:pt x="1142" y="968"/>
                  </a:lnTo>
                  <a:lnTo>
                    <a:pt x="1150" y="928"/>
                  </a:lnTo>
                  <a:lnTo>
                    <a:pt x="1152" y="910"/>
                  </a:lnTo>
                  <a:lnTo>
                    <a:pt x="1154" y="896"/>
                  </a:lnTo>
                  <a:lnTo>
                    <a:pt x="1152" y="882"/>
                  </a:lnTo>
                  <a:lnTo>
                    <a:pt x="1148" y="868"/>
                  </a:lnTo>
                  <a:lnTo>
                    <a:pt x="1140" y="856"/>
                  </a:lnTo>
                  <a:lnTo>
                    <a:pt x="1126" y="844"/>
                  </a:lnTo>
                  <a:lnTo>
                    <a:pt x="1116" y="832"/>
                  </a:lnTo>
                  <a:lnTo>
                    <a:pt x="1114" y="828"/>
                  </a:lnTo>
                  <a:lnTo>
                    <a:pt x="1112" y="824"/>
                  </a:lnTo>
                  <a:lnTo>
                    <a:pt x="1114" y="822"/>
                  </a:lnTo>
                  <a:lnTo>
                    <a:pt x="1118" y="818"/>
                  </a:lnTo>
                  <a:lnTo>
                    <a:pt x="1126" y="812"/>
                  </a:lnTo>
                  <a:lnTo>
                    <a:pt x="1136" y="804"/>
                  </a:lnTo>
                  <a:lnTo>
                    <a:pt x="1146" y="796"/>
                  </a:lnTo>
                  <a:lnTo>
                    <a:pt x="1150" y="790"/>
                  </a:lnTo>
                  <a:lnTo>
                    <a:pt x="1154" y="782"/>
                  </a:lnTo>
                  <a:lnTo>
                    <a:pt x="1156" y="774"/>
                  </a:lnTo>
                  <a:lnTo>
                    <a:pt x="1156" y="764"/>
                  </a:lnTo>
                  <a:lnTo>
                    <a:pt x="1156" y="754"/>
                  </a:lnTo>
                  <a:lnTo>
                    <a:pt x="1152" y="744"/>
                  </a:lnTo>
                  <a:lnTo>
                    <a:pt x="1148" y="738"/>
                  </a:lnTo>
                  <a:lnTo>
                    <a:pt x="1142" y="732"/>
                  </a:lnTo>
                  <a:lnTo>
                    <a:pt x="1134" y="728"/>
                  </a:lnTo>
                  <a:lnTo>
                    <a:pt x="1126" y="724"/>
                  </a:lnTo>
                  <a:lnTo>
                    <a:pt x="1106" y="722"/>
                  </a:lnTo>
                  <a:lnTo>
                    <a:pt x="1086" y="722"/>
                  </a:lnTo>
                  <a:lnTo>
                    <a:pt x="1064" y="724"/>
                  </a:lnTo>
                  <a:lnTo>
                    <a:pt x="1044" y="724"/>
                  </a:lnTo>
                  <a:lnTo>
                    <a:pt x="1028" y="722"/>
                  </a:lnTo>
                  <a:lnTo>
                    <a:pt x="1020" y="722"/>
                  </a:lnTo>
                  <a:lnTo>
                    <a:pt x="1012" y="722"/>
                  </a:lnTo>
                  <a:lnTo>
                    <a:pt x="1006" y="726"/>
                  </a:lnTo>
                  <a:lnTo>
                    <a:pt x="1002" y="732"/>
                  </a:lnTo>
                  <a:lnTo>
                    <a:pt x="994" y="748"/>
                  </a:lnTo>
                  <a:lnTo>
                    <a:pt x="988" y="766"/>
                  </a:lnTo>
                  <a:lnTo>
                    <a:pt x="980" y="788"/>
                  </a:lnTo>
                  <a:lnTo>
                    <a:pt x="970" y="808"/>
                  </a:lnTo>
                  <a:lnTo>
                    <a:pt x="964" y="816"/>
                  </a:lnTo>
                  <a:lnTo>
                    <a:pt x="958" y="824"/>
                  </a:lnTo>
                  <a:lnTo>
                    <a:pt x="948" y="832"/>
                  </a:lnTo>
                  <a:lnTo>
                    <a:pt x="938" y="838"/>
                  </a:lnTo>
                  <a:lnTo>
                    <a:pt x="916" y="848"/>
                  </a:lnTo>
                  <a:lnTo>
                    <a:pt x="908" y="854"/>
                  </a:lnTo>
                  <a:lnTo>
                    <a:pt x="906" y="858"/>
                  </a:lnTo>
                  <a:lnTo>
                    <a:pt x="904" y="862"/>
                  </a:lnTo>
                  <a:lnTo>
                    <a:pt x="906" y="866"/>
                  </a:lnTo>
                  <a:lnTo>
                    <a:pt x="912" y="874"/>
                  </a:lnTo>
                  <a:lnTo>
                    <a:pt x="920" y="884"/>
                  </a:lnTo>
                  <a:lnTo>
                    <a:pt x="922" y="888"/>
                  </a:lnTo>
                  <a:lnTo>
                    <a:pt x="926" y="894"/>
                  </a:lnTo>
                  <a:lnTo>
                    <a:pt x="926" y="902"/>
                  </a:lnTo>
                  <a:lnTo>
                    <a:pt x="926" y="910"/>
                  </a:lnTo>
                  <a:lnTo>
                    <a:pt x="922" y="918"/>
                  </a:lnTo>
                  <a:lnTo>
                    <a:pt x="916" y="928"/>
                  </a:lnTo>
                  <a:lnTo>
                    <a:pt x="912" y="938"/>
                  </a:lnTo>
                  <a:lnTo>
                    <a:pt x="910" y="948"/>
                  </a:lnTo>
                  <a:lnTo>
                    <a:pt x="912" y="954"/>
                  </a:lnTo>
                  <a:lnTo>
                    <a:pt x="916" y="962"/>
                  </a:lnTo>
                  <a:lnTo>
                    <a:pt x="924" y="968"/>
                  </a:lnTo>
                  <a:lnTo>
                    <a:pt x="932" y="974"/>
                  </a:lnTo>
                  <a:lnTo>
                    <a:pt x="952" y="986"/>
                  </a:lnTo>
                  <a:lnTo>
                    <a:pt x="974" y="996"/>
                  </a:lnTo>
                  <a:lnTo>
                    <a:pt x="982" y="1002"/>
                  </a:lnTo>
                  <a:lnTo>
                    <a:pt x="990" y="1008"/>
                  </a:lnTo>
                  <a:lnTo>
                    <a:pt x="996" y="1014"/>
                  </a:lnTo>
                  <a:lnTo>
                    <a:pt x="998" y="1022"/>
                  </a:lnTo>
                  <a:lnTo>
                    <a:pt x="998" y="1030"/>
                  </a:lnTo>
                  <a:lnTo>
                    <a:pt x="992" y="1040"/>
                  </a:lnTo>
                  <a:lnTo>
                    <a:pt x="982" y="1054"/>
                  </a:lnTo>
                  <a:lnTo>
                    <a:pt x="978" y="1058"/>
                  </a:lnTo>
                  <a:lnTo>
                    <a:pt x="974" y="1060"/>
                  </a:lnTo>
                  <a:lnTo>
                    <a:pt x="970" y="1060"/>
                  </a:lnTo>
                  <a:lnTo>
                    <a:pt x="966" y="1060"/>
                  </a:lnTo>
                  <a:lnTo>
                    <a:pt x="956" y="1052"/>
                  </a:lnTo>
                  <a:lnTo>
                    <a:pt x="942" y="1040"/>
                  </a:lnTo>
                  <a:lnTo>
                    <a:pt x="918" y="1024"/>
                  </a:lnTo>
                  <a:lnTo>
                    <a:pt x="884" y="1004"/>
                  </a:lnTo>
                  <a:lnTo>
                    <a:pt x="862" y="994"/>
                  </a:lnTo>
                  <a:lnTo>
                    <a:pt x="838" y="984"/>
                  </a:lnTo>
                  <a:lnTo>
                    <a:pt x="810" y="974"/>
                  </a:lnTo>
                  <a:lnTo>
                    <a:pt x="786" y="966"/>
                  </a:lnTo>
                  <a:lnTo>
                    <a:pt x="762" y="960"/>
                  </a:lnTo>
                  <a:lnTo>
                    <a:pt x="742" y="956"/>
                  </a:lnTo>
                  <a:lnTo>
                    <a:pt x="724" y="954"/>
                  </a:lnTo>
                  <a:lnTo>
                    <a:pt x="706" y="952"/>
                  </a:lnTo>
                  <a:lnTo>
                    <a:pt x="692" y="952"/>
                  </a:lnTo>
                  <a:lnTo>
                    <a:pt x="678" y="954"/>
                  </a:lnTo>
                  <a:lnTo>
                    <a:pt x="668" y="956"/>
                  </a:lnTo>
                  <a:lnTo>
                    <a:pt x="660" y="960"/>
                  </a:lnTo>
                  <a:lnTo>
                    <a:pt x="654" y="964"/>
                  </a:lnTo>
                  <a:lnTo>
                    <a:pt x="650" y="968"/>
                  </a:lnTo>
                  <a:lnTo>
                    <a:pt x="650" y="974"/>
                  </a:lnTo>
                  <a:lnTo>
                    <a:pt x="650" y="980"/>
                  </a:lnTo>
                  <a:lnTo>
                    <a:pt x="654" y="986"/>
                  </a:lnTo>
                  <a:lnTo>
                    <a:pt x="660" y="994"/>
                  </a:lnTo>
                  <a:lnTo>
                    <a:pt x="664" y="998"/>
                  </a:lnTo>
                  <a:lnTo>
                    <a:pt x="664" y="1004"/>
                  </a:lnTo>
                  <a:lnTo>
                    <a:pt x="664" y="1010"/>
                  </a:lnTo>
                  <a:lnTo>
                    <a:pt x="662" y="1016"/>
                  </a:lnTo>
                  <a:lnTo>
                    <a:pt x="654" y="1028"/>
                  </a:lnTo>
                  <a:lnTo>
                    <a:pt x="642" y="1038"/>
                  </a:lnTo>
                  <a:lnTo>
                    <a:pt x="628" y="1044"/>
                  </a:lnTo>
                  <a:lnTo>
                    <a:pt x="622" y="1046"/>
                  </a:lnTo>
                  <a:lnTo>
                    <a:pt x="618" y="1046"/>
                  </a:lnTo>
                  <a:lnTo>
                    <a:pt x="612" y="1046"/>
                  </a:lnTo>
                  <a:lnTo>
                    <a:pt x="608" y="1042"/>
                  </a:lnTo>
                  <a:lnTo>
                    <a:pt x="606" y="1038"/>
                  </a:lnTo>
                  <a:lnTo>
                    <a:pt x="606" y="1030"/>
                  </a:lnTo>
                  <a:lnTo>
                    <a:pt x="604" y="1018"/>
                  </a:lnTo>
                  <a:lnTo>
                    <a:pt x="602" y="1010"/>
                  </a:lnTo>
                  <a:lnTo>
                    <a:pt x="596" y="1006"/>
                  </a:lnTo>
                  <a:lnTo>
                    <a:pt x="590" y="1006"/>
                  </a:lnTo>
                  <a:lnTo>
                    <a:pt x="582" y="1010"/>
                  </a:lnTo>
                  <a:lnTo>
                    <a:pt x="570" y="1016"/>
                  </a:lnTo>
                  <a:lnTo>
                    <a:pt x="542" y="1034"/>
                  </a:lnTo>
                  <a:lnTo>
                    <a:pt x="526" y="1042"/>
                  </a:lnTo>
                  <a:lnTo>
                    <a:pt x="520" y="1042"/>
                  </a:lnTo>
                  <a:lnTo>
                    <a:pt x="516" y="1042"/>
                  </a:lnTo>
                  <a:lnTo>
                    <a:pt x="506" y="1040"/>
                  </a:lnTo>
                  <a:lnTo>
                    <a:pt x="498" y="1036"/>
                  </a:lnTo>
                  <a:lnTo>
                    <a:pt x="488" y="1032"/>
                  </a:lnTo>
                  <a:lnTo>
                    <a:pt x="478" y="1032"/>
                  </a:lnTo>
                  <a:lnTo>
                    <a:pt x="470" y="1032"/>
                  </a:lnTo>
                  <a:lnTo>
                    <a:pt x="462" y="1034"/>
                  </a:lnTo>
                  <a:lnTo>
                    <a:pt x="440" y="1046"/>
                  </a:lnTo>
                  <a:lnTo>
                    <a:pt x="420" y="1056"/>
                  </a:lnTo>
                  <a:lnTo>
                    <a:pt x="412" y="1060"/>
                  </a:lnTo>
                  <a:lnTo>
                    <a:pt x="406" y="1060"/>
                  </a:lnTo>
                  <a:lnTo>
                    <a:pt x="400" y="1060"/>
                  </a:lnTo>
                  <a:lnTo>
                    <a:pt x="396" y="1058"/>
                  </a:lnTo>
                  <a:lnTo>
                    <a:pt x="392" y="1054"/>
                  </a:lnTo>
                  <a:lnTo>
                    <a:pt x="390" y="1052"/>
                  </a:lnTo>
                  <a:lnTo>
                    <a:pt x="388" y="1042"/>
                  </a:lnTo>
                  <a:lnTo>
                    <a:pt x="392" y="1030"/>
                  </a:lnTo>
                  <a:lnTo>
                    <a:pt x="396" y="1020"/>
                  </a:lnTo>
                  <a:lnTo>
                    <a:pt x="406" y="1012"/>
                  </a:lnTo>
                  <a:lnTo>
                    <a:pt x="410" y="1006"/>
                  </a:lnTo>
                  <a:lnTo>
                    <a:pt x="412" y="1004"/>
                  </a:lnTo>
                  <a:lnTo>
                    <a:pt x="410" y="1004"/>
                  </a:lnTo>
                  <a:lnTo>
                    <a:pt x="402" y="1004"/>
                  </a:lnTo>
                  <a:lnTo>
                    <a:pt x="388" y="1008"/>
                  </a:lnTo>
                  <a:lnTo>
                    <a:pt x="368" y="1014"/>
                  </a:lnTo>
                  <a:lnTo>
                    <a:pt x="342" y="1024"/>
                  </a:lnTo>
                  <a:lnTo>
                    <a:pt x="312" y="1038"/>
                  </a:lnTo>
                  <a:lnTo>
                    <a:pt x="276" y="1054"/>
                  </a:lnTo>
                  <a:lnTo>
                    <a:pt x="242" y="1070"/>
                  </a:lnTo>
                  <a:lnTo>
                    <a:pt x="216" y="1078"/>
                  </a:lnTo>
                  <a:lnTo>
                    <a:pt x="196" y="1084"/>
                  </a:lnTo>
                  <a:lnTo>
                    <a:pt x="180" y="1086"/>
                  </a:lnTo>
                  <a:lnTo>
                    <a:pt x="168" y="1088"/>
                  </a:lnTo>
                  <a:lnTo>
                    <a:pt x="158" y="1094"/>
                  </a:lnTo>
                  <a:lnTo>
                    <a:pt x="152" y="1106"/>
                  </a:lnTo>
                  <a:lnTo>
                    <a:pt x="144" y="1124"/>
                  </a:lnTo>
                  <a:lnTo>
                    <a:pt x="138" y="1142"/>
                  </a:lnTo>
                  <a:lnTo>
                    <a:pt x="132" y="1152"/>
                  </a:lnTo>
                  <a:lnTo>
                    <a:pt x="126" y="1158"/>
                  </a:lnTo>
                  <a:lnTo>
                    <a:pt x="120" y="1158"/>
                  </a:lnTo>
                  <a:lnTo>
                    <a:pt x="106" y="1156"/>
                  </a:lnTo>
                  <a:lnTo>
                    <a:pt x="98" y="1156"/>
                  </a:lnTo>
                  <a:lnTo>
                    <a:pt x="86" y="1160"/>
                  </a:lnTo>
                  <a:lnTo>
                    <a:pt x="78" y="1164"/>
                  </a:lnTo>
                  <a:lnTo>
                    <a:pt x="54" y="1230"/>
                  </a:lnTo>
                  <a:lnTo>
                    <a:pt x="44" y="1256"/>
                  </a:lnTo>
                  <a:lnTo>
                    <a:pt x="36" y="1274"/>
                  </a:lnTo>
                  <a:lnTo>
                    <a:pt x="28" y="1292"/>
                  </a:lnTo>
                  <a:lnTo>
                    <a:pt x="20" y="1312"/>
                  </a:lnTo>
                  <a:lnTo>
                    <a:pt x="8" y="1346"/>
                  </a:lnTo>
                  <a:lnTo>
                    <a:pt x="0" y="1382"/>
                  </a:lnTo>
                  <a:lnTo>
                    <a:pt x="0" y="1562"/>
                  </a:lnTo>
                  <a:lnTo>
                    <a:pt x="60" y="1706"/>
                  </a:lnTo>
                  <a:lnTo>
                    <a:pt x="180" y="1898"/>
                  </a:lnTo>
                  <a:lnTo>
                    <a:pt x="236" y="2142"/>
                  </a:lnTo>
                  <a:lnTo>
                    <a:pt x="172" y="2176"/>
                  </a:lnTo>
                  <a:lnTo>
                    <a:pt x="166" y="2200"/>
                  </a:lnTo>
                  <a:lnTo>
                    <a:pt x="124" y="2214"/>
                  </a:lnTo>
                  <a:lnTo>
                    <a:pt x="104" y="2206"/>
                  </a:lnTo>
                  <a:lnTo>
                    <a:pt x="92" y="2204"/>
                  </a:lnTo>
                  <a:lnTo>
                    <a:pt x="86" y="2204"/>
                  </a:lnTo>
                  <a:lnTo>
                    <a:pt x="84" y="2208"/>
                  </a:lnTo>
                  <a:lnTo>
                    <a:pt x="70" y="2258"/>
                  </a:lnTo>
                  <a:lnTo>
                    <a:pt x="60" y="2304"/>
                  </a:lnTo>
                  <a:lnTo>
                    <a:pt x="76" y="2364"/>
                  </a:lnTo>
                  <a:lnTo>
                    <a:pt x="114" y="2388"/>
                  </a:lnTo>
                  <a:lnTo>
                    <a:pt x="142" y="2422"/>
                  </a:lnTo>
                  <a:lnTo>
                    <a:pt x="148" y="2454"/>
                  </a:lnTo>
                  <a:lnTo>
                    <a:pt x="130" y="2486"/>
                  </a:lnTo>
                  <a:lnTo>
                    <a:pt x="98" y="2508"/>
                  </a:lnTo>
                  <a:lnTo>
                    <a:pt x="70" y="2552"/>
                  </a:lnTo>
                  <a:lnTo>
                    <a:pt x="80" y="2588"/>
                  </a:lnTo>
                  <a:lnTo>
                    <a:pt x="132" y="2652"/>
                  </a:lnTo>
                  <a:lnTo>
                    <a:pt x="156" y="2704"/>
                  </a:lnTo>
                  <a:lnTo>
                    <a:pt x="182" y="2744"/>
                  </a:lnTo>
                  <a:lnTo>
                    <a:pt x="180" y="2776"/>
                  </a:lnTo>
                  <a:lnTo>
                    <a:pt x="182" y="2792"/>
                  </a:lnTo>
                  <a:lnTo>
                    <a:pt x="186" y="2844"/>
                  </a:lnTo>
                  <a:lnTo>
                    <a:pt x="190" y="2864"/>
                  </a:lnTo>
                  <a:lnTo>
                    <a:pt x="186" y="2882"/>
                  </a:lnTo>
                  <a:lnTo>
                    <a:pt x="188" y="2896"/>
                  </a:lnTo>
                  <a:lnTo>
                    <a:pt x="182" y="2898"/>
                  </a:lnTo>
                  <a:lnTo>
                    <a:pt x="178" y="2898"/>
                  </a:lnTo>
                  <a:lnTo>
                    <a:pt x="176" y="2896"/>
                  </a:lnTo>
                  <a:lnTo>
                    <a:pt x="176" y="2894"/>
                  </a:lnTo>
                  <a:lnTo>
                    <a:pt x="174" y="2888"/>
                  </a:lnTo>
                  <a:lnTo>
                    <a:pt x="172" y="2886"/>
                  </a:lnTo>
                  <a:lnTo>
                    <a:pt x="170" y="2886"/>
                  </a:lnTo>
                  <a:lnTo>
                    <a:pt x="172" y="2886"/>
                  </a:lnTo>
                  <a:lnTo>
                    <a:pt x="174" y="2888"/>
                  </a:lnTo>
                  <a:lnTo>
                    <a:pt x="176" y="2894"/>
                  </a:lnTo>
                  <a:lnTo>
                    <a:pt x="176" y="2896"/>
                  </a:lnTo>
                  <a:lnTo>
                    <a:pt x="178" y="2898"/>
                  </a:lnTo>
                  <a:lnTo>
                    <a:pt x="182" y="2898"/>
                  </a:lnTo>
                  <a:lnTo>
                    <a:pt x="188" y="2896"/>
                  </a:lnTo>
                  <a:lnTo>
                    <a:pt x="174" y="2986"/>
                  </a:lnTo>
                  <a:lnTo>
                    <a:pt x="174" y="3028"/>
                  </a:lnTo>
                  <a:lnTo>
                    <a:pt x="168" y="3124"/>
                  </a:lnTo>
                  <a:lnTo>
                    <a:pt x="174" y="3168"/>
                  </a:lnTo>
                  <a:lnTo>
                    <a:pt x="210" y="3264"/>
                  </a:lnTo>
                  <a:lnTo>
                    <a:pt x="248" y="3338"/>
                  </a:lnTo>
                  <a:lnTo>
                    <a:pt x="248" y="3362"/>
                  </a:lnTo>
                  <a:lnTo>
                    <a:pt x="254" y="3368"/>
                  </a:lnTo>
                  <a:lnTo>
                    <a:pt x="258" y="3372"/>
                  </a:lnTo>
                  <a:lnTo>
                    <a:pt x="262" y="3384"/>
                  </a:lnTo>
                  <a:lnTo>
                    <a:pt x="264" y="3394"/>
                  </a:lnTo>
                  <a:lnTo>
                    <a:pt x="268" y="3400"/>
                  </a:lnTo>
                  <a:lnTo>
                    <a:pt x="272" y="3406"/>
                  </a:lnTo>
                  <a:lnTo>
                    <a:pt x="276" y="3412"/>
                  </a:lnTo>
                  <a:lnTo>
                    <a:pt x="278" y="3416"/>
                  </a:lnTo>
                  <a:lnTo>
                    <a:pt x="278" y="3424"/>
                  </a:lnTo>
                  <a:lnTo>
                    <a:pt x="280" y="3432"/>
                  </a:lnTo>
                  <a:lnTo>
                    <a:pt x="282" y="3438"/>
                  </a:lnTo>
                  <a:lnTo>
                    <a:pt x="286" y="3444"/>
                  </a:lnTo>
                  <a:lnTo>
                    <a:pt x="294" y="3452"/>
                  </a:lnTo>
                  <a:lnTo>
                    <a:pt x="302" y="3456"/>
                  </a:lnTo>
                  <a:lnTo>
                    <a:pt x="320" y="3464"/>
                  </a:lnTo>
                  <a:lnTo>
                    <a:pt x="334" y="3470"/>
                  </a:lnTo>
                  <a:lnTo>
                    <a:pt x="338" y="3474"/>
                  </a:lnTo>
                  <a:lnTo>
                    <a:pt x="338" y="3478"/>
                  </a:lnTo>
                  <a:lnTo>
                    <a:pt x="338" y="3480"/>
                  </a:lnTo>
                  <a:lnTo>
                    <a:pt x="340" y="3484"/>
                  </a:lnTo>
                  <a:lnTo>
                    <a:pt x="350" y="3490"/>
                  </a:lnTo>
                  <a:lnTo>
                    <a:pt x="360" y="3496"/>
                  </a:lnTo>
                  <a:lnTo>
                    <a:pt x="366" y="3500"/>
                  </a:lnTo>
                  <a:lnTo>
                    <a:pt x="374" y="3508"/>
                  </a:lnTo>
                  <a:lnTo>
                    <a:pt x="382" y="3512"/>
                  </a:lnTo>
                  <a:lnTo>
                    <a:pt x="388" y="3514"/>
                  </a:lnTo>
                  <a:lnTo>
                    <a:pt x="394" y="3514"/>
                  </a:lnTo>
                  <a:lnTo>
                    <a:pt x="404" y="3516"/>
                  </a:lnTo>
                  <a:lnTo>
                    <a:pt x="410" y="3516"/>
                  </a:lnTo>
                  <a:lnTo>
                    <a:pt x="414" y="3522"/>
                  </a:lnTo>
                  <a:lnTo>
                    <a:pt x="420" y="3524"/>
                  </a:lnTo>
                  <a:lnTo>
                    <a:pt x="424" y="3526"/>
                  </a:lnTo>
                  <a:lnTo>
                    <a:pt x="428" y="3524"/>
                  </a:lnTo>
                  <a:lnTo>
                    <a:pt x="432" y="3522"/>
                  </a:lnTo>
                  <a:lnTo>
                    <a:pt x="442" y="3514"/>
                  </a:lnTo>
                  <a:lnTo>
                    <a:pt x="446" y="3512"/>
                  </a:lnTo>
                  <a:lnTo>
                    <a:pt x="450" y="3512"/>
                  </a:lnTo>
                  <a:lnTo>
                    <a:pt x="456" y="3510"/>
                  </a:lnTo>
                  <a:lnTo>
                    <a:pt x="458" y="3508"/>
                  </a:lnTo>
                  <a:lnTo>
                    <a:pt x="462" y="3504"/>
                  </a:lnTo>
                  <a:lnTo>
                    <a:pt x="464" y="3502"/>
                  </a:lnTo>
                  <a:lnTo>
                    <a:pt x="468" y="3502"/>
                  </a:lnTo>
                  <a:lnTo>
                    <a:pt x="472" y="3500"/>
                  </a:lnTo>
                  <a:lnTo>
                    <a:pt x="476" y="3498"/>
                  </a:lnTo>
                  <a:lnTo>
                    <a:pt x="480" y="3494"/>
                  </a:lnTo>
                  <a:lnTo>
                    <a:pt x="482" y="3492"/>
                  </a:lnTo>
                  <a:lnTo>
                    <a:pt x="488" y="3490"/>
                  </a:lnTo>
                  <a:lnTo>
                    <a:pt x="492" y="3490"/>
                  </a:lnTo>
                  <a:lnTo>
                    <a:pt x="500" y="3492"/>
                  </a:lnTo>
                  <a:lnTo>
                    <a:pt x="508" y="3496"/>
                  </a:lnTo>
                  <a:lnTo>
                    <a:pt x="514" y="3502"/>
                  </a:lnTo>
                  <a:lnTo>
                    <a:pt x="518" y="3512"/>
                  </a:lnTo>
                  <a:lnTo>
                    <a:pt x="520" y="3522"/>
                  </a:lnTo>
                  <a:lnTo>
                    <a:pt x="524" y="3542"/>
                  </a:lnTo>
                  <a:lnTo>
                    <a:pt x="526" y="3558"/>
                  </a:lnTo>
                  <a:lnTo>
                    <a:pt x="528" y="3562"/>
                  </a:lnTo>
                  <a:lnTo>
                    <a:pt x="532" y="3564"/>
                  </a:lnTo>
                  <a:lnTo>
                    <a:pt x="542" y="3566"/>
                  </a:lnTo>
                  <a:lnTo>
                    <a:pt x="550" y="3568"/>
                  </a:lnTo>
                  <a:lnTo>
                    <a:pt x="554" y="3570"/>
                  </a:lnTo>
                  <a:lnTo>
                    <a:pt x="558" y="3572"/>
                  </a:lnTo>
                  <a:lnTo>
                    <a:pt x="562" y="3576"/>
                  </a:lnTo>
                  <a:lnTo>
                    <a:pt x="566" y="3574"/>
                  </a:lnTo>
                  <a:lnTo>
                    <a:pt x="570" y="3574"/>
                  </a:lnTo>
                  <a:lnTo>
                    <a:pt x="580" y="3574"/>
                  </a:lnTo>
                  <a:lnTo>
                    <a:pt x="586" y="3574"/>
                  </a:lnTo>
                  <a:lnTo>
                    <a:pt x="590" y="3576"/>
                  </a:lnTo>
                  <a:lnTo>
                    <a:pt x="596" y="3580"/>
                  </a:lnTo>
                  <a:lnTo>
                    <a:pt x="600" y="3584"/>
                  </a:lnTo>
                  <a:lnTo>
                    <a:pt x="604" y="3584"/>
                  </a:lnTo>
                  <a:lnTo>
                    <a:pt x="608" y="3582"/>
                  </a:lnTo>
                  <a:lnTo>
                    <a:pt x="614" y="3580"/>
                  </a:lnTo>
                  <a:lnTo>
                    <a:pt x="620" y="3582"/>
                  </a:lnTo>
                  <a:lnTo>
                    <a:pt x="636" y="3584"/>
                  </a:lnTo>
                  <a:lnTo>
                    <a:pt x="650" y="3588"/>
                  </a:lnTo>
                  <a:lnTo>
                    <a:pt x="652" y="3588"/>
                  </a:lnTo>
                  <a:lnTo>
                    <a:pt x="654" y="3586"/>
                  </a:lnTo>
                  <a:lnTo>
                    <a:pt x="654" y="3582"/>
                  </a:lnTo>
                  <a:lnTo>
                    <a:pt x="656" y="3580"/>
                  </a:lnTo>
                  <a:lnTo>
                    <a:pt x="658" y="3582"/>
                  </a:lnTo>
                  <a:lnTo>
                    <a:pt x="662" y="3586"/>
                  </a:lnTo>
                  <a:lnTo>
                    <a:pt x="664" y="3590"/>
                  </a:lnTo>
                  <a:lnTo>
                    <a:pt x="670" y="3592"/>
                  </a:lnTo>
                  <a:lnTo>
                    <a:pt x="678" y="3594"/>
                  </a:lnTo>
                  <a:lnTo>
                    <a:pt x="688" y="3598"/>
                  </a:lnTo>
                  <a:lnTo>
                    <a:pt x="692" y="3600"/>
                  </a:lnTo>
                  <a:lnTo>
                    <a:pt x="696" y="3600"/>
                  </a:lnTo>
                  <a:lnTo>
                    <a:pt x="696" y="3596"/>
                  </a:lnTo>
                  <a:lnTo>
                    <a:pt x="698" y="3592"/>
                  </a:lnTo>
                  <a:lnTo>
                    <a:pt x="700" y="3592"/>
                  </a:lnTo>
                  <a:lnTo>
                    <a:pt x="702" y="3592"/>
                  </a:lnTo>
                  <a:lnTo>
                    <a:pt x="706" y="3598"/>
                  </a:lnTo>
                  <a:lnTo>
                    <a:pt x="710" y="3600"/>
                  </a:lnTo>
                  <a:lnTo>
                    <a:pt x="712" y="3600"/>
                  </a:lnTo>
                  <a:lnTo>
                    <a:pt x="716" y="3598"/>
                  </a:lnTo>
                  <a:lnTo>
                    <a:pt x="724" y="3594"/>
                  </a:lnTo>
                  <a:lnTo>
                    <a:pt x="726" y="3592"/>
                  </a:lnTo>
                  <a:lnTo>
                    <a:pt x="730" y="3594"/>
                  </a:lnTo>
                  <a:lnTo>
                    <a:pt x="732" y="3594"/>
                  </a:lnTo>
                  <a:lnTo>
                    <a:pt x="734" y="3594"/>
                  </a:lnTo>
                  <a:lnTo>
                    <a:pt x="738" y="3590"/>
                  </a:lnTo>
                  <a:lnTo>
                    <a:pt x="740" y="3588"/>
                  </a:lnTo>
                  <a:lnTo>
                    <a:pt x="746" y="3588"/>
                  </a:lnTo>
                  <a:lnTo>
                    <a:pt x="752" y="3588"/>
                  </a:lnTo>
                  <a:lnTo>
                    <a:pt x="762" y="3590"/>
                  </a:lnTo>
                  <a:lnTo>
                    <a:pt x="770" y="3594"/>
                  </a:lnTo>
                  <a:lnTo>
                    <a:pt x="774" y="3594"/>
                  </a:lnTo>
                  <a:lnTo>
                    <a:pt x="776" y="3592"/>
                  </a:lnTo>
                  <a:lnTo>
                    <a:pt x="778" y="3590"/>
                  </a:lnTo>
                  <a:lnTo>
                    <a:pt x="780" y="3588"/>
                  </a:lnTo>
                  <a:lnTo>
                    <a:pt x="782" y="3586"/>
                  </a:lnTo>
                  <a:lnTo>
                    <a:pt x="786" y="3586"/>
                  </a:lnTo>
                  <a:lnTo>
                    <a:pt x="794" y="3586"/>
                  </a:lnTo>
                  <a:lnTo>
                    <a:pt x="810" y="3590"/>
                  </a:lnTo>
                  <a:lnTo>
                    <a:pt x="820" y="3594"/>
                  </a:lnTo>
                  <a:lnTo>
                    <a:pt x="824" y="3594"/>
                  </a:lnTo>
                  <a:lnTo>
                    <a:pt x="828" y="3590"/>
                  </a:lnTo>
                  <a:lnTo>
                    <a:pt x="832" y="3588"/>
                  </a:lnTo>
                  <a:lnTo>
                    <a:pt x="840" y="3586"/>
                  </a:lnTo>
                  <a:lnTo>
                    <a:pt x="866" y="3582"/>
                  </a:lnTo>
                  <a:lnTo>
                    <a:pt x="892" y="3582"/>
                  </a:lnTo>
                  <a:lnTo>
                    <a:pt x="900" y="3584"/>
                  </a:lnTo>
                  <a:lnTo>
                    <a:pt x="904" y="3586"/>
                  </a:lnTo>
                  <a:lnTo>
                    <a:pt x="904" y="3588"/>
                  </a:lnTo>
                  <a:lnTo>
                    <a:pt x="904" y="3598"/>
                  </a:lnTo>
                  <a:lnTo>
                    <a:pt x="904" y="3606"/>
                  </a:lnTo>
                  <a:lnTo>
                    <a:pt x="904" y="3608"/>
                  </a:lnTo>
                  <a:lnTo>
                    <a:pt x="906" y="3610"/>
                  </a:lnTo>
                  <a:lnTo>
                    <a:pt x="916" y="3612"/>
                  </a:lnTo>
                  <a:lnTo>
                    <a:pt x="920" y="3612"/>
                  </a:lnTo>
                  <a:lnTo>
                    <a:pt x="924" y="3614"/>
                  </a:lnTo>
                  <a:lnTo>
                    <a:pt x="926" y="3616"/>
                  </a:lnTo>
                  <a:lnTo>
                    <a:pt x="926" y="3620"/>
                  </a:lnTo>
                  <a:lnTo>
                    <a:pt x="926" y="3626"/>
                  </a:lnTo>
                  <a:lnTo>
                    <a:pt x="926" y="3630"/>
                  </a:lnTo>
                  <a:lnTo>
                    <a:pt x="928" y="3634"/>
                  </a:lnTo>
                  <a:lnTo>
                    <a:pt x="932" y="3638"/>
                  </a:lnTo>
                  <a:lnTo>
                    <a:pt x="932" y="3642"/>
                  </a:lnTo>
                  <a:lnTo>
                    <a:pt x="932" y="3646"/>
                  </a:lnTo>
                  <a:lnTo>
                    <a:pt x="934" y="3652"/>
                  </a:lnTo>
                  <a:lnTo>
                    <a:pt x="938" y="3654"/>
                  </a:lnTo>
                  <a:lnTo>
                    <a:pt x="936" y="3656"/>
                  </a:lnTo>
                  <a:lnTo>
                    <a:pt x="936" y="3658"/>
                  </a:lnTo>
                  <a:lnTo>
                    <a:pt x="940" y="3662"/>
                  </a:lnTo>
                  <a:lnTo>
                    <a:pt x="944" y="3664"/>
                  </a:lnTo>
                  <a:lnTo>
                    <a:pt x="946" y="3664"/>
                  </a:lnTo>
                  <a:lnTo>
                    <a:pt x="950" y="3664"/>
                  </a:lnTo>
                  <a:lnTo>
                    <a:pt x="952" y="3662"/>
                  </a:lnTo>
                  <a:lnTo>
                    <a:pt x="956" y="3664"/>
                  </a:lnTo>
                  <a:lnTo>
                    <a:pt x="958" y="3666"/>
                  </a:lnTo>
                  <a:lnTo>
                    <a:pt x="962" y="3670"/>
                  </a:lnTo>
                  <a:lnTo>
                    <a:pt x="966" y="3674"/>
                  </a:lnTo>
                  <a:lnTo>
                    <a:pt x="972" y="3676"/>
                  </a:lnTo>
                  <a:lnTo>
                    <a:pt x="976" y="3680"/>
                  </a:lnTo>
                  <a:lnTo>
                    <a:pt x="982" y="3690"/>
                  </a:lnTo>
                  <a:lnTo>
                    <a:pt x="986" y="3696"/>
                  </a:lnTo>
                  <a:lnTo>
                    <a:pt x="992" y="3702"/>
                  </a:lnTo>
                  <a:lnTo>
                    <a:pt x="1000" y="3708"/>
                  </a:lnTo>
                  <a:lnTo>
                    <a:pt x="1008" y="3712"/>
                  </a:lnTo>
                  <a:lnTo>
                    <a:pt x="1016" y="3716"/>
                  </a:lnTo>
                  <a:lnTo>
                    <a:pt x="1024" y="3716"/>
                  </a:lnTo>
                  <a:lnTo>
                    <a:pt x="1032" y="3716"/>
                  </a:lnTo>
                  <a:lnTo>
                    <a:pt x="1038" y="3712"/>
                  </a:lnTo>
                  <a:lnTo>
                    <a:pt x="1044" y="3708"/>
                  </a:lnTo>
                  <a:lnTo>
                    <a:pt x="1048" y="3708"/>
                  </a:lnTo>
                  <a:lnTo>
                    <a:pt x="1052" y="3710"/>
                  </a:lnTo>
                  <a:lnTo>
                    <a:pt x="1052" y="3714"/>
                  </a:lnTo>
                  <a:lnTo>
                    <a:pt x="1050" y="3720"/>
                  </a:lnTo>
                  <a:lnTo>
                    <a:pt x="1046" y="3726"/>
                  </a:lnTo>
                  <a:lnTo>
                    <a:pt x="1040" y="3730"/>
                  </a:lnTo>
                  <a:lnTo>
                    <a:pt x="1028" y="3734"/>
                  </a:lnTo>
                  <a:lnTo>
                    <a:pt x="1016" y="3736"/>
                  </a:lnTo>
                  <a:lnTo>
                    <a:pt x="1006" y="3734"/>
                  </a:lnTo>
                  <a:lnTo>
                    <a:pt x="992" y="3732"/>
                  </a:lnTo>
                  <a:lnTo>
                    <a:pt x="992" y="3734"/>
                  </a:lnTo>
                  <a:lnTo>
                    <a:pt x="994" y="3740"/>
                  </a:lnTo>
                  <a:lnTo>
                    <a:pt x="1018" y="3770"/>
                  </a:lnTo>
                  <a:lnTo>
                    <a:pt x="1048" y="3804"/>
                  </a:lnTo>
                  <a:lnTo>
                    <a:pt x="1060" y="3814"/>
                  </a:lnTo>
                  <a:lnTo>
                    <a:pt x="1070" y="3820"/>
                  </a:lnTo>
                  <a:lnTo>
                    <a:pt x="1078" y="3822"/>
                  </a:lnTo>
                  <a:lnTo>
                    <a:pt x="1090" y="3818"/>
                  </a:lnTo>
                  <a:lnTo>
                    <a:pt x="1102" y="3810"/>
                  </a:lnTo>
                  <a:lnTo>
                    <a:pt x="1116" y="3798"/>
                  </a:lnTo>
                  <a:lnTo>
                    <a:pt x="1124" y="3790"/>
                  </a:lnTo>
                  <a:lnTo>
                    <a:pt x="1128" y="3782"/>
                  </a:lnTo>
                  <a:lnTo>
                    <a:pt x="1128" y="3772"/>
                  </a:lnTo>
                  <a:lnTo>
                    <a:pt x="1128" y="3764"/>
                  </a:lnTo>
                  <a:lnTo>
                    <a:pt x="1128" y="3756"/>
                  </a:lnTo>
                  <a:lnTo>
                    <a:pt x="1128" y="3750"/>
                  </a:lnTo>
                  <a:lnTo>
                    <a:pt x="1132" y="3744"/>
                  </a:lnTo>
                  <a:lnTo>
                    <a:pt x="1138" y="3742"/>
                  </a:lnTo>
                  <a:lnTo>
                    <a:pt x="1144" y="3740"/>
                  </a:lnTo>
                  <a:lnTo>
                    <a:pt x="1148" y="3740"/>
                  </a:lnTo>
                  <a:lnTo>
                    <a:pt x="1148" y="3742"/>
                  </a:lnTo>
                  <a:lnTo>
                    <a:pt x="1146" y="3746"/>
                  </a:lnTo>
                  <a:lnTo>
                    <a:pt x="1142" y="3754"/>
                  </a:lnTo>
                  <a:lnTo>
                    <a:pt x="1142" y="3760"/>
                  </a:lnTo>
                  <a:lnTo>
                    <a:pt x="1144" y="3764"/>
                  </a:lnTo>
                  <a:lnTo>
                    <a:pt x="1146" y="3770"/>
                  </a:lnTo>
                  <a:lnTo>
                    <a:pt x="1146" y="3774"/>
                  </a:lnTo>
                  <a:lnTo>
                    <a:pt x="1144" y="3778"/>
                  </a:lnTo>
                  <a:lnTo>
                    <a:pt x="1144" y="3782"/>
                  </a:lnTo>
                  <a:lnTo>
                    <a:pt x="1144" y="3788"/>
                  </a:lnTo>
                  <a:lnTo>
                    <a:pt x="1146" y="3794"/>
                  </a:lnTo>
                  <a:lnTo>
                    <a:pt x="1150" y="3804"/>
                  </a:lnTo>
                  <a:lnTo>
                    <a:pt x="1154" y="3814"/>
                  </a:lnTo>
                  <a:lnTo>
                    <a:pt x="1154" y="3822"/>
                  </a:lnTo>
                  <a:lnTo>
                    <a:pt x="1150" y="3838"/>
                  </a:lnTo>
                  <a:lnTo>
                    <a:pt x="1148" y="3848"/>
                  </a:lnTo>
                  <a:lnTo>
                    <a:pt x="1148" y="3864"/>
                  </a:lnTo>
                  <a:lnTo>
                    <a:pt x="1148" y="3884"/>
                  </a:lnTo>
                  <a:lnTo>
                    <a:pt x="1152" y="3912"/>
                  </a:lnTo>
                  <a:lnTo>
                    <a:pt x="1170" y="4010"/>
                  </a:lnTo>
                  <a:lnTo>
                    <a:pt x="1176" y="4042"/>
                  </a:lnTo>
                  <a:lnTo>
                    <a:pt x="1184" y="4060"/>
                  </a:lnTo>
                  <a:lnTo>
                    <a:pt x="1194" y="4084"/>
                  </a:lnTo>
                  <a:lnTo>
                    <a:pt x="1210" y="4122"/>
                  </a:lnTo>
                  <a:lnTo>
                    <a:pt x="1224" y="4164"/>
                  </a:lnTo>
                  <a:lnTo>
                    <a:pt x="1230" y="4184"/>
                  </a:lnTo>
                  <a:lnTo>
                    <a:pt x="1232" y="4204"/>
                  </a:lnTo>
                  <a:lnTo>
                    <a:pt x="1236" y="4220"/>
                  </a:lnTo>
                  <a:lnTo>
                    <a:pt x="1240" y="4232"/>
                  </a:lnTo>
                  <a:lnTo>
                    <a:pt x="1254" y="4256"/>
                  </a:lnTo>
                  <a:lnTo>
                    <a:pt x="1262" y="4268"/>
                  </a:lnTo>
                  <a:lnTo>
                    <a:pt x="1268" y="4284"/>
                  </a:lnTo>
                  <a:lnTo>
                    <a:pt x="1276" y="4304"/>
                  </a:lnTo>
                  <a:lnTo>
                    <a:pt x="1282" y="4330"/>
                  </a:lnTo>
                  <a:lnTo>
                    <a:pt x="1290" y="4358"/>
                  </a:lnTo>
                  <a:lnTo>
                    <a:pt x="1296" y="4384"/>
                  </a:lnTo>
                  <a:lnTo>
                    <a:pt x="1306" y="4406"/>
                  </a:lnTo>
                  <a:lnTo>
                    <a:pt x="1314" y="4424"/>
                  </a:lnTo>
                  <a:lnTo>
                    <a:pt x="1324" y="4436"/>
                  </a:lnTo>
                  <a:lnTo>
                    <a:pt x="1328" y="4442"/>
                  </a:lnTo>
                  <a:lnTo>
                    <a:pt x="1334" y="4444"/>
                  </a:lnTo>
                  <a:lnTo>
                    <a:pt x="1338" y="4446"/>
                  </a:lnTo>
                  <a:lnTo>
                    <a:pt x="1344" y="4446"/>
                  </a:lnTo>
                  <a:lnTo>
                    <a:pt x="1348" y="4444"/>
                  </a:lnTo>
                  <a:lnTo>
                    <a:pt x="1354" y="4440"/>
                  </a:lnTo>
                  <a:lnTo>
                    <a:pt x="1362" y="4432"/>
                  </a:lnTo>
                  <a:lnTo>
                    <a:pt x="1366" y="4424"/>
                  </a:lnTo>
                  <a:lnTo>
                    <a:pt x="1368" y="4416"/>
                  </a:lnTo>
                  <a:lnTo>
                    <a:pt x="1368" y="4410"/>
                  </a:lnTo>
                  <a:lnTo>
                    <a:pt x="1368" y="4406"/>
                  </a:lnTo>
                  <a:lnTo>
                    <a:pt x="1372" y="4400"/>
                  </a:lnTo>
                  <a:lnTo>
                    <a:pt x="1376" y="4396"/>
                  </a:lnTo>
                  <a:lnTo>
                    <a:pt x="1384" y="4394"/>
                  </a:lnTo>
                  <a:lnTo>
                    <a:pt x="1402" y="4390"/>
                  </a:lnTo>
                  <a:lnTo>
                    <a:pt x="1412" y="4390"/>
                  </a:lnTo>
                  <a:lnTo>
                    <a:pt x="1418" y="4390"/>
                  </a:lnTo>
                  <a:lnTo>
                    <a:pt x="1420" y="4390"/>
                  </a:lnTo>
                  <a:lnTo>
                    <a:pt x="1420" y="4388"/>
                  </a:lnTo>
                  <a:lnTo>
                    <a:pt x="1420" y="4386"/>
                  </a:lnTo>
                  <a:lnTo>
                    <a:pt x="1416" y="4384"/>
                  </a:lnTo>
                  <a:lnTo>
                    <a:pt x="1408" y="4382"/>
                  </a:lnTo>
                  <a:lnTo>
                    <a:pt x="1404" y="4380"/>
                  </a:lnTo>
                  <a:lnTo>
                    <a:pt x="1400" y="4376"/>
                  </a:lnTo>
                  <a:lnTo>
                    <a:pt x="1402" y="4370"/>
                  </a:lnTo>
                  <a:lnTo>
                    <a:pt x="1406" y="4362"/>
                  </a:lnTo>
                  <a:lnTo>
                    <a:pt x="1410" y="4354"/>
                  </a:lnTo>
                  <a:lnTo>
                    <a:pt x="1412" y="4348"/>
                  </a:lnTo>
                  <a:lnTo>
                    <a:pt x="1412" y="4342"/>
                  </a:lnTo>
                  <a:lnTo>
                    <a:pt x="1414" y="4340"/>
                  </a:lnTo>
                  <a:lnTo>
                    <a:pt x="1428" y="4338"/>
                  </a:lnTo>
                  <a:lnTo>
                    <a:pt x="1434" y="4336"/>
                  </a:lnTo>
                  <a:lnTo>
                    <a:pt x="1436" y="4334"/>
                  </a:lnTo>
                  <a:lnTo>
                    <a:pt x="1438" y="4332"/>
                  </a:lnTo>
                  <a:lnTo>
                    <a:pt x="1438" y="4322"/>
                  </a:lnTo>
                  <a:lnTo>
                    <a:pt x="1436" y="4312"/>
                  </a:lnTo>
                  <a:lnTo>
                    <a:pt x="1434" y="4298"/>
                  </a:lnTo>
                  <a:lnTo>
                    <a:pt x="1432" y="4284"/>
                  </a:lnTo>
                  <a:lnTo>
                    <a:pt x="1434" y="4266"/>
                  </a:lnTo>
                  <a:lnTo>
                    <a:pt x="1440" y="4246"/>
                  </a:lnTo>
                  <a:lnTo>
                    <a:pt x="1448" y="4226"/>
                  </a:lnTo>
                  <a:lnTo>
                    <a:pt x="1454" y="4206"/>
                  </a:lnTo>
                  <a:lnTo>
                    <a:pt x="1456" y="4196"/>
                  </a:lnTo>
                  <a:lnTo>
                    <a:pt x="1454" y="4186"/>
                  </a:lnTo>
                  <a:lnTo>
                    <a:pt x="1452" y="4172"/>
                  </a:lnTo>
                  <a:lnTo>
                    <a:pt x="1448" y="4154"/>
                  </a:lnTo>
                  <a:lnTo>
                    <a:pt x="1448" y="4144"/>
                  </a:lnTo>
                  <a:lnTo>
                    <a:pt x="1450" y="4138"/>
                  </a:lnTo>
                  <a:lnTo>
                    <a:pt x="1450" y="4128"/>
                  </a:lnTo>
                  <a:lnTo>
                    <a:pt x="1446" y="4108"/>
                  </a:lnTo>
                  <a:lnTo>
                    <a:pt x="1444" y="4098"/>
                  </a:lnTo>
                  <a:lnTo>
                    <a:pt x="1442" y="4088"/>
                  </a:lnTo>
                  <a:lnTo>
                    <a:pt x="1444" y="4082"/>
                  </a:lnTo>
                  <a:lnTo>
                    <a:pt x="1444" y="4076"/>
                  </a:lnTo>
                  <a:lnTo>
                    <a:pt x="1448" y="4074"/>
                  </a:lnTo>
                  <a:lnTo>
                    <a:pt x="1452" y="4070"/>
                  </a:lnTo>
                  <a:lnTo>
                    <a:pt x="1460" y="4068"/>
                  </a:lnTo>
                  <a:lnTo>
                    <a:pt x="1470" y="4066"/>
                  </a:lnTo>
                  <a:lnTo>
                    <a:pt x="1480" y="4064"/>
                  </a:lnTo>
                  <a:lnTo>
                    <a:pt x="1488" y="4058"/>
                  </a:lnTo>
                  <a:lnTo>
                    <a:pt x="1490" y="4054"/>
                  </a:lnTo>
                  <a:lnTo>
                    <a:pt x="1492" y="4050"/>
                  </a:lnTo>
                  <a:lnTo>
                    <a:pt x="1494" y="4040"/>
                  </a:lnTo>
                  <a:lnTo>
                    <a:pt x="1496" y="4038"/>
                  </a:lnTo>
                  <a:lnTo>
                    <a:pt x="1498" y="4038"/>
                  </a:lnTo>
                  <a:lnTo>
                    <a:pt x="1502" y="4040"/>
                  </a:lnTo>
                  <a:lnTo>
                    <a:pt x="1506" y="4042"/>
                  </a:lnTo>
                  <a:lnTo>
                    <a:pt x="1512" y="4042"/>
                  </a:lnTo>
                  <a:lnTo>
                    <a:pt x="1520" y="4040"/>
                  </a:lnTo>
                  <a:lnTo>
                    <a:pt x="1530" y="4032"/>
                  </a:lnTo>
                  <a:lnTo>
                    <a:pt x="1536" y="4024"/>
                  </a:lnTo>
                  <a:lnTo>
                    <a:pt x="1538" y="4020"/>
                  </a:lnTo>
                  <a:lnTo>
                    <a:pt x="1538" y="4016"/>
                  </a:lnTo>
                  <a:lnTo>
                    <a:pt x="1538" y="4014"/>
                  </a:lnTo>
                  <a:lnTo>
                    <a:pt x="1538" y="4010"/>
                  </a:lnTo>
                  <a:lnTo>
                    <a:pt x="1542" y="4004"/>
                  </a:lnTo>
                  <a:lnTo>
                    <a:pt x="1550" y="3996"/>
                  </a:lnTo>
                  <a:lnTo>
                    <a:pt x="1566" y="3982"/>
                  </a:lnTo>
                  <a:lnTo>
                    <a:pt x="1584" y="3966"/>
                  </a:lnTo>
                  <a:lnTo>
                    <a:pt x="1600" y="3950"/>
                  </a:lnTo>
                  <a:lnTo>
                    <a:pt x="1624" y="3918"/>
                  </a:lnTo>
                  <a:lnTo>
                    <a:pt x="1644" y="3892"/>
                  </a:lnTo>
                  <a:lnTo>
                    <a:pt x="1654" y="3880"/>
                  </a:lnTo>
                  <a:lnTo>
                    <a:pt x="1666" y="3870"/>
                  </a:lnTo>
                  <a:lnTo>
                    <a:pt x="1674" y="3866"/>
                  </a:lnTo>
                  <a:lnTo>
                    <a:pt x="1680" y="3864"/>
                  </a:lnTo>
                  <a:lnTo>
                    <a:pt x="1688" y="3864"/>
                  </a:lnTo>
                  <a:lnTo>
                    <a:pt x="1692" y="3864"/>
                  </a:lnTo>
                  <a:lnTo>
                    <a:pt x="1696" y="3860"/>
                  </a:lnTo>
                  <a:lnTo>
                    <a:pt x="1704" y="3852"/>
                  </a:lnTo>
                  <a:lnTo>
                    <a:pt x="1714" y="3840"/>
                  </a:lnTo>
                  <a:lnTo>
                    <a:pt x="1722" y="3828"/>
                  </a:lnTo>
                  <a:lnTo>
                    <a:pt x="1724" y="3816"/>
                  </a:lnTo>
                  <a:lnTo>
                    <a:pt x="1724" y="3808"/>
                  </a:lnTo>
                  <a:lnTo>
                    <a:pt x="1722" y="3802"/>
                  </a:lnTo>
                  <a:lnTo>
                    <a:pt x="1720" y="3796"/>
                  </a:lnTo>
                  <a:lnTo>
                    <a:pt x="1720" y="3790"/>
                  </a:lnTo>
                  <a:lnTo>
                    <a:pt x="1724" y="3784"/>
                  </a:lnTo>
                  <a:lnTo>
                    <a:pt x="1736" y="3778"/>
                  </a:lnTo>
                  <a:lnTo>
                    <a:pt x="1748" y="3772"/>
                  </a:lnTo>
                  <a:lnTo>
                    <a:pt x="1756" y="3766"/>
                  </a:lnTo>
                  <a:lnTo>
                    <a:pt x="1768" y="3758"/>
                  </a:lnTo>
                  <a:lnTo>
                    <a:pt x="1770" y="3756"/>
                  </a:lnTo>
                  <a:lnTo>
                    <a:pt x="1772" y="3756"/>
                  </a:lnTo>
                  <a:lnTo>
                    <a:pt x="1774" y="3766"/>
                  </a:lnTo>
                  <a:lnTo>
                    <a:pt x="1774" y="3772"/>
                  </a:lnTo>
                  <a:lnTo>
                    <a:pt x="1778" y="3776"/>
                  </a:lnTo>
                  <a:lnTo>
                    <a:pt x="1780" y="3778"/>
                  </a:lnTo>
                  <a:lnTo>
                    <a:pt x="1784" y="3778"/>
                  </a:lnTo>
                  <a:lnTo>
                    <a:pt x="1790" y="3774"/>
                  </a:lnTo>
                  <a:lnTo>
                    <a:pt x="1794" y="3774"/>
                  </a:lnTo>
                  <a:lnTo>
                    <a:pt x="1798" y="3774"/>
                  </a:lnTo>
                  <a:lnTo>
                    <a:pt x="1804" y="3776"/>
                  </a:lnTo>
                  <a:lnTo>
                    <a:pt x="1808" y="3776"/>
                  </a:lnTo>
                  <a:lnTo>
                    <a:pt x="1810" y="3774"/>
                  </a:lnTo>
                  <a:lnTo>
                    <a:pt x="1808" y="3768"/>
                  </a:lnTo>
                  <a:lnTo>
                    <a:pt x="1806" y="3760"/>
                  </a:lnTo>
                  <a:lnTo>
                    <a:pt x="1806" y="3758"/>
                  </a:lnTo>
                  <a:lnTo>
                    <a:pt x="1810" y="3756"/>
                  </a:lnTo>
                  <a:lnTo>
                    <a:pt x="1812" y="3762"/>
                  </a:lnTo>
                  <a:lnTo>
                    <a:pt x="1816" y="3766"/>
                  </a:lnTo>
                  <a:lnTo>
                    <a:pt x="1818" y="3766"/>
                  </a:lnTo>
                  <a:lnTo>
                    <a:pt x="1820" y="3766"/>
                  </a:lnTo>
                  <a:lnTo>
                    <a:pt x="1824" y="3766"/>
                  </a:lnTo>
                  <a:lnTo>
                    <a:pt x="1826" y="3766"/>
                  </a:lnTo>
                  <a:lnTo>
                    <a:pt x="1828" y="3768"/>
                  </a:lnTo>
                  <a:lnTo>
                    <a:pt x="1830" y="3770"/>
                  </a:lnTo>
                  <a:lnTo>
                    <a:pt x="1832" y="3770"/>
                  </a:lnTo>
                  <a:lnTo>
                    <a:pt x="1836" y="3764"/>
                  </a:lnTo>
                  <a:lnTo>
                    <a:pt x="1842" y="3760"/>
                  </a:lnTo>
                  <a:lnTo>
                    <a:pt x="1844" y="3760"/>
                  </a:lnTo>
                  <a:lnTo>
                    <a:pt x="1848" y="3762"/>
                  </a:lnTo>
                  <a:lnTo>
                    <a:pt x="1852" y="3766"/>
                  </a:lnTo>
                  <a:lnTo>
                    <a:pt x="1856" y="3764"/>
                  </a:lnTo>
                  <a:lnTo>
                    <a:pt x="1860" y="3762"/>
                  </a:lnTo>
                  <a:lnTo>
                    <a:pt x="1864" y="3756"/>
                  </a:lnTo>
                  <a:lnTo>
                    <a:pt x="1866" y="3748"/>
                  </a:lnTo>
                  <a:lnTo>
                    <a:pt x="1868" y="3740"/>
                  </a:lnTo>
                  <a:lnTo>
                    <a:pt x="1868" y="3734"/>
                  </a:lnTo>
                  <a:lnTo>
                    <a:pt x="1866" y="3726"/>
                  </a:lnTo>
                  <a:lnTo>
                    <a:pt x="1864" y="3716"/>
                  </a:lnTo>
                  <a:lnTo>
                    <a:pt x="1866" y="3706"/>
                  </a:lnTo>
                  <a:lnTo>
                    <a:pt x="1866" y="3698"/>
                  </a:lnTo>
                  <a:lnTo>
                    <a:pt x="1866" y="3690"/>
                  </a:lnTo>
                  <a:lnTo>
                    <a:pt x="1864" y="3686"/>
                  </a:lnTo>
                  <a:lnTo>
                    <a:pt x="1866" y="3684"/>
                  </a:lnTo>
                  <a:lnTo>
                    <a:pt x="1868" y="3680"/>
                  </a:lnTo>
                  <a:lnTo>
                    <a:pt x="1870" y="3676"/>
                  </a:lnTo>
                  <a:lnTo>
                    <a:pt x="1872" y="3678"/>
                  </a:lnTo>
                  <a:lnTo>
                    <a:pt x="1872" y="3684"/>
                  </a:lnTo>
                  <a:lnTo>
                    <a:pt x="1876" y="3710"/>
                  </a:lnTo>
                  <a:lnTo>
                    <a:pt x="1880" y="3720"/>
                  </a:lnTo>
                  <a:lnTo>
                    <a:pt x="1882" y="3724"/>
                  </a:lnTo>
                  <a:lnTo>
                    <a:pt x="1884" y="3726"/>
                  </a:lnTo>
                  <a:lnTo>
                    <a:pt x="1888" y="3726"/>
                  </a:lnTo>
                  <a:lnTo>
                    <a:pt x="1890" y="3726"/>
                  </a:lnTo>
                  <a:lnTo>
                    <a:pt x="1898" y="3722"/>
                  </a:lnTo>
                  <a:lnTo>
                    <a:pt x="1900" y="3720"/>
                  </a:lnTo>
                  <a:lnTo>
                    <a:pt x="1904" y="3720"/>
                  </a:lnTo>
                  <a:lnTo>
                    <a:pt x="1906" y="3722"/>
                  </a:lnTo>
                  <a:lnTo>
                    <a:pt x="1910" y="3726"/>
                  </a:lnTo>
                  <a:lnTo>
                    <a:pt x="1916" y="3738"/>
                  </a:lnTo>
                  <a:lnTo>
                    <a:pt x="1922" y="3760"/>
                  </a:lnTo>
                  <a:lnTo>
                    <a:pt x="1926" y="3768"/>
                  </a:lnTo>
                  <a:lnTo>
                    <a:pt x="1928" y="3772"/>
                  </a:lnTo>
                  <a:lnTo>
                    <a:pt x="1928" y="3774"/>
                  </a:lnTo>
                  <a:lnTo>
                    <a:pt x="1928" y="3780"/>
                  </a:lnTo>
                  <a:lnTo>
                    <a:pt x="1926" y="3786"/>
                  </a:lnTo>
                  <a:lnTo>
                    <a:pt x="1926" y="3792"/>
                  </a:lnTo>
                  <a:lnTo>
                    <a:pt x="1930" y="3804"/>
                  </a:lnTo>
                  <a:lnTo>
                    <a:pt x="1934" y="3814"/>
                  </a:lnTo>
                  <a:lnTo>
                    <a:pt x="1936" y="3810"/>
                  </a:lnTo>
                  <a:lnTo>
                    <a:pt x="1936" y="3800"/>
                  </a:lnTo>
                  <a:lnTo>
                    <a:pt x="1938" y="3806"/>
                  </a:lnTo>
                  <a:lnTo>
                    <a:pt x="1942" y="3816"/>
                  </a:lnTo>
                  <a:lnTo>
                    <a:pt x="1946" y="3828"/>
                  </a:lnTo>
                  <a:lnTo>
                    <a:pt x="1952" y="3838"/>
                  </a:lnTo>
                  <a:lnTo>
                    <a:pt x="1968" y="3862"/>
                  </a:lnTo>
                  <a:lnTo>
                    <a:pt x="1972" y="3864"/>
                  </a:lnTo>
                  <a:lnTo>
                    <a:pt x="1974" y="3860"/>
                  </a:lnTo>
                  <a:lnTo>
                    <a:pt x="1976" y="3856"/>
                  </a:lnTo>
                  <a:lnTo>
                    <a:pt x="1978" y="3854"/>
                  </a:lnTo>
                  <a:lnTo>
                    <a:pt x="1980" y="3854"/>
                  </a:lnTo>
                  <a:lnTo>
                    <a:pt x="1982" y="3854"/>
                  </a:lnTo>
                  <a:lnTo>
                    <a:pt x="1990" y="3862"/>
                  </a:lnTo>
                  <a:lnTo>
                    <a:pt x="1994" y="3870"/>
                  </a:lnTo>
                  <a:lnTo>
                    <a:pt x="1998" y="3876"/>
                  </a:lnTo>
                  <a:lnTo>
                    <a:pt x="2004" y="3882"/>
                  </a:lnTo>
                  <a:lnTo>
                    <a:pt x="2008" y="3886"/>
                  </a:lnTo>
                  <a:lnTo>
                    <a:pt x="2008" y="3888"/>
                  </a:lnTo>
                  <a:lnTo>
                    <a:pt x="2006" y="3890"/>
                  </a:lnTo>
                  <a:lnTo>
                    <a:pt x="2002" y="3892"/>
                  </a:lnTo>
                  <a:lnTo>
                    <a:pt x="2000" y="3892"/>
                  </a:lnTo>
                  <a:lnTo>
                    <a:pt x="1996" y="3890"/>
                  </a:lnTo>
                  <a:lnTo>
                    <a:pt x="1992" y="3886"/>
                  </a:lnTo>
                  <a:lnTo>
                    <a:pt x="1990" y="3886"/>
                  </a:lnTo>
                  <a:lnTo>
                    <a:pt x="1988" y="3888"/>
                  </a:lnTo>
                  <a:lnTo>
                    <a:pt x="1986" y="3890"/>
                  </a:lnTo>
                  <a:lnTo>
                    <a:pt x="1986" y="3894"/>
                  </a:lnTo>
                  <a:lnTo>
                    <a:pt x="1992" y="3904"/>
                  </a:lnTo>
                  <a:lnTo>
                    <a:pt x="1998" y="3910"/>
                  </a:lnTo>
                  <a:lnTo>
                    <a:pt x="2000" y="3912"/>
                  </a:lnTo>
                  <a:lnTo>
                    <a:pt x="2000" y="3910"/>
                  </a:lnTo>
                  <a:lnTo>
                    <a:pt x="2002" y="3904"/>
                  </a:lnTo>
                  <a:lnTo>
                    <a:pt x="2004" y="3900"/>
                  </a:lnTo>
                  <a:lnTo>
                    <a:pt x="2006" y="3900"/>
                  </a:lnTo>
                  <a:lnTo>
                    <a:pt x="2010" y="3912"/>
                  </a:lnTo>
                  <a:lnTo>
                    <a:pt x="2016" y="3930"/>
                  </a:lnTo>
                  <a:lnTo>
                    <a:pt x="2024" y="3950"/>
                  </a:lnTo>
                  <a:lnTo>
                    <a:pt x="2028" y="3960"/>
                  </a:lnTo>
                  <a:lnTo>
                    <a:pt x="2032" y="3972"/>
                  </a:lnTo>
                  <a:lnTo>
                    <a:pt x="2032" y="3982"/>
                  </a:lnTo>
                  <a:lnTo>
                    <a:pt x="2030" y="3992"/>
                  </a:lnTo>
                  <a:lnTo>
                    <a:pt x="2016" y="4034"/>
                  </a:lnTo>
                  <a:lnTo>
                    <a:pt x="2014" y="4050"/>
                  </a:lnTo>
                  <a:lnTo>
                    <a:pt x="2014" y="4056"/>
                  </a:lnTo>
                  <a:lnTo>
                    <a:pt x="2016" y="4058"/>
                  </a:lnTo>
                  <a:lnTo>
                    <a:pt x="2020" y="4058"/>
                  </a:lnTo>
                  <a:lnTo>
                    <a:pt x="2022" y="4056"/>
                  </a:lnTo>
                  <a:lnTo>
                    <a:pt x="2026" y="4050"/>
                  </a:lnTo>
                  <a:lnTo>
                    <a:pt x="2028" y="4044"/>
                  </a:lnTo>
                  <a:lnTo>
                    <a:pt x="2030" y="4042"/>
                  </a:lnTo>
                  <a:lnTo>
                    <a:pt x="2034" y="4042"/>
                  </a:lnTo>
                  <a:lnTo>
                    <a:pt x="2036" y="4042"/>
                  </a:lnTo>
                  <a:lnTo>
                    <a:pt x="2036" y="4044"/>
                  </a:lnTo>
                  <a:lnTo>
                    <a:pt x="2032" y="4048"/>
                  </a:lnTo>
                  <a:lnTo>
                    <a:pt x="2032" y="4054"/>
                  </a:lnTo>
                  <a:lnTo>
                    <a:pt x="2032" y="4056"/>
                  </a:lnTo>
                  <a:lnTo>
                    <a:pt x="2036" y="4060"/>
                  </a:lnTo>
                  <a:lnTo>
                    <a:pt x="2040" y="4064"/>
                  </a:lnTo>
                  <a:lnTo>
                    <a:pt x="2042" y="4064"/>
                  </a:lnTo>
                  <a:lnTo>
                    <a:pt x="2046" y="4062"/>
                  </a:lnTo>
                  <a:lnTo>
                    <a:pt x="2048" y="4060"/>
                  </a:lnTo>
                  <a:lnTo>
                    <a:pt x="2050" y="4060"/>
                  </a:lnTo>
                  <a:lnTo>
                    <a:pt x="2052" y="4062"/>
                  </a:lnTo>
                  <a:lnTo>
                    <a:pt x="2056" y="4066"/>
                  </a:lnTo>
                  <a:lnTo>
                    <a:pt x="2062" y="4070"/>
                  </a:lnTo>
                  <a:lnTo>
                    <a:pt x="2066" y="4068"/>
                  </a:lnTo>
                  <a:lnTo>
                    <a:pt x="2068" y="4066"/>
                  </a:lnTo>
                  <a:lnTo>
                    <a:pt x="2072" y="4060"/>
                  </a:lnTo>
                  <a:lnTo>
                    <a:pt x="2080" y="4048"/>
                  </a:lnTo>
                  <a:lnTo>
                    <a:pt x="2086" y="4042"/>
                  </a:lnTo>
                  <a:lnTo>
                    <a:pt x="2092" y="4038"/>
                  </a:lnTo>
                  <a:lnTo>
                    <a:pt x="2106" y="4032"/>
                  </a:lnTo>
                  <a:lnTo>
                    <a:pt x="2112" y="4028"/>
                  </a:lnTo>
                  <a:lnTo>
                    <a:pt x="2118" y="4024"/>
                  </a:lnTo>
                  <a:lnTo>
                    <a:pt x="2122" y="4016"/>
                  </a:lnTo>
                  <a:lnTo>
                    <a:pt x="2124" y="4008"/>
                  </a:lnTo>
                  <a:lnTo>
                    <a:pt x="2126" y="3998"/>
                  </a:lnTo>
                  <a:lnTo>
                    <a:pt x="2122" y="3986"/>
                  </a:lnTo>
                  <a:lnTo>
                    <a:pt x="2128" y="3990"/>
                  </a:lnTo>
                  <a:lnTo>
                    <a:pt x="2130" y="3992"/>
                  </a:lnTo>
                  <a:lnTo>
                    <a:pt x="2132" y="3998"/>
                  </a:lnTo>
                  <a:lnTo>
                    <a:pt x="2132" y="4002"/>
                  </a:lnTo>
                  <a:lnTo>
                    <a:pt x="2136" y="4004"/>
                  </a:lnTo>
                  <a:lnTo>
                    <a:pt x="2138" y="4008"/>
                  </a:lnTo>
                  <a:lnTo>
                    <a:pt x="2140" y="4020"/>
                  </a:lnTo>
                  <a:lnTo>
                    <a:pt x="2144" y="4028"/>
                  </a:lnTo>
                  <a:lnTo>
                    <a:pt x="2146" y="4030"/>
                  </a:lnTo>
                  <a:lnTo>
                    <a:pt x="2148" y="4032"/>
                  </a:lnTo>
                  <a:lnTo>
                    <a:pt x="2152" y="4030"/>
                  </a:lnTo>
                  <a:lnTo>
                    <a:pt x="2156" y="4028"/>
                  </a:lnTo>
                  <a:lnTo>
                    <a:pt x="2158" y="4028"/>
                  </a:lnTo>
                  <a:lnTo>
                    <a:pt x="2156" y="4032"/>
                  </a:lnTo>
                  <a:lnTo>
                    <a:pt x="2152" y="4040"/>
                  </a:lnTo>
                  <a:lnTo>
                    <a:pt x="2150" y="4046"/>
                  </a:lnTo>
                  <a:lnTo>
                    <a:pt x="2150" y="4052"/>
                  </a:lnTo>
                  <a:lnTo>
                    <a:pt x="2154" y="4060"/>
                  </a:lnTo>
                  <a:lnTo>
                    <a:pt x="2156" y="4070"/>
                  </a:lnTo>
                  <a:lnTo>
                    <a:pt x="2158" y="4092"/>
                  </a:lnTo>
                  <a:lnTo>
                    <a:pt x="2160" y="4114"/>
                  </a:lnTo>
                  <a:lnTo>
                    <a:pt x="2164" y="4128"/>
                  </a:lnTo>
                  <a:lnTo>
                    <a:pt x="2168" y="4140"/>
                  </a:lnTo>
                  <a:lnTo>
                    <a:pt x="2172" y="4154"/>
                  </a:lnTo>
                  <a:lnTo>
                    <a:pt x="2172" y="4172"/>
                  </a:lnTo>
                  <a:lnTo>
                    <a:pt x="2174" y="4172"/>
                  </a:lnTo>
                  <a:lnTo>
                    <a:pt x="2176" y="4166"/>
                  </a:lnTo>
                  <a:lnTo>
                    <a:pt x="2178" y="4168"/>
                  </a:lnTo>
                  <a:lnTo>
                    <a:pt x="2180" y="4172"/>
                  </a:lnTo>
                  <a:lnTo>
                    <a:pt x="2184" y="4186"/>
                  </a:lnTo>
                  <a:lnTo>
                    <a:pt x="2188" y="4198"/>
                  </a:lnTo>
                  <a:lnTo>
                    <a:pt x="2190" y="4208"/>
                  </a:lnTo>
                  <a:lnTo>
                    <a:pt x="2192" y="4216"/>
                  </a:lnTo>
                  <a:lnTo>
                    <a:pt x="2194" y="4224"/>
                  </a:lnTo>
                  <a:lnTo>
                    <a:pt x="2192" y="4232"/>
                  </a:lnTo>
                  <a:lnTo>
                    <a:pt x="2192" y="4240"/>
                  </a:lnTo>
                  <a:lnTo>
                    <a:pt x="2192" y="4242"/>
                  </a:lnTo>
                  <a:lnTo>
                    <a:pt x="2194" y="4246"/>
                  </a:lnTo>
                  <a:lnTo>
                    <a:pt x="2194" y="4248"/>
                  </a:lnTo>
                  <a:lnTo>
                    <a:pt x="2194" y="4250"/>
                  </a:lnTo>
                  <a:lnTo>
                    <a:pt x="2192" y="4258"/>
                  </a:lnTo>
                  <a:lnTo>
                    <a:pt x="2190" y="4266"/>
                  </a:lnTo>
                  <a:lnTo>
                    <a:pt x="2192" y="4268"/>
                  </a:lnTo>
                  <a:lnTo>
                    <a:pt x="2196" y="4268"/>
                  </a:lnTo>
                  <a:lnTo>
                    <a:pt x="2198" y="4268"/>
                  </a:lnTo>
                  <a:lnTo>
                    <a:pt x="2200" y="4270"/>
                  </a:lnTo>
                  <a:lnTo>
                    <a:pt x="2200" y="4276"/>
                  </a:lnTo>
                  <a:lnTo>
                    <a:pt x="2196" y="4286"/>
                  </a:lnTo>
                  <a:lnTo>
                    <a:pt x="2196" y="4298"/>
                  </a:lnTo>
                  <a:lnTo>
                    <a:pt x="2194" y="4306"/>
                  </a:lnTo>
                  <a:lnTo>
                    <a:pt x="2192" y="4310"/>
                  </a:lnTo>
                  <a:lnTo>
                    <a:pt x="2190" y="4320"/>
                  </a:lnTo>
                  <a:lnTo>
                    <a:pt x="2188" y="4344"/>
                  </a:lnTo>
                  <a:lnTo>
                    <a:pt x="2188" y="4352"/>
                  </a:lnTo>
                  <a:lnTo>
                    <a:pt x="2190" y="4352"/>
                  </a:lnTo>
                  <a:lnTo>
                    <a:pt x="2198" y="4336"/>
                  </a:lnTo>
                  <a:lnTo>
                    <a:pt x="2198" y="4340"/>
                  </a:lnTo>
                  <a:lnTo>
                    <a:pt x="2198" y="4346"/>
                  </a:lnTo>
                  <a:lnTo>
                    <a:pt x="2190" y="4360"/>
                  </a:lnTo>
                  <a:lnTo>
                    <a:pt x="2186" y="4368"/>
                  </a:lnTo>
                  <a:lnTo>
                    <a:pt x="2188" y="4372"/>
                  </a:lnTo>
                  <a:lnTo>
                    <a:pt x="2188" y="4374"/>
                  </a:lnTo>
                  <a:lnTo>
                    <a:pt x="2186" y="4380"/>
                  </a:lnTo>
                  <a:lnTo>
                    <a:pt x="2182" y="4390"/>
                  </a:lnTo>
                  <a:lnTo>
                    <a:pt x="2182" y="4396"/>
                  </a:lnTo>
                  <a:lnTo>
                    <a:pt x="2182" y="4400"/>
                  </a:lnTo>
                  <a:lnTo>
                    <a:pt x="2180" y="4406"/>
                  </a:lnTo>
                  <a:lnTo>
                    <a:pt x="2178" y="4416"/>
                  </a:lnTo>
                  <a:lnTo>
                    <a:pt x="2176" y="4426"/>
                  </a:lnTo>
                  <a:lnTo>
                    <a:pt x="2178" y="4434"/>
                  </a:lnTo>
                  <a:lnTo>
                    <a:pt x="2180" y="4440"/>
                  </a:lnTo>
                  <a:lnTo>
                    <a:pt x="2182" y="4442"/>
                  </a:lnTo>
                  <a:lnTo>
                    <a:pt x="2184" y="4442"/>
                  </a:lnTo>
                  <a:lnTo>
                    <a:pt x="2186" y="4438"/>
                  </a:lnTo>
                  <a:lnTo>
                    <a:pt x="2190" y="4432"/>
                  </a:lnTo>
                  <a:lnTo>
                    <a:pt x="2190" y="4430"/>
                  </a:lnTo>
                  <a:lnTo>
                    <a:pt x="2192" y="4430"/>
                  </a:lnTo>
                  <a:lnTo>
                    <a:pt x="2198" y="4438"/>
                  </a:lnTo>
                  <a:lnTo>
                    <a:pt x="2204" y="4450"/>
                  </a:lnTo>
                  <a:lnTo>
                    <a:pt x="2210" y="4464"/>
                  </a:lnTo>
                  <a:lnTo>
                    <a:pt x="2220" y="4480"/>
                  </a:lnTo>
                  <a:lnTo>
                    <a:pt x="2224" y="4484"/>
                  </a:lnTo>
                  <a:lnTo>
                    <a:pt x="2228" y="4484"/>
                  </a:lnTo>
                  <a:lnTo>
                    <a:pt x="2232" y="4486"/>
                  </a:lnTo>
                  <a:lnTo>
                    <a:pt x="2234" y="4488"/>
                  </a:lnTo>
                  <a:lnTo>
                    <a:pt x="2234" y="4494"/>
                  </a:lnTo>
                  <a:lnTo>
                    <a:pt x="2234" y="4498"/>
                  </a:lnTo>
                  <a:lnTo>
                    <a:pt x="2236" y="4502"/>
                  </a:lnTo>
                  <a:lnTo>
                    <a:pt x="2238" y="4508"/>
                  </a:lnTo>
                  <a:lnTo>
                    <a:pt x="2248" y="4516"/>
                  </a:lnTo>
                  <a:lnTo>
                    <a:pt x="2254" y="4526"/>
                  </a:lnTo>
                  <a:lnTo>
                    <a:pt x="2258" y="4536"/>
                  </a:lnTo>
                  <a:lnTo>
                    <a:pt x="2262" y="4544"/>
                  </a:lnTo>
                  <a:lnTo>
                    <a:pt x="2266" y="4562"/>
                  </a:lnTo>
                  <a:lnTo>
                    <a:pt x="2266" y="4578"/>
                  </a:lnTo>
                  <a:lnTo>
                    <a:pt x="2266" y="4588"/>
                  </a:lnTo>
                  <a:lnTo>
                    <a:pt x="2264" y="4592"/>
                  </a:lnTo>
                  <a:lnTo>
                    <a:pt x="2264" y="4596"/>
                  </a:lnTo>
                  <a:lnTo>
                    <a:pt x="2268" y="4600"/>
                  </a:lnTo>
                  <a:lnTo>
                    <a:pt x="2270" y="4602"/>
                  </a:lnTo>
                  <a:lnTo>
                    <a:pt x="2272" y="4606"/>
                  </a:lnTo>
                  <a:lnTo>
                    <a:pt x="2274" y="4612"/>
                  </a:lnTo>
                  <a:lnTo>
                    <a:pt x="2272" y="4622"/>
                  </a:lnTo>
                  <a:lnTo>
                    <a:pt x="2272" y="4634"/>
                  </a:lnTo>
                  <a:lnTo>
                    <a:pt x="2276" y="4638"/>
                  </a:lnTo>
                  <a:lnTo>
                    <a:pt x="2278" y="4640"/>
                  </a:lnTo>
                  <a:lnTo>
                    <a:pt x="2278" y="4644"/>
                  </a:lnTo>
                  <a:lnTo>
                    <a:pt x="2278" y="4648"/>
                  </a:lnTo>
                  <a:lnTo>
                    <a:pt x="2282" y="4654"/>
                  </a:lnTo>
                  <a:lnTo>
                    <a:pt x="2292" y="4666"/>
                  </a:lnTo>
                  <a:lnTo>
                    <a:pt x="2296" y="4672"/>
                  </a:lnTo>
                  <a:lnTo>
                    <a:pt x="2300" y="4680"/>
                  </a:lnTo>
                  <a:lnTo>
                    <a:pt x="2302" y="4688"/>
                  </a:lnTo>
                  <a:lnTo>
                    <a:pt x="2302" y="4696"/>
                  </a:lnTo>
                  <a:lnTo>
                    <a:pt x="2302" y="4700"/>
                  </a:lnTo>
                  <a:lnTo>
                    <a:pt x="2302" y="4702"/>
                  </a:lnTo>
                  <a:lnTo>
                    <a:pt x="2308" y="4708"/>
                  </a:lnTo>
                  <a:lnTo>
                    <a:pt x="2320" y="4716"/>
                  </a:lnTo>
                  <a:lnTo>
                    <a:pt x="2330" y="4724"/>
                  </a:lnTo>
                  <a:lnTo>
                    <a:pt x="2344" y="4736"/>
                  </a:lnTo>
                  <a:lnTo>
                    <a:pt x="2354" y="4746"/>
                  </a:lnTo>
                  <a:lnTo>
                    <a:pt x="2364" y="4754"/>
                  </a:lnTo>
                  <a:lnTo>
                    <a:pt x="2376" y="4760"/>
                  </a:lnTo>
                  <a:lnTo>
                    <a:pt x="2382" y="4764"/>
                  </a:lnTo>
                  <a:lnTo>
                    <a:pt x="2384" y="4766"/>
                  </a:lnTo>
                  <a:lnTo>
                    <a:pt x="2386" y="4770"/>
                  </a:lnTo>
                  <a:lnTo>
                    <a:pt x="2390" y="4776"/>
                  </a:lnTo>
                  <a:lnTo>
                    <a:pt x="2392" y="4774"/>
                  </a:lnTo>
                  <a:lnTo>
                    <a:pt x="2396" y="4770"/>
                  </a:lnTo>
                  <a:lnTo>
                    <a:pt x="2400" y="4770"/>
                  </a:lnTo>
                  <a:lnTo>
                    <a:pt x="2404" y="4770"/>
                  </a:lnTo>
                  <a:lnTo>
                    <a:pt x="2408" y="4770"/>
                  </a:lnTo>
                  <a:lnTo>
                    <a:pt x="2410" y="4768"/>
                  </a:lnTo>
                  <a:lnTo>
                    <a:pt x="2410" y="4764"/>
                  </a:lnTo>
                  <a:lnTo>
                    <a:pt x="2414" y="4764"/>
                  </a:lnTo>
                  <a:lnTo>
                    <a:pt x="2416" y="4766"/>
                  </a:lnTo>
                  <a:lnTo>
                    <a:pt x="2414" y="4770"/>
                  </a:lnTo>
                  <a:lnTo>
                    <a:pt x="2414" y="4772"/>
                  </a:lnTo>
                  <a:lnTo>
                    <a:pt x="2418" y="4774"/>
                  </a:lnTo>
                  <a:lnTo>
                    <a:pt x="2420" y="4774"/>
                  </a:lnTo>
                  <a:lnTo>
                    <a:pt x="2422" y="4772"/>
                  </a:lnTo>
                  <a:lnTo>
                    <a:pt x="2422" y="4766"/>
                  </a:lnTo>
                  <a:lnTo>
                    <a:pt x="2420" y="4756"/>
                  </a:lnTo>
                  <a:lnTo>
                    <a:pt x="2416" y="4750"/>
                  </a:lnTo>
                  <a:lnTo>
                    <a:pt x="2414" y="4744"/>
                  </a:lnTo>
                  <a:lnTo>
                    <a:pt x="2412" y="4740"/>
                  </a:lnTo>
                  <a:lnTo>
                    <a:pt x="2410" y="4730"/>
                  </a:lnTo>
                  <a:lnTo>
                    <a:pt x="2406" y="4718"/>
                  </a:lnTo>
                  <a:lnTo>
                    <a:pt x="2402" y="4714"/>
                  </a:lnTo>
                  <a:lnTo>
                    <a:pt x="2398" y="4708"/>
                  </a:lnTo>
                  <a:lnTo>
                    <a:pt x="2392" y="4704"/>
                  </a:lnTo>
                  <a:lnTo>
                    <a:pt x="2388" y="4698"/>
                  </a:lnTo>
                  <a:lnTo>
                    <a:pt x="2388" y="4690"/>
                  </a:lnTo>
                  <a:lnTo>
                    <a:pt x="2388" y="4684"/>
                  </a:lnTo>
                  <a:lnTo>
                    <a:pt x="2390" y="4672"/>
                  </a:lnTo>
                  <a:lnTo>
                    <a:pt x="2390" y="4668"/>
                  </a:lnTo>
                  <a:lnTo>
                    <a:pt x="2386" y="4664"/>
                  </a:lnTo>
                  <a:lnTo>
                    <a:pt x="2384" y="4658"/>
                  </a:lnTo>
                  <a:lnTo>
                    <a:pt x="2386" y="4654"/>
                  </a:lnTo>
                  <a:lnTo>
                    <a:pt x="2386" y="4648"/>
                  </a:lnTo>
                  <a:lnTo>
                    <a:pt x="2388" y="4642"/>
                  </a:lnTo>
                  <a:lnTo>
                    <a:pt x="2388" y="4636"/>
                  </a:lnTo>
                  <a:lnTo>
                    <a:pt x="2388" y="4628"/>
                  </a:lnTo>
                  <a:lnTo>
                    <a:pt x="2390" y="4616"/>
                  </a:lnTo>
                  <a:lnTo>
                    <a:pt x="2386" y="4600"/>
                  </a:lnTo>
                  <a:lnTo>
                    <a:pt x="2384" y="4592"/>
                  </a:lnTo>
                  <a:lnTo>
                    <a:pt x="2378" y="4584"/>
                  </a:lnTo>
                  <a:lnTo>
                    <a:pt x="2366" y="4570"/>
                  </a:lnTo>
                  <a:lnTo>
                    <a:pt x="2354" y="4558"/>
                  </a:lnTo>
                  <a:lnTo>
                    <a:pt x="2350" y="4552"/>
                  </a:lnTo>
                  <a:lnTo>
                    <a:pt x="2348" y="4546"/>
                  </a:lnTo>
                  <a:lnTo>
                    <a:pt x="2344" y="4540"/>
                  </a:lnTo>
                  <a:lnTo>
                    <a:pt x="2342" y="4538"/>
                  </a:lnTo>
                  <a:lnTo>
                    <a:pt x="2334" y="4536"/>
                  </a:lnTo>
                  <a:lnTo>
                    <a:pt x="2324" y="4526"/>
                  </a:lnTo>
                  <a:lnTo>
                    <a:pt x="2310" y="4508"/>
                  </a:lnTo>
                  <a:lnTo>
                    <a:pt x="2306" y="4502"/>
                  </a:lnTo>
                  <a:lnTo>
                    <a:pt x="2304" y="4502"/>
                  </a:lnTo>
                  <a:lnTo>
                    <a:pt x="2300" y="4504"/>
                  </a:lnTo>
                  <a:lnTo>
                    <a:pt x="2296" y="4504"/>
                  </a:lnTo>
                  <a:lnTo>
                    <a:pt x="2292" y="4504"/>
                  </a:lnTo>
                  <a:lnTo>
                    <a:pt x="2286" y="4500"/>
                  </a:lnTo>
                  <a:lnTo>
                    <a:pt x="2276" y="4494"/>
                  </a:lnTo>
                  <a:lnTo>
                    <a:pt x="2272" y="4486"/>
                  </a:lnTo>
                  <a:lnTo>
                    <a:pt x="2270" y="4476"/>
                  </a:lnTo>
                  <a:lnTo>
                    <a:pt x="2264" y="4454"/>
                  </a:lnTo>
                  <a:lnTo>
                    <a:pt x="2262" y="4434"/>
                  </a:lnTo>
                  <a:lnTo>
                    <a:pt x="2260" y="4428"/>
                  </a:lnTo>
                  <a:lnTo>
                    <a:pt x="2258" y="4426"/>
                  </a:lnTo>
                  <a:lnTo>
                    <a:pt x="2254" y="4426"/>
                  </a:lnTo>
                  <a:lnTo>
                    <a:pt x="2252" y="4424"/>
                  </a:lnTo>
                  <a:lnTo>
                    <a:pt x="2248" y="4416"/>
                  </a:lnTo>
                  <a:lnTo>
                    <a:pt x="2244" y="4402"/>
                  </a:lnTo>
                  <a:lnTo>
                    <a:pt x="2244" y="4388"/>
                  </a:lnTo>
                  <a:lnTo>
                    <a:pt x="2242" y="4386"/>
                  </a:lnTo>
                  <a:lnTo>
                    <a:pt x="2240" y="4384"/>
                  </a:lnTo>
                  <a:lnTo>
                    <a:pt x="2230" y="4388"/>
                  </a:lnTo>
                  <a:lnTo>
                    <a:pt x="2226" y="4390"/>
                  </a:lnTo>
                  <a:lnTo>
                    <a:pt x="2222" y="4390"/>
                  </a:lnTo>
                  <a:lnTo>
                    <a:pt x="2220" y="4388"/>
                  </a:lnTo>
                  <a:lnTo>
                    <a:pt x="2220" y="4382"/>
                  </a:lnTo>
                  <a:lnTo>
                    <a:pt x="2218" y="4352"/>
                  </a:lnTo>
                  <a:lnTo>
                    <a:pt x="2218" y="4330"/>
                  </a:lnTo>
                  <a:lnTo>
                    <a:pt x="2220" y="4320"/>
                  </a:lnTo>
                  <a:lnTo>
                    <a:pt x="2224" y="4316"/>
                  </a:lnTo>
                  <a:lnTo>
                    <a:pt x="2226" y="4310"/>
                  </a:lnTo>
                  <a:lnTo>
                    <a:pt x="2228" y="4306"/>
                  </a:lnTo>
                  <a:lnTo>
                    <a:pt x="2232" y="4296"/>
                  </a:lnTo>
                  <a:lnTo>
                    <a:pt x="2234" y="4284"/>
                  </a:lnTo>
                  <a:lnTo>
                    <a:pt x="2236" y="4274"/>
                  </a:lnTo>
                  <a:lnTo>
                    <a:pt x="2242" y="4258"/>
                  </a:lnTo>
                  <a:lnTo>
                    <a:pt x="2248" y="4232"/>
                  </a:lnTo>
                  <a:lnTo>
                    <a:pt x="2252" y="4208"/>
                  </a:lnTo>
                  <a:lnTo>
                    <a:pt x="2252" y="4200"/>
                  </a:lnTo>
                  <a:lnTo>
                    <a:pt x="2252" y="4196"/>
                  </a:lnTo>
                  <a:lnTo>
                    <a:pt x="2248" y="4192"/>
                  </a:lnTo>
                  <a:lnTo>
                    <a:pt x="2248" y="4190"/>
                  </a:lnTo>
                  <a:lnTo>
                    <a:pt x="2248" y="4186"/>
                  </a:lnTo>
                  <a:lnTo>
                    <a:pt x="2250" y="4184"/>
                  </a:lnTo>
                  <a:lnTo>
                    <a:pt x="2252" y="4180"/>
                  </a:lnTo>
                  <a:lnTo>
                    <a:pt x="2256" y="4178"/>
                  </a:lnTo>
                  <a:lnTo>
                    <a:pt x="2272" y="4176"/>
                  </a:lnTo>
                  <a:lnTo>
                    <a:pt x="2278" y="4178"/>
                  </a:lnTo>
                  <a:lnTo>
                    <a:pt x="2282" y="4180"/>
                  </a:lnTo>
                  <a:lnTo>
                    <a:pt x="2286" y="4182"/>
                  </a:lnTo>
                  <a:lnTo>
                    <a:pt x="2286" y="4184"/>
                  </a:lnTo>
                  <a:lnTo>
                    <a:pt x="2284" y="4194"/>
                  </a:lnTo>
                  <a:lnTo>
                    <a:pt x="2282" y="4210"/>
                  </a:lnTo>
                  <a:lnTo>
                    <a:pt x="2282" y="4220"/>
                  </a:lnTo>
                  <a:lnTo>
                    <a:pt x="2284" y="4222"/>
                  </a:lnTo>
                  <a:lnTo>
                    <a:pt x="2286" y="4222"/>
                  </a:lnTo>
                  <a:lnTo>
                    <a:pt x="2292" y="4222"/>
                  </a:lnTo>
                  <a:lnTo>
                    <a:pt x="2296" y="4222"/>
                  </a:lnTo>
                  <a:lnTo>
                    <a:pt x="2300" y="4222"/>
                  </a:lnTo>
                  <a:lnTo>
                    <a:pt x="2304" y="4224"/>
                  </a:lnTo>
                  <a:lnTo>
                    <a:pt x="2306" y="4224"/>
                  </a:lnTo>
                  <a:lnTo>
                    <a:pt x="2310" y="4220"/>
                  </a:lnTo>
                  <a:lnTo>
                    <a:pt x="2316" y="4218"/>
                  </a:lnTo>
                  <a:lnTo>
                    <a:pt x="2318" y="4218"/>
                  </a:lnTo>
                  <a:lnTo>
                    <a:pt x="2322" y="4220"/>
                  </a:lnTo>
                  <a:lnTo>
                    <a:pt x="2330" y="4228"/>
                  </a:lnTo>
                  <a:lnTo>
                    <a:pt x="2336" y="4236"/>
                  </a:lnTo>
                  <a:lnTo>
                    <a:pt x="2342" y="4244"/>
                  </a:lnTo>
                  <a:lnTo>
                    <a:pt x="2346" y="4246"/>
                  </a:lnTo>
                  <a:lnTo>
                    <a:pt x="2350" y="4248"/>
                  </a:lnTo>
                  <a:lnTo>
                    <a:pt x="2354" y="4250"/>
                  </a:lnTo>
                  <a:lnTo>
                    <a:pt x="2356" y="4252"/>
                  </a:lnTo>
                  <a:lnTo>
                    <a:pt x="2360" y="4258"/>
                  </a:lnTo>
                  <a:lnTo>
                    <a:pt x="2362" y="4266"/>
                  </a:lnTo>
                  <a:lnTo>
                    <a:pt x="2364" y="4268"/>
                  </a:lnTo>
                  <a:lnTo>
                    <a:pt x="2368" y="4268"/>
                  </a:lnTo>
                  <a:lnTo>
                    <a:pt x="2362" y="4256"/>
                  </a:lnTo>
                  <a:lnTo>
                    <a:pt x="2362" y="4246"/>
                  </a:lnTo>
                  <a:lnTo>
                    <a:pt x="2362" y="4256"/>
                  </a:lnTo>
                  <a:lnTo>
                    <a:pt x="2368" y="4268"/>
                  </a:lnTo>
                  <a:lnTo>
                    <a:pt x="2374" y="4280"/>
                  </a:lnTo>
                  <a:lnTo>
                    <a:pt x="2376" y="4286"/>
                  </a:lnTo>
                  <a:lnTo>
                    <a:pt x="2374" y="4292"/>
                  </a:lnTo>
                  <a:lnTo>
                    <a:pt x="2374" y="4300"/>
                  </a:lnTo>
                  <a:lnTo>
                    <a:pt x="2376" y="4310"/>
                  </a:lnTo>
                  <a:lnTo>
                    <a:pt x="2378" y="4310"/>
                  </a:lnTo>
                  <a:lnTo>
                    <a:pt x="2380" y="4308"/>
                  </a:lnTo>
                  <a:lnTo>
                    <a:pt x="2386" y="4308"/>
                  </a:lnTo>
                  <a:lnTo>
                    <a:pt x="2388" y="4308"/>
                  </a:lnTo>
                  <a:lnTo>
                    <a:pt x="2388" y="4304"/>
                  </a:lnTo>
                  <a:lnTo>
                    <a:pt x="2388" y="4298"/>
                  </a:lnTo>
                  <a:lnTo>
                    <a:pt x="2388" y="4296"/>
                  </a:lnTo>
                  <a:lnTo>
                    <a:pt x="2390" y="4294"/>
                  </a:lnTo>
                  <a:lnTo>
                    <a:pt x="2392" y="4296"/>
                  </a:lnTo>
                  <a:lnTo>
                    <a:pt x="2396" y="4300"/>
                  </a:lnTo>
                  <a:lnTo>
                    <a:pt x="2398" y="4304"/>
                  </a:lnTo>
                  <a:lnTo>
                    <a:pt x="2398" y="4308"/>
                  </a:lnTo>
                  <a:lnTo>
                    <a:pt x="2394" y="4314"/>
                  </a:lnTo>
                  <a:lnTo>
                    <a:pt x="2390" y="4320"/>
                  </a:lnTo>
                  <a:lnTo>
                    <a:pt x="2390" y="4322"/>
                  </a:lnTo>
                  <a:lnTo>
                    <a:pt x="2392" y="4324"/>
                  </a:lnTo>
                  <a:lnTo>
                    <a:pt x="2396" y="4326"/>
                  </a:lnTo>
                  <a:lnTo>
                    <a:pt x="2398" y="4326"/>
                  </a:lnTo>
                  <a:lnTo>
                    <a:pt x="2402" y="4324"/>
                  </a:lnTo>
                  <a:lnTo>
                    <a:pt x="2404" y="4322"/>
                  </a:lnTo>
                  <a:lnTo>
                    <a:pt x="2406" y="4320"/>
                  </a:lnTo>
                  <a:lnTo>
                    <a:pt x="2406" y="4322"/>
                  </a:lnTo>
                  <a:lnTo>
                    <a:pt x="2412" y="4324"/>
                  </a:lnTo>
                  <a:lnTo>
                    <a:pt x="2416" y="4324"/>
                  </a:lnTo>
                  <a:lnTo>
                    <a:pt x="2422" y="4326"/>
                  </a:lnTo>
                  <a:lnTo>
                    <a:pt x="2424" y="4328"/>
                  </a:lnTo>
                  <a:lnTo>
                    <a:pt x="2428" y="4334"/>
                  </a:lnTo>
                  <a:lnTo>
                    <a:pt x="2430" y="4340"/>
                  </a:lnTo>
                  <a:lnTo>
                    <a:pt x="2434" y="4344"/>
                  </a:lnTo>
                  <a:lnTo>
                    <a:pt x="2436" y="4344"/>
                  </a:lnTo>
                  <a:lnTo>
                    <a:pt x="2438" y="4344"/>
                  </a:lnTo>
                  <a:lnTo>
                    <a:pt x="2444" y="4342"/>
                  </a:lnTo>
                  <a:lnTo>
                    <a:pt x="2446" y="4342"/>
                  </a:lnTo>
                  <a:lnTo>
                    <a:pt x="2450" y="4346"/>
                  </a:lnTo>
                  <a:lnTo>
                    <a:pt x="2452" y="4350"/>
                  </a:lnTo>
                  <a:lnTo>
                    <a:pt x="2452" y="4352"/>
                  </a:lnTo>
                  <a:lnTo>
                    <a:pt x="2448" y="4360"/>
                  </a:lnTo>
                  <a:lnTo>
                    <a:pt x="2444" y="4370"/>
                  </a:lnTo>
                  <a:lnTo>
                    <a:pt x="2442" y="4378"/>
                  </a:lnTo>
                  <a:lnTo>
                    <a:pt x="2440" y="4388"/>
                  </a:lnTo>
                  <a:lnTo>
                    <a:pt x="2440" y="4410"/>
                  </a:lnTo>
                  <a:lnTo>
                    <a:pt x="2442" y="4422"/>
                  </a:lnTo>
                  <a:lnTo>
                    <a:pt x="2444" y="4424"/>
                  </a:lnTo>
                  <a:lnTo>
                    <a:pt x="2446" y="4424"/>
                  </a:lnTo>
                  <a:lnTo>
                    <a:pt x="2450" y="4422"/>
                  </a:lnTo>
                  <a:lnTo>
                    <a:pt x="2456" y="4416"/>
                  </a:lnTo>
                  <a:lnTo>
                    <a:pt x="2478" y="4396"/>
                  </a:lnTo>
                  <a:lnTo>
                    <a:pt x="2488" y="4388"/>
                  </a:lnTo>
                  <a:lnTo>
                    <a:pt x="2496" y="4384"/>
                  </a:lnTo>
                  <a:lnTo>
                    <a:pt x="2500" y="4382"/>
                  </a:lnTo>
                  <a:lnTo>
                    <a:pt x="2502" y="4380"/>
                  </a:lnTo>
                  <a:lnTo>
                    <a:pt x="2502" y="4376"/>
                  </a:lnTo>
                  <a:lnTo>
                    <a:pt x="2502" y="4374"/>
                  </a:lnTo>
                  <a:lnTo>
                    <a:pt x="2508" y="4372"/>
                  </a:lnTo>
                  <a:lnTo>
                    <a:pt x="2512" y="4370"/>
                  </a:lnTo>
                  <a:lnTo>
                    <a:pt x="2516" y="4364"/>
                  </a:lnTo>
                  <a:lnTo>
                    <a:pt x="2520" y="4346"/>
                  </a:lnTo>
                  <a:lnTo>
                    <a:pt x="2524" y="4328"/>
                  </a:lnTo>
                  <a:lnTo>
                    <a:pt x="2526" y="4324"/>
                  </a:lnTo>
                  <a:lnTo>
                    <a:pt x="2526" y="4322"/>
                  </a:lnTo>
                  <a:lnTo>
                    <a:pt x="2528" y="4324"/>
                  </a:lnTo>
                  <a:lnTo>
                    <a:pt x="2534" y="4328"/>
                  </a:lnTo>
                  <a:lnTo>
                    <a:pt x="2536" y="4330"/>
                  </a:lnTo>
                  <a:lnTo>
                    <a:pt x="2538" y="4332"/>
                  </a:lnTo>
                  <a:lnTo>
                    <a:pt x="2544" y="4332"/>
                  </a:lnTo>
                  <a:lnTo>
                    <a:pt x="2548" y="4330"/>
                  </a:lnTo>
                  <a:lnTo>
                    <a:pt x="2556" y="4326"/>
                  </a:lnTo>
                  <a:lnTo>
                    <a:pt x="2566" y="4318"/>
                  </a:lnTo>
                  <a:lnTo>
                    <a:pt x="2576" y="4310"/>
                  </a:lnTo>
                  <a:lnTo>
                    <a:pt x="2584" y="4304"/>
                  </a:lnTo>
                  <a:lnTo>
                    <a:pt x="2598" y="4296"/>
                  </a:lnTo>
                  <a:lnTo>
                    <a:pt x="2604" y="4292"/>
                  </a:lnTo>
                  <a:lnTo>
                    <a:pt x="2610" y="4286"/>
                  </a:lnTo>
                  <a:lnTo>
                    <a:pt x="2614" y="4280"/>
                  </a:lnTo>
                  <a:lnTo>
                    <a:pt x="2618" y="4272"/>
                  </a:lnTo>
                  <a:lnTo>
                    <a:pt x="2622" y="4252"/>
                  </a:lnTo>
                  <a:lnTo>
                    <a:pt x="2622" y="4238"/>
                  </a:lnTo>
                  <a:lnTo>
                    <a:pt x="2624" y="4228"/>
                  </a:lnTo>
                  <a:lnTo>
                    <a:pt x="2624" y="4224"/>
                  </a:lnTo>
                  <a:lnTo>
                    <a:pt x="2626" y="4222"/>
                  </a:lnTo>
                  <a:lnTo>
                    <a:pt x="2628" y="4222"/>
                  </a:lnTo>
                  <a:lnTo>
                    <a:pt x="2630" y="4220"/>
                  </a:lnTo>
                  <a:lnTo>
                    <a:pt x="2630" y="4214"/>
                  </a:lnTo>
                  <a:lnTo>
                    <a:pt x="2628" y="4206"/>
                  </a:lnTo>
                  <a:lnTo>
                    <a:pt x="2624" y="4198"/>
                  </a:lnTo>
                  <a:lnTo>
                    <a:pt x="2622" y="4194"/>
                  </a:lnTo>
                  <a:lnTo>
                    <a:pt x="2622" y="4190"/>
                  </a:lnTo>
                  <a:lnTo>
                    <a:pt x="2624" y="4174"/>
                  </a:lnTo>
                  <a:lnTo>
                    <a:pt x="2624" y="4152"/>
                  </a:lnTo>
                  <a:lnTo>
                    <a:pt x="2622" y="4138"/>
                  </a:lnTo>
                  <a:lnTo>
                    <a:pt x="2616" y="4122"/>
                  </a:lnTo>
                  <a:lnTo>
                    <a:pt x="2606" y="4096"/>
                  </a:lnTo>
                  <a:lnTo>
                    <a:pt x="2598" y="4080"/>
                  </a:lnTo>
                  <a:lnTo>
                    <a:pt x="2590" y="4068"/>
                  </a:lnTo>
                  <a:lnTo>
                    <a:pt x="2584" y="4056"/>
                  </a:lnTo>
                  <a:lnTo>
                    <a:pt x="2580" y="4046"/>
                  </a:lnTo>
                  <a:lnTo>
                    <a:pt x="2572" y="4042"/>
                  </a:lnTo>
                  <a:lnTo>
                    <a:pt x="2562" y="4034"/>
                  </a:lnTo>
                  <a:lnTo>
                    <a:pt x="2548" y="4020"/>
                  </a:lnTo>
                  <a:lnTo>
                    <a:pt x="2534" y="4002"/>
                  </a:lnTo>
                  <a:lnTo>
                    <a:pt x="2522" y="3986"/>
                  </a:lnTo>
                  <a:lnTo>
                    <a:pt x="2514" y="3972"/>
                  </a:lnTo>
                  <a:lnTo>
                    <a:pt x="2510" y="3966"/>
                  </a:lnTo>
                  <a:lnTo>
                    <a:pt x="2510" y="3960"/>
                  </a:lnTo>
                  <a:lnTo>
                    <a:pt x="2508" y="3954"/>
                  </a:lnTo>
                  <a:lnTo>
                    <a:pt x="2506" y="3950"/>
                  </a:lnTo>
                  <a:lnTo>
                    <a:pt x="2500" y="3946"/>
                  </a:lnTo>
                  <a:lnTo>
                    <a:pt x="2492" y="3940"/>
                  </a:lnTo>
                  <a:lnTo>
                    <a:pt x="2486" y="3934"/>
                  </a:lnTo>
                  <a:lnTo>
                    <a:pt x="2482" y="3926"/>
                  </a:lnTo>
                  <a:lnTo>
                    <a:pt x="2478" y="3916"/>
                  </a:lnTo>
                  <a:lnTo>
                    <a:pt x="2478" y="3904"/>
                  </a:lnTo>
                  <a:lnTo>
                    <a:pt x="2480" y="3894"/>
                  </a:lnTo>
                  <a:lnTo>
                    <a:pt x="2482" y="3884"/>
                  </a:lnTo>
                  <a:lnTo>
                    <a:pt x="2486" y="3874"/>
                  </a:lnTo>
                  <a:lnTo>
                    <a:pt x="2492" y="3864"/>
                  </a:lnTo>
                  <a:lnTo>
                    <a:pt x="2498" y="3856"/>
                  </a:lnTo>
                  <a:lnTo>
                    <a:pt x="2506" y="3848"/>
                  </a:lnTo>
                  <a:lnTo>
                    <a:pt x="2512" y="3842"/>
                  </a:lnTo>
                  <a:lnTo>
                    <a:pt x="2516" y="3836"/>
                  </a:lnTo>
                  <a:lnTo>
                    <a:pt x="2518" y="3826"/>
                  </a:lnTo>
                  <a:lnTo>
                    <a:pt x="2520" y="3816"/>
                  </a:lnTo>
                  <a:lnTo>
                    <a:pt x="2522" y="3812"/>
                  </a:lnTo>
                  <a:lnTo>
                    <a:pt x="2526" y="3808"/>
                  </a:lnTo>
                  <a:lnTo>
                    <a:pt x="2532" y="3806"/>
                  </a:lnTo>
                  <a:lnTo>
                    <a:pt x="2534" y="3806"/>
                  </a:lnTo>
                  <a:lnTo>
                    <a:pt x="2536" y="3808"/>
                  </a:lnTo>
                  <a:lnTo>
                    <a:pt x="2540" y="3808"/>
                  </a:lnTo>
                  <a:lnTo>
                    <a:pt x="2544" y="3804"/>
                  </a:lnTo>
                  <a:lnTo>
                    <a:pt x="2546" y="3800"/>
                  </a:lnTo>
                  <a:lnTo>
                    <a:pt x="2548" y="3794"/>
                  </a:lnTo>
                  <a:lnTo>
                    <a:pt x="2554" y="3790"/>
                  </a:lnTo>
                  <a:lnTo>
                    <a:pt x="2562" y="3784"/>
                  </a:lnTo>
                  <a:lnTo>
                    <a:pt x="2568" y="3782"/>
                  </a:lnTo>
                  <a:lnTo>
                    <a:pt x="2572" y="3782"/>
                  </a:lnTo>
                  <a:lnTo>
                    <a:pt x="2574" y="3778"/>
                  </a:lnTo>
                  <a:lnTo>
                    <a:pt x="2576" y="3780"/>
                  </a:lnTo>
                  <a:lnTo>
                    <a:pt x="2578" y="3780"/>
                  </a:lnTo>
                  <a:lnTo>
                    <a:pt x="2582" y="3780"/>
                  </a:lnTo>
                  <a:lnTo>
                    <a:pt x="2584" y="3776"/>
                  </a:lnTo>
                  <a:lnTo>
                    <a:pt x="2584" y="3774"/>
                  </a:lnTo>
                  <a:lnTo>
                    <a:pt x="2586" y="3776"/>
                  </a:lnTo>
                  <a:lnTo>
                    <a:pt x="2590" y="3778"/>
                  </a:lnTo>
                  <a:lnTo>
                    <a:pt x="2592" y="3778"/>
                  </a:lnTo>
                  <a:lnTo>
                    <a:pt x="2594" y="3774"/>
                  </a:lnTo>
                  <a:lnTo>
                    <a:pt x="2592" y="3772"/>
                  </a:lnTo>
                  <a:lnTo>
                    <a:pt x="2592" y="3768"/>
                  </a:lnTo>
                  <a:lnTo>
                    <a:pt x="2592" y="3762"/>
                  </a:lnTo>
                  <a:lnTo>
                    <a:pt x="2592" y="3760"/>
                  </a:lnTo>
                  <a:lnTo>
                    <a:pt x="2594" y="3762"/>
                  </a:lnTo>
                  <a:lnTo>
                    <a:pt x="2596" y="3766"/>
                  </a:lnTo>
                  <a:lnTo>
                    <a:pt x="2602" y="3772"/>
                  </a:lnTo>
                  <a:lnTo>
                    <a:pt x="2604" y="3774"/>
                  </a:lnTo>
                  <a:lnTo>
                    <a:pt x="2610" y="3776"/>
                  </a:lnTo>
                  <a:lnTo>
                    <a:pt x="2614" y="3776"/>
                  </a:lnTo>
                  <a:lnTo>
                    <a:pt x="2616" y="3778"/>
                  </a:lnTo>
                  <a:lnTo>
                    <a:pt x="2614" y="3782"/>
                  </a:lnTo>
                  <a:lnTo>
                    <a:pt x="2614" y="3784"/>
                  </a:lnTo>
                  <a:lnTo>
                    <a:pt x="2616" y="3786"/>
                  </a:lnTo>
                  <a:lnTo>
                    <a:pt x="2620" y="3786"/>
                  </a:lnTo>
                  <a:lnTo>
                    <a:pt x="2630" y="3784"/>
                  </a:lnTo>
                  <a:lnTo>
                    <a:pt x="2632" y="3782"/>
                  </a:lnTo>
                  <a:lnTo>
                    <a:pt x="2634" y="3778"/>
                  </a:lnTo>
                  <a:lnTo>
                    <a:pt x="2632" y="3772"/>
                  </a:lnTo>
                  <a:lnTo>
                    <a:pt x="2634" y="3772"/>
                  </a:lnTo>
                  <a:lnTo>
                    <a:pt x="2636" y="3778"/>
                  </a:lnTo>
                  <a:lnTo>
                    <a:pt x="2640" y="3782"/>
                  </a:lnTo>
                  <a:lnTo>
                    <a:pt x="2642" y="3782"/>
                  </a:lnTo>
                  <a:lnTo>
                    <a:pt x="2644" y="3782"/>
                  </a:lnTo>
                  <a:lnTo>
                    <a:pt x="2648" y="3784"/>
                  </a:lnTo>
                  <a:lnTo>
                    <a:pt x="2648" y="3786"/>
                  </a:lnTo>
                  <a:lnTo>
                    <a:pt x="2646" y="3788"/>
                  </a:lnTo>
                  <a:lnTo>
                    <a:pt x="2642" y="3794"/>
                  </a:lnTo>
                  <a:lnTo>
                    <a:pt x="2640" y="3802"/>
                  </a:lnTo>
                  <a:lnTo>
                    <a:pt x="2638" y="3810"/>
                  </a:lnTo>
                  <a:lnTo>
                    <a:pt x="2640" y="3816"/>
                  </a:lnTo>
                  <a:lnTo>
                    <a:pt x="2642" y="3818"/>
                  </a:lnTo>
                  <a:lnTo>
                    <a:pt x="2642" y="3820"/>
                  </a:lnTo>
                  <a:lnTo>
                    <a:pt x="2642" y="3824"/>
                  </a:lnTo>
                  <a:lnTo>
                    <a:pt x="2644" y="3828"/>
                  </a:lnTo>
                  <a:lnTo>
                    <a:pt x="2646" y="3832"/>
                  </a:lnTo>
                  <a:lnTo>
                    <a:pt x="2648" y="3836"/>
                  </a:lnTo>
                  <a:lnTo>
                    <a:pt x="2648" y="3840"/>
                  </a:lnTo>
                  <a:lnTo>
                    <a:pt x="2648" y="3842"/>
                  </a:lnTo>
                  <a:lnTo>
                    <a:pt x="2652" y="3844"/>
                  </a:lnTo>
                  <a:lnTo>
                    <a:pt x="2664" y="3842"/>
                  </a:lnTo>
                  <a:lnTo>
                    <a:pt x="2672" y="3838"/>
                  </a:lnTo>
                  <a:lnTo>
                    <a:pt x="2674" y="3836"/>
                  </a:lnTo>
                  <a:lnTo>
                    <a:pt x="2674" y="3834"/>
                  </a:lnTo>
                  <a:lnTo>
                    <a:pt x="2670" y="3828"/>
                  </a:lnTo>
                  <a:lnTo>
                    <a:pt x="2668" y="3820"/>
                  </a:lnTo>
                  <a:lnTo>
                    <a:pt x="2666" y="3814"/>
                  </a:lnTo>
                  <a:lnTo>
                    <a:pt x="2662" y="3812"/>
                  </a:lnTo>
                  <a:lnTo>
                    <a:pt x="2660" y="3812"/>
                  </a:lnTo>
                  <a:lnTo>
                    <a:pt x="2658" y="3810"/>
                  </a:lnTo>
                  <a:lnTo>
                    <a:pt x="2660" y="3804"/>
                  </a:lnTo>
                  <a:lnTo>
                    <a:pt x="2666" y="3800"/>
                  </a:lnTo>
                  <a:lnTo>
                    <a:pt x="2684" y="3788"/>
                  </a:lnTo>
                  <a:lnTo>
                    <a:pt x="2692" y="3784"/>
                  </a:lnTo>
                  <a:lnTo>
                    <a:pt x="2698" y="3782"/>
                  </a:lnTo>
                  <a:lnTo>
                    <a:pt x="2704" y="3784"/>
                  </a:lnTo>
                  <a:lnTo>
                    <a:pt x="2716" y="3780"/>
                  </a:lnTo>
                  <a:lnTo>
                    <a:pt x="2722" y="3778"/>
                  </a:lnTo>
                  <a:lnTo>
                    <a:pt x="2726" y="3774"/>
                  </a:lnTo>
                  <a:lnTo>
                    <a:pt x="2730" y="3768"/>
                  </a:lnTo>
                  <a:lnTo>
                    <a:pt x="2730" y="3764"/>
                  </a:lnTo>
                  <a:lnTo>
                    <a:pt x="2736" y="3766"/>
                  </a:lnTo>
                  <a:lnTo>
                    <a:pt x="2740" y="3768"/>
                  </a:lnTo>
                  <a:lnTo>
                    <a:pt x="2742" y="3772"/>
                  </a:lnTo>
                  <a:lnTo>
                    <a:pt x="2746" y="3768"/>
                  </a:lnTo>
                  <a:lnTo>
                    <a:pt x="2750" y="3764"/>
                  </a:lnTo>
                  <a:lnTo>
                    <a:pt x="2752" y="3766"/>
                  </a:lnTo>
                  <a:lnTo>
                    <a:pt x="2754" y="3768"/>
                  </a:lnTo>
                  <a:lnTo>
                    <a:pt x="2758" y="3764"/>
                  </a:lnTo>
                  <a:lnTo>
                    <a:pt x="2762" y="3760"/>
                  </a:lnTo>
                  <a:lnTo>
                    <a:pt x="2764" y="3760"/>
                  </a:lnTo>
                  <a:lnTo>
                    <a:pt x="2768" y="3760"/>
                  </a:lnTo>
                  <a:lnTo>
                    <a:pt x="2772" y="3762"/>
                  </a:lnTo>
                  <a:lnTo>
                    <a:pt x="2774" y="3760"/>
                  </a:lnTo>
                  <a:lnTo>
                    <a:pt x="2774" y="3756"/>
                  </a:lnTo>
                  <a:lnTo>
                    <a:pt x="2776" y="3750"/>
                  </a:lnTo>
                  <a:lnTo>
                    <a:pt x="2778" y="3752"/>
                  </a:lnTo>
                  <a:lnTo>
                    <a:pt x="2780" y="3754"/>
                  </a:lnTo>
                  <a:lnTo>
                    <a:pt x="2782" y="3754"/>
                  </a:lnTo>
                  <a:lnTo>
                    <a:pt x="2784" y="3752"/>
                  </a:lnTo>
                  <a:lnTo>
                    <a:pt x="2788" y="3748"/>
                  </a:lnTo>
                  <a:lnTo>
                    <a:pt x="2790" y="3748"/>
                  </a:lnTo>
                  <a:lnTo>
                    <a:pt x="2792" y="3748"/>
                  </a:lnTo>
                  <a:lnTo>
                    <a:pt x="2796" y="3744"/>
                  </a:lnTo>
                  <a:lnTo>
                    <a:pt x="2798" y="3740"/>
                  </a:lnTo>
                  <a:lnTo>
                    <a:pt x="2798" y="3736"/>
                  </a:lnTo>
                  <a:lnTo>
                    <a:pt x="2794" y="3724"/>
                  </a:lnTo>
                  <a:lnTo>
                    <a:pt x="2792" y="3714"/>
                  </a:lnTo>
                  <a:lnTo>
                    <a:pt x="2790" y="3712"/>
                  </a:lnTo>
                  <a:lnTo>
                    <a:pt x="2792" y="3708"/>
                  </a:lnTo>
                  <a:lnTo>
                    <a:pt x="2794" y="3708"/>
                  </a:lnTo>
                  <a:lnTo>
                    <a:pt x="2796" y="3710"/>
                  </a:lnTo>
                  <a:lnTo>
                    <a:pt x="2804" y="3720"/>
                  </a:lnTo>
                  <a:lnTo>
                    <a:pt x="2808" y="3726"/>
                  </a:lnTo>
                  <a:lnTo>
                    <a:pt x="2812" y="3730"/>
                  </a:lnTo>
                  <a:lnTo>
                    <a:pt x="2810" y="3734"/>
                  </a:lnTo>
                  <a:lnTo>
                    <a:pt x="2810" y="3738"/>
                  </a:lnTo>
                  <a:lnTo>
                    <a:pt x="2812" y="3738"/>
                  </a:lnTo>
                  <a:lnTo>
                    <a:pt x="2818" y="3740"/>
                  </a:lnTo>
                  <a:lnTo>
                    <a:pt x="2820" y="3742"/>
                  </a:lnTo>
                  <a:lnTo>
                    <a:pt x="2824" y="3742"/>
                  </a:lnTo>
                  <a:lnTo>
                    <a:pt x="2826" y="3740"/>
                  </a:lnTo>
                  <a:lnTo>
                    <a:pt x="2828" y="3736"/>
                  </a:lnTo>
                  <a:lnTo>
                    <a:pt x="2828" y="3734"/>
                  </a:lnTo>
                  <a:lnTo>
                    <a:pt x="2826" y="3730"/>
                  </a:lnTo>
                  <a:lnTo>
                    <a:pt x="2826" y="3726"/>
                  </a:lnTo>
                  <a:lnTo>
                    <a:pt x="2826" y="3724"/>
                  </a:lnTo>
                  <a:lnTo>
                    <a:pt x="2828" y="3724"/>
                  </a:lnTo>
                  <a:lnTo>
                    <a:pt x="2830" y="3728"/>
                  </a:lnTo>
                  <a:lnTo>
                    <a:pt x="2834" y="3730"/>
                  </a:lnTo>
                  <a:lnTo>
                    <a:pt x="2836" y="3732"/>
                  </a:lnTo>
                  <a:lnTo>
                    <a:pt x="2838" y="3730"/>
                  </a:lnTo>
                  <a:lnTo>
                    <a:pt x="2840" y="3728"/>
                  </a:lnTo>
                  <a:lnTo>
                    <a:pt x="2838" y="3724"/>
                  </a:lnTo>
                  <a:lnTo>
                    <a:pt x="2836" y="3720"/>
                  </a:lnTo>
                  <a:lnTo>
                    <a:pt x="2838" y="3718"/>
                  </a:lnTo>
                  <a:lnTo>
                    <a:pt x="2840" y="3716"/>
                  </a:lnTo>
                  <a:lnTo>
                    <a:pt x="2842" y="3716"/>
                  </a:lnTo>
                  <a:lnTo>
                    <a:pt x="2844" y="3718"/>
                  </a:lnTo>
                  <a:lnTo>
                    <a:pt x="2846" y="3724"/>
                  </a:lnTo>
                  <a:lnTo>
                    <a:pt x="2846" y="3726"/>
                  </a:lnTo>
                  <a:lnTo>
                    <a:pt x="2848" y="3728"/>
                  </a:lnTo>
                  <a:lnTo>
                    <a:pt x="2850" y="3728"/>
                  </a:lnTo>
                  <a:lnTo>
                    <a:pt x="2854" y="3724"/>
                  </a:lnTo>
                  <a:lnTo>
                    <a:pt x="2860" y="3718"/>
                  </a:lnTo>
                  <a:lnTo>
                    <a:pt x="2864" y="3716"/>
                  </a:lnTo>
                  <a:lnTo>
                    <a:pt x="2874" y="3722"/>
                  </a:lnTo>
                  <a:lnTo>
                    <a:pt x="2876" y="3722"/>
                  </a:lnTo>
                  <a:lnTo>
                    <a:pt x="2878" y="3722"/>
                  </a:lnTo>
                  <a:lnTo>
                    <a:pt x="2878" y="3718"/>
                  </a:lnTo>
                  <a:lnTo>
                    <a:pt x="2878" y="3714"/>
                  </a:lnTo>
                  <a:lnTo>
                    <a:pt x="2878" y="3712"/>
                  </a:lnTo>
                  <a:lnTo>
                    <a:pt x="2880" y="3712"/>
                  </a:lnTo>
                  <a:lnTo>
                    <a:pt x="2882" y="3712"/>
                  </a:lnTo>
                  <a:lnTo>
                    <a:pt x="2884" y="3716"/>
                  </a:lnTo>
                  <a:lnTo>
                    <a:pt x="2886" y="3718"/>
                  </a:lnTo>
                  <a:lnTo>
                    <a:pt x="2894" y="3716"/>
                  </a:lnTo>
                  <a:lnTo>
                    <a:pt x="2902" y="3712"/>
                  </a:lnTo>
                  <a:lnTo>
                    <a:pt x="2910" y="3710"/>
                  </a:lnTo>
                  <a:lnTo>
                    <a:pt x="2914" y="3706"/>
                  </a:lnTo>
                  <a:lnTo>
                    <a:pt x="2916" y="3702"/>
                  </a:lnTo>
                  <a:lnTo>
                    <a:pt x="2918" y="3698"/>
                  </a:lnTo>
                  <a:lnTo>
                    <a:pt x="2918" y="3696"/>
                  </a:lnTo>
                  <a:lnTo>
                    <a:pt x="2922" y="3694"/>
                  </a:lnTo>
                  <a:lnTo>
                    <a:pt x="2926" y="3692"/>
                  </a:lnTo>
                  <a:lnTo>
                    <a:pt x="2924" y="3690"/>
                  </a:lnTo>
                  <a:lnTo>
                    <a:pt x="2922" y="3688"/>
                  </a:lnTo>
                  <a:lnTo>
                    <a:pt x="2924" y="3686"/>
                  </a:lnTo>
                  <a:lnTo>
                    <a:pt x="2926" y="3684"/>
                  </a:lnTo>
                  <a:lnTo>
                    <a:pt x="2930" y="3678"/>
                  </a:lnTo>
                  <a:lnTo>
                    <a:pt x="2932" y="3674"/>
                  </a:lnTo>
                  <a:lnTo>
                    <a:pt x="2936" y="3674"/>
                  </a:lnTo>
                  <a:lnTo>
                    <a:pt x="2940" y="3674"/>
                  </a:lnTo>
                  <a:lnTo>
                    <a:pt x="2944" y="3672"/>
                  </a:lnTo>
                  <a:lnTo>
                    <a:pt x="2948" y="3668"/>
                  </a:lnTo>
                  <a:lnTo>
                    <a:pt x="2954" y="3662"/>
                  </a:lnTo>
                  <a:lnTo>
                    <a:pt x="2956" y="3662"/>
                  </a:lnTo>
                  <a:lnTo>
                    <a:pt x="2956" y="3664"/>
                  </a:lnTo>
                  <a:lnTo>
                    <a:pt x="2958" y="3666"/>
                  </a:lnTo>
                  <a:lnTo>
                    <a:pt x="2960" y="3662"/>
                  </a:lnTo>
                  <a:lnTo>
                    <a:pt x="2974" y="3648"/>
                  </a:lnTo>
                  <a:lnTo>
                    <a:pt x="2980" y="3642"/>
                  </a:lnTo>
                  <a:lnTo>
                    <a:pt x="2980" y="3638"/>
                  </a:lnTo>
                  <a:lnTo>
                    <a:pt x="2978" y="3636"/>
                  </a:lnTo>
                  <a:lnTo>
                    <a:pt x="2976" y="3632"/>
                  </a:lnTo>
                  <a:lnTo>
                    <a:pt x="2978" y="3626"/>
                  </a:lnTo>
                  <a:lnTo>
                    <a:pt x="2980" y="3624"/>
                  </a:lnTo>
                  <a:lnTo>
                    <a:pt x="2982" y="3624"/>
                  </a:lnTo>
                  <a:lnTo>
                    <a:pt x="2984" y="3626"/>
                  </a:lnTo>
                  <a:lnTo>
                    <a:pt x="2986" y="3628"/>
                  </a:lnTo>
                  <a:lnTo>
                    <a:pt x="2988" y="3626"/>
                  </a:lnTo>
                  <a:lnTo>
                    <a:pt x="2990" y="3626"/>
                  </a:lnTo>
                  <a:lnTo>
                    <a:pt x="2994" y="3628"/>
                  </a:lnTo>
                  <a:lnTo>
                    <a:pt x="2998" y="3630"/>
                  </a:lnTo>
                  <a:lnTo>
                    <a:pt x="3000" y="3624"/>
                  </a:lnTo>
                  <a:lnTo>
                    <a:pt x="3004" y="3616"/>
                  </a:lnTo>
                  <a:lnTo>
                    <a:pt x="3008" y="3614"/>
                  </a:lnTo>
                  <a:lnTo>
                    <a:pt x="3012" y="3610"/>
                  </a:lnTo>
                  <a:lnTo>
                    <a:pt x="3016" y="3608"/>
                  </a:lnTo>
                  <a:lnTo>
                    <a:pt x="3016" y="3606"/>
                  </a:lnTo>
                  <a:lnTo>
                    <a:pt x="3012" y="3602"/>
                  </a:lnTo>
                  <a:lnTo>
                    <a:pt x="3010" y="3598"/>
                  </a:lnTo>
                  <a:lnTo>
                    <a:pt x="3010" y="3594"/>
                  </a:lnTo>
                  <a:lnTo>
                    <a:pt x="3012" y="3590"/>
                  </a:lnTo>
                  <a:lnTo>
                    <a:pt x="3014" y="3594"/>
                  </a:lnTo>
                  <a:lnTo>
                    <a:pt x="3018" y="3596"/>
                  </a:lnTo>
                  <a:lnTo>
                    <a:pt x="3022" y="3596"/>
                  </a:lnTo>
                  <a:lnTo>
                    <a:pt x="3026" y="3594"/>
                  </a:lnTo>
                  <a:lnTo>
                    <a:pt x="3030" y="3590"/>
                  </a:lnTo>
                  <a:lnTo>
                    <a:pt x="3030" y="3588"/>
                  </a:lnTo>
                  <a:lnTo>
                    <a:pt x="3028" y="3588"/>
                  </a:lnTo>
                  <a:lnTo>
                    <a:pt x="3024" y="3588"/>
                  </a:lnTo>
                  <a:lnTo>
                    <a:pt x="3020" y="3586"/>
                  </a:lnTo>
                  <a:lnTo>
                    <a:pt x="3020" y="3582"/>
                  </a:lnTo>
                  <a:lnTo>
                    <a:pt x="3022" y="3578"/>
                  </a:lnTo>
                  <a:lnTo>
                    <a:pt x="3024" y="3576"/>
                  </a:lnTo>
                  <a:lnTo>
                    <a:pt x="3026" y="3576"/>
                  </a:lnTo>
                  <a:lnTo>
                    <a:pt x="3030" y="3578"/>
                  </a:lnTo>
                  <a:lnTo>
                    <a:pt x="3032" y="3580"/>
                  </a:lnTo>
                  <a:lnTo>
                    <a:pt x="3038" y="3586"/>
                  </a:lnTo>
                  <a:lnTo>
                    <a:pt x="3040" y="3586"/>
                  </a:lnTo>
                  <a:lnTo>
                    <a:pt x="3042" y="3582"/>
                  </a:lnTo>
                  <a:lnTo>
                    <a:pt x="3038" y="3576"/>
                  </a:lnTo>
                  <a:lnTo>
                    <a:pt x="3036" y="3572"/>
                  </a:lnTo>
                  <a:lnTo>
                    <a:pt x="3038" y="3568"/>
                  </a:lnTo>
                  <a:lnTo>
                    <a:pt x="3042" y="3558"/>
                  </a:lnTo>
                  <a:lnTo>
                    <a:pt x="3044" y="3552"/>
                  </a:lnTo>
                  <a:lnTo>
                    <a:pt x="3040" y="3552"/>
                  </a:lnTo>
                  <a:lnTo>
                    <a:pt x="3038" y="3552"/>
                  </a:lnTo>
                  <a:lnTo>
                    <a:pt x="3036" y="3550"/>
                  </a:lnTo>
                  <a:lnTo>
                    <a:pt x="3038" y="3546"/>
                  </a:lnTo>
                  <a:lnTo>
                    <a:pt x="3042" y="3540"/>
                  </a:lnTo>
                  <a:lnTo>
                    <a:pt x="3048" y="3536"/>
                  </a:lnTo>
                  <a:lnTo>
                    <a:pt x="3052" y="3534"/>
                  </a:lnTo>
                  <a:lnTo>
                    <a:pt x="3052" y="3532"/>
                  </a:lnTo>
                  <a:lnTo>
                    <a:pt x="3050" y="3532"/>
                  </a:lnTo>
                  <a:lnTo>
                    <a:pt x="3046" y="3526"/>
                  </a:lnTo>
                  <a:lnTo>
                    <a:pt x="3042" y="3522"/>
                  </a:lnTo>
                  <a:lnTo>
                    <a:pt x="3040" y="3518"/>
                  </a:lnTo>
                  <a:lnTo>
                    <a:pt x="3038" y="3518"/>
                  </a:lnTo>
                  <a:lnTo>
                    <a:pt x="3042" y="3516"/>
                  </a:lnTo>
                  <a:lnTo>
                    <a:pt x="3046" y="3514"/>
                  </a:lnTo>
                  <a:lnTo>
                    <a:pt x="3046" y="3516"/>
                  </a:lnTo>
                  <a:lnTo>
                    <a:pt x="3048" y="3520"/>
                  </a:lnTo>
                  <a:lnTo>
                    <a:pt x="3050" y="3524"/>
                  </a:lnTo>
                  <a:lnTo>
                    <a:pt x="3054" y="3524"/>
                  </a:lnTo>
                  <a:lnTo>
                    <a:pt x="3058" y="3522"/>
                  </a:lnTo>
                  <a:lnTo>
                    <a:pt x="3060" y="3520"/>
                  </a:lnTo>
                  <a:lnTo>
                    <a:pt x="3062" y="3518"/>
                  </a:lnTo>
                  <a:lnTo>
                    <a:pt x="3062" y="3512"/>
                  </a:lnTo>
                  <a:lnTo>
                    <a:pt x="3060" y="3510"/>
                  </a:lnTo>
                  <a:lnTo>
                    <a:pt x="3060" y="3508"/>
                  </a:lnTo>
                  <a:lnTo>
                    <a:pt x="3062" y="3506"/>
                  </a:lnTo>
                  <a:lnTo>
                    <a:pt x="3068" y="3502"/>
                  </a:lnTo>
                  <a:lnTo>
                    <a:pt x="3074" y="3492"/>
                  </a:lnTo>
                  <a:lnTo>
                    <a:pt x="3080" y="3482"/>
                  </a:lnTo>
                  <a:lnTo>
                    <a:pt x="3080" y="3478"/>
                  </a:lnTo>
                  <a:lnTo>
                    <a:pt x="3080" y="3474"/>
                  </a:lnTo>
                  <a:lnTo>
                    <a:pt x="3080" y="3470"/>
                  </a:lnTo>
                  <a:lnTo>
                    <a:pt x="3080" y="3468"/>
                  </a:lnTo>
                  <a:lnTo>
                    <a:pt x="3084" y="3462"/>
                  </a:lnTo>
                  <a:lnTo>
                    <a:pt x="3090" y="3454"/>
                  </a:lnTo>
                  <a:lnTo>
                    <a:pt x="3098" y="3440"/>
                  </a:lnTo>
                  <a:lnTo>
                    <a:pt x="3100" y="3436"/>
                  </a:lnTo>
                  <a:lnTo>
                    <a:pt x="3102" y="3432"/>
                  </a:lnTo>
                  <a:lnTo>
                    <a:pt x="3104" y="3434"/>
                  </a:lnTo>
                  <a:lnTo>
                    <a:pt x="3106" y="3436"/>
                  </a:lnTo>
                  <a:lnTo>
                    <a:pt x="3108" y="3440"/>
                  </a:lnTo>
                  <a:lnTo>
                    <a:pt x="3110" y="3440"/>
                  </a:lnTo>
                  <a:lnTo>
                    <a:pt x="3112" y="3440"/>
                  </a:lnTo>
                  <a:lnTo>
                    <a:pt x="3116" y="3436"/>
                  </a:lnTo>
                  <a:lnTo>
                    <a:pt x="3120" y="3434"/>
                  </a:lnTo>
                  <a:lnTo>
                    <a:pt x="3122" y="3432"/>
                  </a:lnTo>
                  <a:lnTo>
                    <a:pt x="3118" y="3424"/>
                  </a:lnTo>
                  <a:lnTo>
                    <a:pt x="3116" y="3420"/>
                  </a:lnTo>
                  <a:lnTo>
                    <a:pt x="3116" y="3416"/>
                  </a:lnTo>
                  <a:lnTo>
                    <a:pt x="3118" y="3414"/>
                  </a:lnTo>
                  <a:lnTo>
                    <a:pt x="3122" y="3412"/>
                  </a:lnTo>
                  <a:lnTo>
                    <a:pt x="3122" y="3410"/>
                  </a:lnTo>
                  <a:lnTo>
                    <a:pt x="3122" y="3408"/>
                  </a:lnTo>
                  <a:lnTo>
                    <a:pt x="3122" y="3402"/>
                  </a:lnTo>
                  <a:lnTo>
                    <a:pt x="3122" y="3400"/>
                  </a:lnTo>
                  <a:lnTo>
                    <a:pt x="3124" y="3398"/>
                  </a:lnTo>
                  <a:lnTo>
                    <a:pt x="3120" y="3392"/>
                  </a:lnTo>
                  <a:lnTo>
                    <a:pt x="3118" y="3390"/>
                  </a:lnTo>
                  <a:lnTo>
                    <a:pt x="3124" y="3390"/>
                  </a:lnTo>
                  <a:lnTo>
                    <a:pt x="3128" y="3390"/>
                  </a:lnTo>
                  <a:lnTo>
                    <a:pt x="3132" y="3388"/>
                  </a:lnTo>
                  <a:lnTo>
                    <a:pt x="3134" y="3384"/>
                  </a:lnTo>
                  <a:lnTo>
                    <a:pt x="3134" y="3376"/>
                  </a:lnTo>
                  <a:lnTo>
                    <a:pt x="3134" y="3370"/>
                  </a:lnTo>
                  <a:lnTo>
                    <a:pt x="3132" y="3366"/>
                  </a:lnTo>
                  <a:lnTo>
                    <a:pt x="3128" y="3362"/>
                  </a:lnTo>
                  <a:lnTo>
                    <a:pt x="3136" y="3356"/>
                  </a:lnTo>
                  <a:lnTo>
                    <a:pt x="3140" y="3352"/>
                  </a:lnTo>
                  <a:lnTo>
                    <a:pt x="3136" y="3350"/>
                  </a:lnTo>
                  <a:lnTo>
                    <a:pt x="3128" y="3348"/>
                  </a:lnTo>
                  <a:lnTo>
                    <a:pt x="3122" y="3344"/>
                  </a:lnTo>
                  <a:lnTo>
                    <a:pt x="3118" y="3338"/>
                  </a:lnTo>
                  <a:lnTo>
                    <a:pt x="3112" y="3332"/>
                  </a:lnTo>
                  <a:lnTo>
                    <a:pt x="3108" y="3330"/>
                  </a:lnTo>
                  <a:lnTo>
                    <a:pt x="3102" y="3330"/>
                  </a:lnTo>
                  <a:lnTo>
                    <a:pt x="3096" y="3334"/>
                  </a:lnTo>
                  <a:lnTo>
                    <a:pt x="3086" y="3338"/>
                  </a:lnTo>
                  <a:lnTo>
                    <a:pt x="3082" y="3338"/>
                  </a:lnTo>
                  <a:lnTo>
                    <a:pt x="3078" y="3334"/>
                  </a:lnTo>
                  <a:lnTo>
                    <a:pt x="3076" y="3332"/>
                  </a:lnTo>
                  <a:lnTo>
                    <a:pt x="3074" y="3330"/>
                  </a:lnTo>
                  <a:lnTo>
                    <a:pt x="3070" y="3332"/>
                  </a:lnTo>
                  <a:lnTo>
                    <a:pt x="3070" y="3328"/>
                  </a:lnTo>
                  <a:lnTo>
                    <a:pt x="3072" y="3326"/>
                  </a:lnTo>
                  <a:lnTo>
                    <a:pt x="3074" y="3324"/>
                  </a:lnTo>
                  <a:lnTo>
                    <a:pt x="3082" y="3326"/>
                  </a:lnTo>
                  <a:lnTo>
                    <a:pt x="3088" y="3326"/>
                  </a:lnTo>
                  <a:lnTo>
                    <a:pt x="3090" y="3326"/>
                  </a:lnTo>
                  <a:lnTo>
                    <a:pt x="3092" y="3324"/>
                  </a:lnTo>
                  <a:lnTo>
                    <a:pt x="3098" y="3316"/>
                  </a:lnTo>
                  <a:lnTo>
                    <a:pt x="3106" y="3310"/>
                  </a:lnTo>
                  <a:lnTo>
                    <a:pt x="3116" y="3304"/>
                  </a:lnTo>
                  <a:lnTo>
                    <a:pt x="3124" y="3302"/>
                  </a:lnTo>
                  <a:lnTo>
                    <a:pt x="3128" y="3300"/>
                  </a:lnTo>
                  <a:lnTo>
                    <a:pt x="3132" y="3298"/>
                  </a:lnTo>
                  <a:lnTo>
                    <a:pt x="3132" y="3294"/>
                  </a:lnTo>
                  <a:lnTo>
                    <a:pt x="3130" y="3290"/>
                  </a:lnTo>
                  <a:lnTo>
                    <a:pt x="3122" y="3278"/>
                  </a:lnTo>
                  <a:lnTo>
                    <a:pt x="3110" y="3268"/>
                  </a:lnTo>
                  <a:lnTo>
                    <a:pt x="3100" y="3258"/>
                  </a:lnTo>
                  <a:lnTo>
                    <a:pt x="3090" y="3254"/>
                  </a:lnTo>
                  <a:lnTo>
                    <a:pt x="3086" y="3252"/>
                  </a:lnTo>
                  <a:lnTo>
                    <a:pt x="3086" y="3250"/>
                  </a:lnTo>
                  <a:lnTo>
                    <a:pt x="3086" y="3248"/>
                  </a:lnTo>
                  <a:lnTo>
                    <a:pt x="3086" y="3246"/>
                  </a:lnTo>
                  <a:lnTo>
                    <a:pt x="3086" y="3244"/>
                  </a:lnTo>
                  <a:lnTo>
                    <a:pt x="3082" y="3242"/>
                  </a:lnTo>
                  <a:lnTo>
                    <a:pt x="3078" y="3240"/>
                  </a:lnTo>
                  <a:lnTo>
                    <a:pt x="3074" y="3242"/>
                  </a:lnTo>
                  <a:lnTo>
                    <a:pt x="3068" y="3246"/>
                  </a:lnTo>
                  <a:lnTo>
                    <a:pt x="3062" y="3246"/>
                  </a:lnTo>
                  <a:lnTo>
                    <a:pt x="3056" y="3244"/>
                  </a:lnTo>
                  <a:lnTo>
                    <a:pt x="3050" y="3242"/>
                  </a:lnTo>
                  <a:lnTo>
                    <a:pt x="3046" y="3236"/>
                  </a:lnTo>
                  <a:lnTo>
                    <a:pt x="3044" y="3232"/>
                  </a:lnTo>
                  <a:lnTo>
                    <a:pt x="3042" y="3228"/>
                  </a:lnTo>
                  <a:lnTo>
                    <a:pt x="3044" y="3224"/>
                  </a:lnTo>
                  <a:lnTo>
                    <a:pt x="3046" y="3224"/>
                  </a:lnTo>
                  <a:lnTo>
                    <a:pt x="3048" y="3224"/>
                  </a:lnTo>
                  <a:lnTo>
                    <a:pt x="3052" y="3230"/>
                  </a:lnTo>
                  <a:lnTo>
                    <a:pt x="3056" y="3238"/>
                  </a:lnTo>
                  <a:lnTo>
                    <a:pt x="3060" y="3242"/>
                  </a:lnTo>
                  <a:lnTo>
                    <a:pt x="3062" y="3244"/>
                  </a:lnTo>
                  <a:lnTo>
                    <a:pt x="3066" y="3242"/>
                  </a:lnTo>
                  <a:lnTo>
                    <a:pt x="3072" y="3240"/>
                  </a:lnTo>
                  <a:lnTo>
                    <a:pt x="3078" y="3236"/>
                  </a:lnTo>
                  <a:lnTo>
                    <a:pt x="3080" y="3236"/>
                  </a:lnTo>
                  <a:lnTo>
                    <a:pt x="3084" y="3236"/>
                  </a:lnTo>
                  <a:lnTo>
                    <a:pt x="3088" y="3240"/>
                  </a:lnTo>
                  <a:lnTo>
                    <a:pt x="3090" y="3242"/>
                  </a:lnTo>
                  <a:lnTo>
                    <a:pt x="3092" y="3246"/>
                  </a:lnTo>
                  <a:lnTo>
                    <a:pt x="3094" y="3248"/>
                  </a:lnTo>
                  <a:lnTo>
                    <a:pt x="3098" y="3248"/>
                  </a:lnTo>
                  <a:lnTo>
                    <a:pt x="3104" y="3248"/>
                  </a:lnTo>
                  <a:lnTo>
                    <a:pt x="3110" y="3250"/>
                  </a:lnTo>
                  <a:lnTo>
                    <a:pt x="3122" y="3256"/>
                  </a:lnTo>
                  <a:lnTo>
                    <a:pt x="3128" y="3258"/>
                  </a:lnTo>
                  <a:lnTo>
                    <a:pt x="3130" y="3258"/>
                  </a:lnTo>
                  <a:lnTo>
                    <a:pt x="3132" y="3256"/>
                  </a:lnTo>
                  <a:lnTo>
                    <a:pt x="3132" y="3254"/>
                  </a:lnTo>
                  <a:lnTo>
                    <a:pt x="3128" y="3244"/>
                  </a:lnTo>
                  <a:lnTo>
                    <a:pt x="3120" y="3236"/>
                  </a:lnTo>
                  <a:lnTo>
                    <a:pt x="3114" y="3230"/>
                  </a:lnTo>
                  <a:lnTo>
                    <a:pt x="3112" y="3226"/>
                  </a:lnTo>
                  <a:lnTo>
                    <a:pt x="3108" y="3220"/>
                  </a:lnTo>
                  <a:lnTo>
                    <a:pt x="3100" y="3212"/>
                  </a:lnTo>
                  <a:lnTo>
                    <a:pt x="3092" y="3206"/>
                  </a:lnTo>
                  <a:lnTo>
                    <a:pt x="3090" y="3200"/>
                  </a:lnTo>
                  <a:lnTo>
                    <a:pt x="3090" y="3192"/>
                  </a:lnTo>
                  <a:lnTo>
                    <a:pt x="3088" y="3186"/>
                  </a:lnTo>
                  <a:lnTo>
                    <a:pt x="3086" y="3178"/>
                  </a:lnTo>
                  <a:lnTo>
                    <a:pt x="3082" y="3168"/>
                  </a:lnTo>
                  <a:lnTo>
                    <a:pt x="3078" y="3158"/>
                  </a:lnTo>
                  <a:lnTo>
                    <a:pt x="3072" y="3138"/>
                  </a:lnTo>
                  <a:lnTo>
                    <a:pt x="3070" y="3130"/>
                  </a:lnTo>
                  <a:lnTo>
                    <a:pt x="3066" y="3122"/>
                  </a:lnTo>
                  <a:lnTo>
                    <a:pt x="3060" y="3116"/>
                  </a:lnTo>
                  <a:lnTo>
                    <a:pt x="3052" y="3112"/>
                  </a:lnTo>
                  <a:lnTo>
                    <a:pt x="3044" y="3108"/>
                  </a:lnTo>
                  <a:lnTo>
                    <a:pt x="3040" y="3104"/>
                  </a:lnTo>
                  <a:lnTo>
                    <a:pt x="3036" y="3098"/>
                  </a:lnTo>
                  <a:lnTo>
                    <a:pt x="3034" y="3094"/>
                  </a:lnTo>
                  <a:lnTo>
                    <a:pt x="3032" y="3094"/>
                  </a:lnTo>
                  <a:lnTo>
                    <a:pt x="3026" y="3096"/>
                  </a:lnTo>
                  <a:lnTo>
                    <a:pt x="3022" y="3096"/>
                  </a:lnTo>
                  <a:lnTo>
                    <a:pt x="3022" y="3092"/>
                  </a:lnTo>
                  <a:lnTo>
                    <a:pt x="3024" y="3084"/>
                  </a:lnTo>
                  <a:lnTo>
                    <a:pt x="3026" y="3076"/>
                  </a:lnTo>
                  <a:lnTo>
                    <a:pt x="3038" y="3058"/>
                  </a:lnTo>
                  <a:lnTo>
                    <a:pt x="3044" y="3052"/>
                  </a:lnTo>
                  <a:lnTo>
                    <a:pt x="3048" y="3048"/>
                  </a:lnTo>
                  <a:lnTo>
                    <a:pt x="3054" y="3044"/>
                  </a:lnTo>
                  <a:lnTo>
                    <a:pt x="3056" y="3042"/>
                  </a:lnTo>
                  <a:lnTo>
                    <a:pt x="3058" y="3038"/>
                  </a:lnTo>
                  <a:lnTo>
                    <a:pt x="3062" y="3034"/>
                  </a:lnTo>
                  <a:lnTo>
                    <a:pt x="3064" y="3032"/>
                  </a:lnTo>
                  <a:lnTo>
                    <a:pt x="3064" y="3028"/>
                  </a:lnTo>
                  <a:lnTo>
                    <a:pt x="3062" y="3024"/>
                  </a:lnTo>
                  <a:lnTo>
                    <a:pt x="3060" y="3020"/>
                  </a:lnTo>
                  <a:lnTo>
                    <a:pt x="3060" y="3018"/>
                  </a:lnTo>
                  <a:lnTo>
                    <a:pt x="3062" y="3018"/>
                  </a:lnTo>
                  <a:lnTo>
                    <a:pt x="3064" y="3016"/>
                  </a:lnTo>
                  <a:lnTo>
                    <a:pt x="3066" y="3016"/>
                  </a:lnTo>
                  <a:lnTo>
                    <a:pt x="3066" y="3020"/>
                  </a:lnTo>
                  <a:lnTo>
                    <a:pt x="3068" y="3022"/>
                  </a:lnTo>
                  <a:lnTo>
                    <a:pt x="3070" y="3024"/>
                  </a:lnTo>
                  <a:lnTo>
                    <a:pt x="3072" y="3024"/>
                  </a:lnTo>
                  <a:lnTo>
                    <a:pt x="3076" y="3022"/>
                  </a:lnTo>
                  <a:lnTo>
                    <a:pt x="3080" y="3020"/>
                  </a:lnTo>
                  <a:lnTo>
                    <a:pt x="3082" y="3018"/>
                  </a:lnTo>
                  <a:lnTo>
                    <a:pt x="3084" y="3012"/>
                  </a:lnTo>
                  <a:lnTo>
                    <a:pt x="3086" y="3008"/>
                  </a:lnTo>
                  <a:lnTo>
                    <a:pt x="3088" y="3006"/>
                  </a:lnTo>
                  <a:lnTo>
                    <a:pt x="3090" y="3008"/>
                  </a:lnTo>
                  <a:lnTo>
                    <a:pt x="3092" y="3008"/>
                  </a:lnTo>
                  <a:lnTo>
                    <a:pt x="3094" y="3006"/>
                  </a:lnTo>
                  <a:lnTo>
                    <a:pt x="3096" y="3002"/>
                  </a:lnTo>
                  <a:lnTo>
                    <a:pt x="3100" y="2996"/>
                  </a:lnTo>
                  <a:lnTo>
                    <a:pt x="3106" y="2990"/>
                  </a:lnTo>
                  <a:lnTo>
                    <a:pt x="3114" y="2988"/>
                  </a:lnTo>
                  <a:lnTo>
                    <a:pt x="3118" y="2988"/>
                  </a:lnTo>
                  <a:lnTo>
                    <a:pt x="3122" y="2986"/>
                  </a:lnTo>
                  <a:lnTo>
                    <a:pt x="3128" y="2982"/>
                  </a:lnTo>
                  <a:lnTo>
                    <a:pt x="3134" y="2976"/>
                  </a:lnTo>
                  <a:lnTo>
                    <a:pt x="3136" y="2976"/>
                  </a:lnTo>
                  <a:lnTo>
                    <a:pt x="3138" y="2978"/>
                  </a:lnTo>
                  <a:lnTo>
                    <a:pt x="3140" y="2978"/>
                  </a:lnTo>
                  <a:lnTo>
                    <a:pt x="3142" y="2976"/>
                  </a:lnTo>
                  <a:lnTo>
                    <a:pt x="3142" y="2978"/>
                  </a:lnTo>
                  <a:lnTo>
                    <a:pt x="3144" y="2980"/>
                  </a:lnTo>
                  <a:lnTo>
                    <a:pt x="3144" y="2982"/>
                  </a:lnTo>
                  <a:lnTo>
                    <a:pt x="3148" y="2984"/>
                  </a:lnTo>
                  <a:lnTo>
                    <a:pt x="3152" y="2982"/>
                  </a:lnTo>
                  <a:lnTo>
                    <a:pt x="3156" y="2980"/>
                  </a:lnTo>
                  <a:lnTo>
                    <a:pt x="3158" y="2978"/>
                  </a:lnTo>
                  <a:lnTo>
                    <a:pt x="3156" y="2974"/>
                  </a:lnTo>
                  <a:lnTo>
                    <a:pt x="3156" y="2972"/>
                  </a:lnTo>
                  <a:lnTo>
                    <a:pt x="3156" y="2970"/>
                  </a:lnTo>
                  <a:lnTo>
                    <a:pt x="3158" y="2966"/>
                  </a:lnTo>
                  <a:lnTo>
                    <a:pt x="3162" y="2960"/>
                  </a:lnTo>
                  <a:lnTo>
                    <a:pt x="3164" y="2958"/>
                  </a:lnTo>
                  <a:lnTo>
                    <a:pt x="3164" y="2956"/>
                  </a:lnTo>
                  <a:lnTo>
                    <a:pt x="3158" y="2952"/>
                  </a:lnTo>
                  <a:lnTo>
                    <a:pt x="3150" y="2950"/>
                  </a:lnTo>
                  <a:lnTo>
                    <a:pt x="3144" y="2946"/>
                  </a:lnTo>
                  <a:lnTo>
                    <a:pt x="3140" y="2942"/>
                  </a:lnTo>
                  <a:lnTo>
                    <a:pt x="3138" y="2944"/>
                  </a:lnTo>
                  <a:lnTo>
                    <a:pt x="3134" y="2948"/>
                  </a:lnTo>
                  <a:lnTo>
                    <a:pt x="3132" y="2948"/>
                  </a:lnTo>
                  <a:lnTo>
                    <a:pt x="3126" y="2950"/>
                  </a:lnTo>
                  <a:lnTo>
                    <a:pt x="3116" y="2948"/>
                  </a:lnTo>
                  <a:lnTo>
                    <a:pt x="3114" y="2944"/>
                  </a:lnTo>
                  <a:lnTo>
                    <a:pt x="3112" y="2942"/>
                  </a:lnTo>
                  <a:lnTo>
                    <a:pt x="3108" y="2942"/>
                  </a:lnTo>
                  <a:lnTo>
                    <a:pt x="3102" y="2942"/>
                  </a:lnTo>
                  <a:lnTo>
                    <a:pt x="3100" y="2938"/>
                  </a:lnTo>
                  <a:lnTo>
                    <a:pt x="3096" y="2934"/>
                  </a:lnTo>
                  <a:lnTo>
                    <a:pt x="3094" y="2930"/>
                  </a:lnTo>
                  <a:lnTo>
                    <a:pt x="3090" y="2930"/>
                  </a:lnTo>
                  <a:lnTo>
                    <a:pt x="3080" y="2930"/>
                  </a:lnTo>
                  <a:lnTo>
                    <a:pt x="3072" y="2934"/>
                  </a:lnTo>
                  <a:lnTo>
                    <a:pt x="3066" y="2940"/>
                  </a:lnTo>
                  <a:lnTo>
                    <a:pt x="3062" y="2946"/>
                  </a:lnTo>
                  <a:lnTo>
                    <a:pt x="3056" y="2950"/>
                  </a:lnTo>
                  <a:lnTo>
                    <a:pt x="3052" y="2952"/>
                  </a:lnTo>
                  <a:lnTo>
                    <a:pt x="3050" y="2954"/>
                  </a:lnTo>
                  <a:lnTo>
                    <a:pt x="3050" y="2958"/>
                  </a:lnTo>
                  <a:lnTo>
                    <a:pt x="3052" y="2962"/>
                  </a:lnTo>
                  <a:lnTo>
                    <a:pt x="3050" y="2964"/>
                  </a:lnTo>
                  <a:lnTo>
                    <a:pt x="3044" y="2966"/>
                  </a:lnTo>
                  <a:lnTo>
                    <a:pt x="3032" y="2968"/>
                  </a:lnTo>
                  <a:lnTo>
                    <a:pt x="3026" y="2968"/>
                  </a:lnTo>
                  <a:lnTo>
                    <a:pt x="3020" y="2964"/>
                  </a:lnTo>
                  <a:lnTo>
                    <a:pt x="3018" y="2960"/>
                  </a:lnTo>
                  <a:lnTo>
                    <a:pt x="3014" y="2956"/>
                  </a:lnTo>
                  <a:lnTo>
                    <a:pt x="3014" y="2946"/>
                  </a:lnTo>
                  <a:lnTo>
                    <a:pt x="3014" y="2940"/>
                  </a:lnTo>
                  <a:lnTo>
                    <a:pt x="3016" y="2938"/>
                  </a:lnTo>
                  <a:lnTo>
                    <a:pt x="3018" y="2934"/>
                  </a:lnTo>
                  <a:lnTo>
                    <a:pt x="3018" y="2930"/>
                  </a:lnTo>
                  <a:lnTo>
                    <a:pt x="3014" y="2922"/>
                  </a:lnTo>
                  <a:lnTo>
                    <a:pt x="3008" y="2914"/>
                  </a:lnTo>
                  <a:lnTo>
                    <a:pt x="3004" y="2912"/>
                  </a:lnTo>
                  <a:lnTo>
                    <a:pt x="3002" y="2912"/>
                  </a:lnTo>
                  <a:lnTo>
                    <a:pt x="2996" y="2914"/>
                  </a:lnTo>
                  <a:lnTo>
                    <a:pt x="2988" y="2914"/>
                  </a:lnTo>
                  <a:lnTo>
                    <a:pt x="2980" y="2914"/>
                  </a:lnTo>
                  <a:lnTo>
                    <a:pt x="2976" y="2912"/>
                  </a:lnTo>
                  <a:lnTo>
                    <a:pt x="2974" y="2910"/>
                  </a:lnTo>
                  <a:lnTo>
                    <a:pt x="2970" y="2906"/>
                  </a:lnTo>
                  <a:lnTo>
                    <a:pt x="2966" y="2904"/>
                  </a:lnTo>
                  <a:lnTo>
                    <a:pt x="2962" y="2900"/>
                  </a:lnTo>
                  <a:lnTo>
                    <a:pt x="2958" y="2890"/>
                  </a:lnTo>
                  <a:lnTo>
                    <a:pt x="2958" y="2880"/>
                  </a:lnTo>
                  <a:lnTo>
                    <a:pt x="2960" y="2872"/>
                  </a:lnTo>
                  <a:lnTo>
                    <a:pt x="2962" y="2868"/>
                  </a:lnTo>
                  <a:lnTo>
                    <a:pt x="2964" y="2862"/>
                  </a:lnTo>
                  <a:lnTo>
                    <a:pt x="2966" y="2856"/>
                  </a:lnTo>
                  <a:lnTo>
                    <a:pt x="2970" y="2854"/>
                  </a:lnTo>
                  <a:lnTo>
                    <a:pt x="2976" y="2854"/>
                  </a:lnTo>
                  <a:lnTo>
                    <a:pt x="2982" y="2860"/>
                  </a:lnTo>
                  <a:lnTo>
                    <a:pt x="2986" y="2864"/>
                  </a:lnTo>
                  <a:lnTo>
                    <a:pt x="2988" y="2864"/>
                  </a:lnTo>
                  <a:lnTo>
                    <a:pt x="2992" y="2862"/>
                  </a:lnTo>
                  <a:lnTo>
                    <a:pt x="2996" y="2856"/>
                  </a:lnTo>
                  <a:lnTo>
                    <a:pt x="3000" y="2856"/>
                  </a:lnTo>
                  <a:lnTo>
                    <a:pt x="3002" y="2856"/>
                  </a:lnTo>
                  <a:lnTo>
                    <a:pt x="3010" y="2856"/>
                  </a:lnTo>
                  <a:lnTo>
                    <a:pt x="3018" y="2854"/>
                  </a:lnTo>
                  <a:lnTo>
                    <a:pt x="3024" y="2846"/>
                  </a:lnTo>
                  <a:lnTo>
                    <a:pt x="3026" y="2836"/>
                  </a:lnTo>
                  <a:lnTo>
                    <a:pt x="3026" y="2830"/>
                  </a:lnTo>
                  <a:lnTo>
                    <a:pt x="3032" y="2824"/>
                  </a:lnTo>
                  <a:lnTo>
                    <a:pt x="3044" y="2814"/>
                  </a:lnTo>
                  <a:lnTo>
                    <a:pt x="3058" y="2806"/>
                  </a:lnTo>
                  <a:lnTo>
                    <a:pt x="3070" y="2802"/>
                  </a:lnTo>
                  <a:lnTo>
                    <a:pt x="3076" y="2798"/>
                  </a:lnTo>
                  <a:lnTo>
                    <a:pt x="3078" y="2794"/>
                  </a:lnTo>
                  <a:lnTo>
                    <a:pt x="3080" y="2786"/>
                  </a:lnTo>
                  <a:lnTo>
                    <a:pt x="3088" y="2778"/>
                  </a:lnTo>
                  <a:lnTo>
                    <a:pt x="3094" y="2770"/>
                  </a:lnTo>
                  <a:lnTo>
                    <a:pt x="3094" y="2768"/>
                  </a:lnTo>
                  <a:lnTo>
                    <a:pt x="3096" y="2766"/>
                  </a:lnTo>
                  <a:lnTo>
                    <a:pt x="3100" y="2762"/>
                  </a:lnTo>
                  <a:lnTo>
                    <a:pt x="3104" y="2760"/>
                  </a:lnTo>
                  <a:lnTo>
                    <a:pt x="3108" y="2760"/>
                  </a:lnTo>
                  <a:lnTo>
                    <a:pt x="3114" y="2760"/>
                  </a:lnTo>
                  <a:lnTo>
                    <a:pt x="3120" y="2762"/>
                  </a:lnTo>
                  <a:lnTo>
                    <a:pt x="3122" y="2762"/>
                  </a:lnTo>
                  <a:lnTo>
                    <a:pt x="3124" y="2762"/>
                  </a:lnTo>
                  <a:lnTo>
                    <a:pt x="3128" y="2760"/>
                  </a:lnTo>
                  <a:lnTo>
                    <a:pt x="3130" y="2760"/>
                  </a:lnTo>
                  <a:lnTo>
                    <a:pt x="3132" y="2764"/>
                  </a:lnTo>
                  <a:lnTo>
                    <a:pt x="3138" y="2770"/>
                  </a:lnTo>
                  <a:lnTo>
                    <a:pt x="3144" y="2778"/>
                  </a:lnTo>
                  <a:lnTo>
                    <a:pt x="3146" y="2782"/>
                  </a:lnTo>
                  <a:lnTo>
                    <a:pt x="3144" y="2790"/>
                  </a:lnTo>
                  <a:lnTo>
                    <a:pt x="3138" y="2800"/>
                  </a:lnTo>
                  <a:lnTo>
                    <a:pt x="3132" y="2806"/>
                  </a:lnTo>
                  <a:lnTo>
                    <a:pt x="3128" y="2810"/>
                  </a:lnTo>
                  <a:lnTo>
                    <a:pt x="3120" y="2816"/>
                  </a:lnTo>
                  <a:lnTo>
                    <a:pt x="3114" y="2820"/>
                  </a:lnTo>
                  <a:lnTo>
                    <a:pt x="3114" y="2822"/>
                  </a:lnTo>
                  <a:lnTo>
                    <a:pt x="3114" y="2824"/>
                  </a:lnTo>
                  <a:lnTo>
                    <a:pt x="3116" y="2826"/>
                  </a:lnTo>
                  <a:lnTo>
                    <a:pt x="3114" y="2828"/>
                  </a:lnTo>
                  <a:lnTo>
                    <a:pt x="3110" y="2832"/>
                  </a:lnTo>
                  <a:lnTo>
                    <a:pt x="3104" y="2834"/>
                  </a:lnTo>
                  <a:lnTo>
                    <a:pt x="3104" y="2836"/>
                  </a:lnTo>
                  <a:lnTo>
                    <a:pt x="3106" y="2836"/>
                  </a:lnTo>
                  <a:lnTo>
                    <a:pt x="3110" y="2840"/>
                  </a:lnTo>
                  <a:lnTo>
                    <a:pt x="3116" y="2844"/>
                  </a:lnTo>
                  <a:lnTo>
                    <a:pt x="3120" y="2850"/>
                  </a:lnTo>
                  <a:lnTo>
                    <a:pt x="3122" y="2854"/>
                  </a:lnTo>
                  <a:lnTo>
                    <a:pt x="3122" y="2858"/>
                  </a:lnTo>
                  <a:lnTo>
                    <a:pt x="3120" y="2862"/>
                  </a:lnTo>
                  <a:lnTo>
                    <a:pt x="3118" y="2864"/>
                  </a:lnTo>
                  <a:lnTo>
                    <a:pt x="3116" y="2862"/>
                  </a:lnTo>
                  <a:lnTo>
                    <a:pt x="3112" y="2860"/>
                  </a:lnTo>
                  <a:lnTo>
                    <a:pt x="3110" y="2862"/>
                  </a:lnTo>
                  <a:lnTo>
                    <a:pt x="3108" y="2864"/>
                  </a:lnTo>
                  <a:lnTo>
                    <a:pt x="3106" y="2868"/>
                  </a:lnTo>
                  <a:lnTo>
                    <a:pt x="3102" y="2868"/>
                  </a:lnTo>
                  <a:lnTo>
                    <a:pt x="3100" y="2876"/>
                  </a:lnTo>
                  <a:lnTo>
                    <a:pt x="3100" y="2880"/>
                  </a:lnTo>
                  <a:lnTo>
                    <a:pt x="3102" y="2882"/>
                  </a:lnTo>
                  <a:lnTo>
                    <a:pt x="3104" y="2882"/>
                  </a:lnTo>
                  <a:lnTo>
                    <a:pt x="3106" y="2880"/>
                  </a:lnTo>
                  <a:lnTo>
                    <a:pt x="3112" y="2878"/>
                  </a:lnTo>
                  <a:lnTo>
                    <a:pt x="3120" y="2874"/>
                  </a:lnTo>
                  <a:lnTo>
                    <a:pt x="3124" y="2874"/>
                  </a:lnTo>
                  <a:lnTo>
                    <a:pt x="3124" y="2872"/>
                  </a:lnTo>
                  <a:lnTo>
                    <a:pt x="3124" y="2868"/>
                  </a:lnTo>
                  <a:lnTo>
                    <a:pt x="3124" y="2866"/>
                  </a:lnTo>
                  <a:lnTo>
                    <a:pt x="3128" y="2866"/>
                  </a:lnTo>
                  <a:lnTo>
                    <a:pt x="3132" y="2866"/>
                  </a:lnTo>
                  <a:lnTo>
                    <a:pt x="3136" y="2864"/>
                  </a:lnTo>
                  <a:lnTo>
                    <a:pt x="3142" y="2856"/>
                  </a:lnTo>
                  <a:lnTo>
                    <a:pt x="3148" y="2848"/>
                  </a:lnTo>
                  <a:lnTo>
                    <a:pt x="3152" y="2844"/>
                  </a:lnTo>
                  <a:lnTo>
                    <a:pt x="3156" y="2840"/>
                  </a:lnTo>
                  <a:lnTo>
                    <a:pt x="3162" y="2836"/>
                  </a:lnTo>
                  <a:lnTo>
                    <a:pt x="3164" y="2834"/>
                  </a:lnTo>
                  <a:lnTo>
                    <a:pt x="3168" y="2832"/>
                  </a:lnTo>
                  <a:lnTo>
                    <a:pt x="3176" y="2830"/>
                  </a:lnTo>
                  <a:lnTo>
                    <a:pt x="3182" y="2830"/>
                  </a:lnTo>
                  <a:lnTo>
                    <a:pt x="3186" y="2828"/>
                  </a:lnTo>
                  <a:lnTo>
                    <a:pt x="3188" y="2826"/>
                  </a:lnTo>
                  <a:lnTo>
                    <a:pt x="3190" y="2822"/>
                  </a:lnTo>
                  <a:lnTo>
                    <a:pt x="3194" y="2822"/>
                  </a:lnTo>
                  <a:lnTo>
                    <a:pt x="3196" y="2824"/>
                  </a:lnTo>
                  <a:lnTo>
                    <a:pt x="3200" y="2822"/>
                  </a:lnTo>
                  <a:lnTo>
                    <a:pt x="3202" y="2820"/>
                  </a:lnTo>
                  <a:lnTo>
                    <a:pt x="3206" y="2820"/>
                  </a:lnTo>
                  <a:lnTo>
                    <a:pt x="3212" y="2820"/>
                  </a:lnTo>
                  <a:lnTo>
                    <a:pt x="3220" y="2818"/>
                  </a:lnTo>
                  <a:lnTo>
                    <a:pt x="3226" y="2816"/>
                  </a:lnTo>
                  <a:lnTo>
                    <a:pt x="3230" y="2812"/>
                  </a:lnTo>
                  <a:lnTo>
                    <a:pt x="3232" y="2808"/>
                  </a:lnTo>
                  <a:lnTo>
                    <a:pt x="3230" y="2812"/>
                  </a:lnTo>
                  <a:lnTo>
                    <a:pt x="3232" y="2818"/>
                  </a:lnTo>
                  <a:lnTo>
                    <a:pt x="3236" y="2824"/>
                  </a:lnTo>
                  <a:lnTo>
                    <a:pt x="3242" y="2828"/>
                  </a:lnTo>
                  <a:lnTo>
                    <a:pt x="3244" y="2830"/>
                  </a:lnTo>
                  <a:lnTo>
                    <a:pt x="3246" y="2828"/>
                  </a:lnTo>
                  <a:lnTo>
                    <a:pt x="3250" y="2828"/>
                  </a:lnTo>
                  <a:lnTo>
                    <a:pt x="3254" y="2828"/>
                  </a:lnTo>
                  <a:lnTo>
                    <a:pt x="3264" y="2832"/>
                  </a:lnTo>
                  <a:lnTo>
                    <a:pt x="3268" y="2836"/>
                  </a:lnTo>
                  <a:lnTo>
                    <a:pt x="3272" y="2840"/>
                  </a:lnTo>
                  <a:lnTo>
                    <a:pt x="3274" y="2846"/>
                  </a:lnTo>
                  <a:lnTo>
                    <a:pt x="3272" y="2850"/>
                  </a:lnTo>
                  <a:lnTo>
                    <a:pt x="3264" y="2868"/>
                  </a:lnTo>
                  <a:lnTo>
                    <a:pt x="3262" y="2876"/>
                  </a:lnTo>
                  <a:lnTo>
                    <a:pt x="3262" y="2878"/>
                  </a:lnTo>
                  <a:lnTo>
                    <a:pt x="3264" y="2880"/>
                  </a:lnTo>
                  <a:lnTo>
                    <a:pt x="3266" y="2884"/>
                  </a:lnTo>
                  <a:lnTo>
                    <a:pt x="3262" y="2886"/>
                  </a:lnTo>
                  <a:lnTo>
                    <a:pt x="3258" y="2892"/>
                  </a:lnTo>
                  <a:lnTo>
                    <a:pt x="3254" y="2900"/>
                  </a:lnTo>
                  <a:lnTo>
                    <a:pt x="3250" y="2906"/>
                  </a:lnTo>
                  <a:lnTo>
                    <a:pt x="3248" y="2910"/>
                  </a:lnTo>
                  <a:lnTo>
                    <a:pt x="3244" y="2914"/>
                  </a:lnTo>
                  <a:lnTo>
                    <a:pt x="3242" y="2914"/>
                  </a:lnTo>
                  <a:lnTo>
                    <a:pt x="3252" y="2916"/>
                  </a:lnTo>
                  <a:lnTo>
                    <a:pt x="3258" y="2918"/>
                  </a:lnTo>
                  <a:lnTo>
                    <a:pt x="3260" y="2918"/>
                  </a:lnTo>
                  <a:lnTo>
                    <a:pt x="3258" y="2920"/>
                  </a:lnTo>
                  <a:lnTo>
                    <a:pt x="3258" y="2922"/>
                  </a:lnTo>
                  <a:lnTo>
                    <a:pt x="3254" y="2924"/>
                  </a:lnTo>
                  <a:lnTo>
                    <a:pt x="3256" y="2926"/>
                  </a:lnTo>
                  <a:lnTo>
                    <a:pt x="3262" y="2928"/>
                  </a:lnTo>
                  <a:lnTo>
                    <a:pt x="3268" y="2928"/>
                  </a:lnTo>
                  <a:lnTo>
                    <a:pt x="3270" y="2930"/>
                  </a:lnTo>
                  <a:lnTo>
                    <a:pt x="3270" y="2932"/>
                  </a:lnTo>
                  <a:lnTo>
                    <a:pt x="3270" y="2934"/>
                  </a:lnTo>
                  <a:lnTo>
                    <a:pt x="3270" y="2938"/>
                  </a:lnTo>
                  <a:lnTo>
                    <a:pt x="3274" y="2936"/>
                  </a:lnTo>
                  <a:lnTo>
                    <a:pt x="3278" y="2934"/>
                  </a:lnTo>
                  <a:lnTo>
                    <a:pt x="3280" y="2930"/>
                  </a:lnTo>
                  <a:lnTo>
                    <a:pt x="3282" y="2924"/>
                  </a:lnTo>
                  <a:lnTo>
                    <a:pt x="3284" y="2922"/>
                  </a:lnTo>
                  <a:lnTo>
                    <a:pt x="3292" y="2926"/>
                  </a:lnTo>
                  <a:lnTo>
                    <a:pt x="3300" y="2934"/>
                  </a:lnTo>
                  <a:lnTo>
                    <a:pt x="3302" y="2934"/>
                  </a:lnTo>
                  <a:lnTo>
                    <a:pt x="3304" y="2930"/>
                  </a:lnTo>
                  <a:lnTo>
                    <a:pt x="3304" y="2928"/>
                  </a:lnTo>
                  <a:lnTo>
                    <a:pt x="3306" y="2926"/>
                  </a:lnTo>
                  <a:lnTo>
                    <a:pt x="3312" y="2928"/>
                  </a:lnTo>
                  <a:lnTo>
                    <a:pt x="3318" y="2930"/>
                  </a:lnTo>
                  <a:lnTo>
                    <a:pt x="3324" y="2930"/>
                  </a:lnTo>
                  <a:lnTo>
                    <a:pt x="3324" y="2934"/>
                  </a:lnTo>
                  <a:lnTo>
                    <a:pt x="3322" y="2934"/>
                  </a:lnTo>
                  <a:lnTo>
                    <a:pt x="3320" y="2938"/>
                  </a:lnTo>
                  <a:lnTo>
                    <a:pt x="3320" y="2942"/>
                  </a:lnTo>
                  <a:lnTo>
                    <a:pt x="3324" y="2948"/>
                  </a:lnTo>
                  <a:lnTo>
                    <a:pt x="3326" y="2954"/>
                  </a:lnTo>
                  <a:lnTo>
                    <a:pt x="3326" y="2958"/>
                  </a:lnTo>
                  <a:lnTo>
                    <a:pt x="3324" y="2960"/>
                  </a:lnTo>
                  <a:lnTo>
                    <a:pt x="3324" y="2962"/>
                  </a:lnTo>
                  <a:lnTo>
                    <a:pt x="3324" y="2966"/>
                  </a:lnTo>
                  <a:lnTo>
                    <a:pt x="3328" y="2970"/>
                  </a:lnTo>
                  <a:lnTo>
                    <a:pt x="3332" y="2974"/>
                  </a:lnTo>
                  <a:lnTo>
                    <a:pt x="3334" y="2976"/>
                  </a:lnTo>
                  <a:lnTo>
                    <a:pt x="3334" y="2980"/>
                  </a:lnTo>
                  <a:lnTo>
                    <a:pt x="3332" y="2982"/>
                  </a:lnTo>
                  <a:lnTo>
                    <a:pt x="3330" y="2980"/>
                  </a:lnTo>
                  <a:lnTo>
                    <a:pt x="3328" y="2976"/>
                  </a:lnTo>
                  <a:lnTo>
                    <a:pt x="3326" y="2974"/>
                  </a:lnTo>
                  <a:lnTo>
                    <a:pt x="3322" y="2974"/>
                  </a:lnTo>
                  <a:lnTo>
                    <a:pt x="3312" y="2974"/>
                  </a:lnTo>
                  <a:lnTo>
                    <a:pt x="3310" y="2974"/>
                  </a:lnTo>
                  <a:lnTo>
                    <a:pt x="3312" y="2978"/>
                  </a:lnTo>
                  <a:lnTo>
                    <a:pt x="3312" y="2980"/>
                  </a:lnTo>
                  <a:lnTo>
                    <a:pt x="3312" y="2982"/>
                  </a:lnTo>
                  <a:lnTo>
                    <a:pt x="3310" y="2982"/>
                  </a:lnTo>
                  <a:lnTo>
                    <a:pt x="3308" y="2980"/>
                  </a:lnTo>
                  <a:lnTo>
                    <a:pt x="3306" y="2980"/>
                  </a:lnTo>
                  <a:lnTo>
                    <a:pt x="3302" y="2984"/>
                  </a:lnTo>
                  <a:lnTo>
                    <a:pt x="3302" y="2988"/>
                  </a:lnTo>
                  <a:lnTo>
                    <a:pt x="3304" y="2992"/>
                  </a:lnTo>
                  <a:lnTo>
                    <a:pt x="3308" y="2994"/>
                  </a:lnTo>
                  <a:lnTo>
                    <a:pt x="3312" y="2992"/>
                  </a:lnTo>
                  <a:lnTo>
                    <a:pt x="3314" y="2992"/>
                  </a:lnTo>
                  <a:lnTo>
                    <a:pt x="3316" y="2998"/>
                  </a:lnTo>
                  <a:lnTo>
                    <a:pt x="3318" y="3014"/>
                  </a:lnTo>
                  <a:lnTo>
                    <a:pt x="3318" y="3020"/>
                  </a:lnTo>
                  <a:lnTo>
                    <a:pt x="3320" y="3022"/>
                  </a:lnTo>
                  <a:lnTo>
                    <a:pt x="3324" y="3026"/>
                  </a:lnTo>
                  <a:lnTo>
                    <a:pt x="3324" y="3028"/>
                  </a:lnTo>
                  <a:lnTo>
                    <a:pt x="3322" y="3030"/>
                  </a:lnTo>
                  <a:lnTo>
                    <a:pt x="3324" y="3034"/>
                  </a:lnTo>
                  <a:lnTo>
                    <a:pt x="3326" y="3038"/>
                  </a:lnTo>
                  <a:lnTo>
                    <a:pt x="3324" y="3042"/>
                  </a:lnTo>
                  <a:lnTo>
                    <a:pt x="3320" y="3046"/>
                  </a:lnTo>
                  <a:lnTo>
                    <a:pt x="3316" y="3054"/>
                  </a:lnTo>
                  <a:lnTo>
                    <a:pt x="3308" y="3070"/>
                  </a:lnTo>
                  <a:lnTo>
                    <a:pt x="3308" y="3076"/>
                  </a:lnTo>
                  <a:lnTo>
                    <a:pt x="3308" y="3078"/>
                  </a:lnTo>
                  <a:lnTo>
                    <a:pt x="3310" y="3082"/>
                  </a:lnTo>
                  <a:lnTo>
                    <a:pt x="3310" y="3084"/>
                  </a:lnTo>
                  <a:lnTo>
                    <a:pt x="3312" y="3088"/>
                  </a:lnTo>
                  <a:lnTo>
                    <a:pt x="3312" y="3092"/>
                  </a:lnTo>
                  <a:lnTo>
                    <a:pt x="3314" y="3096"/>
                  </a:lnTo>
                  <a:lnTo>
                    <a:pt x="3312" y="3096"/>
                  </a:lnTo>
                  <a:lnTo>
                    <a:pt x="3308" y="3096"/>
                  </a:lnTo>
                  <a:lnTo>
                    <a:pt x="3308" y="3100"/>
                  </a:lnTo>
                  <a:lnTo>
                    <a:pt x="3310" y="3104"/>
                  </a:lnTo>
                  <a:lnTo>
                    <a:pt x="3312" y="3104"/>
                  </a:lnTo>
                  <a:lnTo>
                    <a:pt x="3316" y="3104"/>
                  </a:lnTo>
                  <a:lnTo>
                    <a:pt x="3316" y="3110"/>
                  </a:lnTo>
                  <a:lnTo>
                    <a:pt x="3316" y="3116"/>
                  </a:lnTo>
                  <a:lnTo>
                    <a:pt x="3318" y="3118"/>
                  </a:lnTo>
                  <a:lnTo>
                    <a:pt x="3322" y="3116"/>
                  </a:lnTo>
                  <a:lnTo>
                    <a:pt x="3326" y="3110"/>
                  </a:lnTo>
                  <a:lnTo>
                    <a:pt x="3330" y="3104"/>
                  </a:lnTo>
                  <a:lnTo>
                    <a:pt x="3330" y="3106"/>
                  </a:lnTo>
                  <a:lnTo>
                    <a:pt x="3330" y="3110"/>
                  </a:lnTo>
                  <a:lnTo>
                    <a:pt x="3330" y="3112"/>
                  </a:lnTo>
                  <a:lnTo>
                    <a:pt x="3334" y="3110"/>
                  </a:lnTo>
                  <a:lnTo>
                    <a:pt x="3334" y="3108"/>
                  </a:lnTo>
                  <a:lnTo>
                    <a:pt x="3338" y="3102"/>
                  </a:lnTo>
                  <a:lnTo>
                    <a:pt x="3342" y="3098"/>
                  </a:lnTo>
                  <a:lnTo>
                    <a:pt x="3346" y="3094"/>
                  </a:lnTo>
                  <a:lnTo>
                    <a:pt x="3348" y="3094"/>
                  </a:lnTo>
                  <a:lnTo>
                    <a:pt x="3348" y="3096"/>
                  </a:lnTo>
                  <a:lnTo>
                    <a:pt x="3346" y="3100"/>
                  </a:lnTo>
                  <a:lnTo>
                    <a:pt x="3344" y="3106"/>
                  </a:lnTo>
                  <a:lnTo>
                    <a:pt x="3346" y="3108"/>
                  </a:lnTo>
                  <a:lnTo>
                    <a:pt x="3350" y="3110"/>
                  </a:lnTo>
                  <a:lnTo>
                    <a:pt x="3354" y="3108"/>
                  </a:lnTo>
                  <a:lnTo>
                    <a:pt x="3356" y="3106"/>
                  </a:lnTo>
                  <a:lnTo>
                    <a:pt x="3356" y="3104"/>
                  </a:lnTo>
                  <a:lnTo>
                    <a:pt x="3354" y="3096"/>
                  </a:lnTo>
                  <a:lnTo>
                    <a:pt x="3354" y="3094"/>
                  </a:lnTo>
                  <a:lnTo>
                    <a:pt x="3356" y="3092"/>
                  </a:lnTo>
                  <a:lnTo>
                    <a:pt x="3358" y="3092"/>
                  </a:lnTo>
                  <a:lnTo>
                    <a:pt x="3358" y="3094"/>
                  </a:lnTo>
                  <a:lnTo>
                    <a:pt x="3360" y="3102"/>
                  </a:lnTo>
                  <a:lnTo>
                    <a:pt x="3362" y="3100"/>
                  </a:lnTo>
                  <a:lnTo>
                    <a:pt x="3366" y="3096"/>
                  </a:lnTo>
                  <a:lnTo>
                    <a:pt x="3368" y="3094"/>
                  </a:lnTo>
                  <a:lnTo>
                    <a:pt x="3368" y="3092"/>
                  </a:lnTo>
                  <a:lnTo>
                    <a:pt x="3364" y="3088"/>
                  </a:lnTo>
                  <a:lnTo>
                    <a:pt x="3362" y="3086"/>
                  </a:lnTo>
                  <a:lnTo>
                    <a:pt x="3366" y="3084"/>
                  </a:lnTo>
                  <a:lnTo>
                    <a:pt x="3376" y="3084"/>
                  </a:lnTo>
                  <a:lnTo>
                    <a:pt x="3384" y="3086"/>
                  </a:lnTo>
                  <a:lnTo>
                    <a:pt x="3390" y="3090"/>
                  </a:lnTo>
                  <a:lnTo>
                    <a:pt x="3394" y="3090"/>
                  </a:lnTo>
                  <a:lnTo>
                    <a:pt x="3396" y="3088"/>
                  </a:lnTo>
                  <a:lnTo>
                    <a:pt x="3396" y="3084"/>
                  </a:lnTo>
                  <a:lnTo>
                    <a:pt x="3396" y="3082"/>
                  </a:lnTo>
                  <a:lnTo>
                    <a:pt x="3400" y="3078"/>
                  </a:lnTo>
                  <a:lnTo>
                    <a:pt x="3406" y="3076"/>
                  </a:lnTo>
                  <a:lnTo>
                    <a:pt x="3412" y="3078"/>
                  </a:lnTo>
                  <a:lnTo>
                    <a:pt x="3418" y="3078"/>
                  </a:lnTo>
                  <a:lnTo>
                    <a:pt x="3422" y="3076"/>
                  </a:lnTo>
                  <a:lnTo>
                    <a:pt x="3428" y="3070"/>
                  </a:lnTo>
                  <a:lnTo>
                    <a:pt x="3434" y="3058"/>
                  </a:lnTo>
                  <a:lnTo>
                    <a:pt x="3438" y="3044"/>
                  </a:lnTo>
                  <a:lnTo>
                    <a:pt x="3440" y="3032"/>
                  </a:lnTo>
                  <a:lnTo>
                    <a:pt x="3440" y="3026"/>
                  </a:lnTo>
                  <a:lnTo>
                    <a:pt x="3436" y="3026"/>
                  </a:lnTo>
                  <a:lnTo>
                    <a:pt x="3434" y="3026"/>
                  </a:lnTo>
                  <a:lnTo>
                    <a:pt x="3432" y="3018"/>
                  </a:lnTo>
                  <a:lnTo>
                    <a:pt x="3434" y="3008"/>
                  </a:lnTo>
                  <a:lnTo>
                    <a:pt x="3436" y="3002"/>
                  </a:lnTo>
                  <a:lnTo>
                    <a:pt x="3436" y="2994"/>
                  </a:lnTo>
                  <a:lnTo>
                    <a:pt x="3436" y="2980"/>
                  </a:lnTo>
                  <a:lnTo>
                    <a:pt x="3432" y="2964"/>
                  </a:lnTo>
                  <a:lnTo>
                    <a:pt x="3426" y="2948"/>
                  </a:lnTo>
                  <a:lnTo>
                    <a:pt x="3418" y="2934"/>
                  </a:lnTo>
                  <a:lnTo>
                    <a:pt x="3410" y="2922"/>
                  </a:lnTo>
                  <a:lnTo>
                    <a:pt x="3402" y="2910"/>
                  </a:lnTo>
                  <a:lnTo>
                    <a:pt x="3398" y="2902"/>
                  </a:lnTo>
                  <a:lnTo>
                    <a:pt x="3392" y="2886"/>
                  </a:lnTo>
                  <a:lnTo>
                    <a:pt x="3388" y="2882"/>
                  </a:lnTo>
                  <a:lnTo>
                    <a:pt x="3386" y="2880"/>
                  </a:lnTo>
                  <a:lnTo>
                    <a:pt x="3380" y="2876"/>
                  </a:lnTo>
                  <a:lnTo>
                    <a:pt x="3374" y="2866"/>
                  </a:lnTo>
                  <a:lnTo>
                    <a:pt x="3370" y="2862"/>
                  </a:lnTo>
                  <a:lnTo>
                    <a:pt x="3366" y="2858"/>
                  </a:lnTo>
                  <a:lnTo>
                    <a:pt x="3360" y="2856"/>
                  </a:lnTo>
                  <a:lnTo>
                    <a:pt x="3354" y="2856"/>
                  </a:lnTo>
                  <a:lnTo>
                    <a:pt x="3352" y="2852"/>
                  </a:lnTo>
                  <a:lnTo>
                    <a:pt x="3352" y="2850"/>
                  </a:lnTo>
                  <a:lnTo>
                    <a:pt x="3354" y="2848"/>
                  </a:lnTo>
                  <a:lnTo>
                    <a:pt x="3356" y="2848"/>
                  </a:lnTo>
                  <a:lnTo>
                    <a:pt x="3358" y="2848"/>
                  </a:lnTo>
                  <a:lnTo>
                    <a:pt x="3360" y="2848"/>
                  </a:lnTo>
                  <a:lnTo>
                    <a:pt x="3360" y="2838"/>
                  </a:lnTo>
                  <a:lnTo>
                    <a:pt x="3358" y="2830"/>
                  </a:lnTo>
                  <a:lnTo>
                    <a:pt x="3358" y="2826"/>
                  </a:lnTo>
                  <a:lnTo>
                    <a:pt x="3360" y="2822"/>
                  </a:lnTo>
                  <a:lnTo>
                    <a:pt x="3362" y="2822"/>
                  </a:lnTo>
                  <a:lnTo>
                    <a:pt x="3368" y="2820"/>
                  </a:lnTo>
                  <a:lnTo>
                    <a:pt x="3372" y="2818"/>
                  </a:lnTo>
                  <a:lnTo>
                    <a:pt x="3374" y="2814"/>
                  </a:lnTo>
                  <a:lnTo>
                    <a:pt x="3376" y="2810"/>
                  </a:lnTo>
                  <a:lnTo>
                    <a:pt x="3378" y="2808"/>
                  </a:lnTo>
                  <a:lnTo>
                    <a:pt x="3384" y="2810"/>
                  </a:lnTo>
                  <a:lnTo>
                    <a:pt x="3386" y="2810"/>
                  </a:lnTo>
                  <a:lnTo>
                    <a:pt x="3390" y="2810"/>
                  </a:lnTo>
                  <a:lnTo>
                    <a:pt x="3396" y="2806"/>
                  </a:lnTo>
                  <a:lnTo>
                    <a:pt x="3402" y="2800"/>
                  </a:lnTo>
                  <a:lnTo>
                    <a:pt x="3426" y="2776"/>
                  </a:lnTo>
                  <a:lnTo>
                    <a:pt x="3434" y="2768"/>
                  </a:lnTo>
                  <a:lnTo>
                    <a:pt x="3442" y="2766"/>
                  </a:lnTo>
                  <a:lnTo>
                    <a:pt x="3444" y="2764"/>
                  </a:lnTo>
                  <a:lnTo>
                    <a:pt x="3446" y="2762"/>
                  </a:lnTo>
                  <a:lnTo>
                    <a:pt x="3448" y="2754"/>
                  </a:lnTo>
                  <a:lnTo>
                    <a:pt x="3448" y="2746"/>
                  </a:lnTo>
                  <a:lnTo>
                    <a:pt x="3448" y="2738"/>
                  </a:lnTo>
                  <a:lnTo>
                    <a:pt x="3448" y="2734"/>
                  </a:lnTo>
                  <a:lnTo>
                    <a:pt x="3448" y="2732"/>
                  </a:lnTo>
                  <a:lnTo>
                    <a:pt x="3446" y="2730"/>
                  </a:lnTo>
                  <a:lnTo>
                    <a:pt x="3444" y="2728"/>
                  </a:lnTo>
                  <a:lnTo>
                    <a:pt x="3444" y="2724"/>
                  </a:lnTo>
                  <a:lnTo>
                    <a:pt x="3450" y="2714"/>
                  </a:lnTo>
                  <a:lnTo>
                    <a:pt x="3464" y="2694"/>
                  </a:lnTo>
                  <a:lnTo>
                    <a:pt x="3474" y="2684"/>
                  </a:lnTo>
                  <a:lnTo>
                    <a:pt x="3478" y="2682"/>
                  </a:lnTo>
                  <a:lnTo>
                    <a:pt x="3480" y="2684"/>
                  </a:lnTo>
                  <a:lnTo>
                    <a:pt x="3482" y="2684"/>
                  </a:lnTo>
                  <a:lnTo>
                    <a:pt x="3488" y="2682"/>
                  </a:lnTo>
                  <a:lnTo>
                    <a:pt x="3492" y="2678"/>
                  </a:lnTo>
                  <a:lnTo>
                    <a:pt x="3492" y="2674"/>
                  </a:lnTo>
                  <a:lnTo>
                    <a:pt x="3492" y="2666"/>
                  </a:lnTo>
                  <a:lnTo>
                    <a:pt x="3492" y="2664"/>
                  </a:lnTo>
                  <a:lnTo>
                    <a:pt x="3498" y="2664"/>
                  </a:lnTo>
                  <a:lnTo>
                    <a:pt x="3506" y="2666"/>
                  </a:lnTo>
                  <a:lnTo>
                    <a:pt x="3510" y="2664"/>
                  </a:lnTo>
                  <a:lnTo>
                    <a:pt x="3514" y="2658"/>
                  </a:lnTo>
                  <a:lnTo>
                    <a:pt x="3518" y="2650"/>
                  </a:lnTo>
                  <a:lnTo>
                    <a:pt x="3524" y="2640"/>
                  </a:lnTo>
                  <a:lnTo>
                    <a:pt x="3524" y="2632"/>
                  </a:lnTo>
                  <a:lnTo>
                    <a:pt x="3526" y="2628"/>
                  </a:lnTo>
                  <a:lnTo>
                    <a:pt x="3528" y="2626"/>
                  </a:lnTo>
                  <a:lnTo>
                    <a:pt x="3532" y="2626"/>
                  </a:lnTo>
                  <a:lnTo>
                    <a:pt x="3536" y="2626"/>
                  </a:lnTo>
                  <a:lnTo>
                    <a:pt x="3536" y="2628"/>
                  </a:lnTo>
                  <a:lnTo>
                    <a:pt x="3536" y="2634"/>
                  </a:lnTo>
                  <a:lnTo>
                    <a:pt x="3534" y="2638"/>
                  </a:lnTo>
                  <a:lnTo>
                    <a:pt x="3536" y="2638"/>
                  </a:lnTo>
                  <a:lnTo>
                    <a:pt x="3538" y="2638"/>
                  </a:lnTo>
                  <a:lnTo>
                    <a:pt x="3542" y="2636"/>
                  </a:lnTo>
                  <a:lnTo>
                    <a:pt x="3548" y="2632"/>
                  </a:lnTo>
                  <a:lnTo>
                    <a:pt x="3550" y="2632"/>
                  </a:lnTo>
                  <a:lnTo>
                    <a:pt x="3552" y="2634"/>
                  </a:lnTo>
                  <a:lnTo>
                    <a:pt x="3552" y="2638"/>
                  </a:lnTo>
                  <a:lnTo>
                    <a:pt x="3552" y="2646"/>
                  </a:lnTo>
                  <a:lnTo>
                    <a:pt x="3554" y="2648"/>
                  </a:lnTo>
                  <a:lnTo>
                    <a:pt x="3556" y="2650"/>
                  </a:lnTo>
                  <a:lnTo>
                    <a:pt x="3570" y="2654"/>
                  </a:lnTo>
                  <a:lnTo>
                    <a:pt x="3580" y="2660"/>
                  </a:lnTo>
                  <a:lnTo>
                    <a:pt x="3584" y="2660"/>
                  </a:lnTo>
                  <a:lnTo>
                    <a:pt x="3590" y="2658"/>
                  </a:lnTo>
                  <a:lnTo>
                    <a:pt x="3598" y="2656"/>
                  </a:lnTo>
                  <a:lnTo>
                    <a:pt x="3608" y="2652"/>
                  </a:lnTo>
                  <a:lnTo>
                    <a:pt x="3616" y="2650"/>
                  </a:lnTo>
                  <a:lnTo>
                    <a:pt x="3622" y="2644"/>
                  </a:lnTo>
                  <a:lnTo>
                    <a:pt x="3632" y="2638"/>
                  </a:lnTo>
                  <a:lnTo>
                    <a:pt x="3648" y="2628"/>
                  </a:lnTo>
                  <a:lnTo>
                    <a:pt x="3658" y="2620"/>
                  </a:lnTo>
                  <a:lnTo>
                    <a:pt x="3666" y="2610"/>
                  </a:lnTo>
                  <a:lnTo>
                    <a:pt x="3686" y="2584"/>
                  </a:lnTo>
                  <a:lnTo>
                    <a:pt x="3712" y="2550"/>
                  </a:lnTo>
                  <a:lnTo>
                    <a:pt x="3728" y="2530"/>
                  </a:lnTo>
                  <a:lnTo>
                    <a:pt x="3748" y="2508"/>
                  </a:lnTo>
                  <a:lnTo>
                    <a:pt x="3768" y="2488"/>
                  </a:lnTo>
                  <a:lnTo>
                    <a:pt x="3780" y="2468"/>
                  </a:lnTo>
                  <a:lnTo>
                    <a:pt x="3790" y="2454"/>
                  </a:lnTo>
                  <a:lnTo>
                    <a:pt x="3796" y="2440"/>
                  </a:lnTo>
                  <a:lnTo>
                    <a:pt x="3804" y="2418"/>
                  </a:lnTo>
                  <a:lnTo>
                    <a:pt x="3808" y="2408"/>
                  </a:lnTo>
                  <a:lnTo>
                    <a:pt x="3816" y="2400"/>
                  </a:lnTo>
                  <a:lnTo>
                    <a:pt x="3824" y="2394"/>
                  </a:lnTo>
                  <a:lnTo>
                    <a:pt x="3828" y="2388"/>
                  </a:lnTo>
                  <a:lnTo>
                    <a:pt x="3832" y="2378"/>
                  </a:lnTo>
                  <a:lnTo>
                    <a:pt x="3834" y="2372"/>
                  </a:lnTo>
                  <a:lnTo>
                    <a:pt x="3838" y="2366"/>
                  </a:lnTo>
                  <a:lnTo>
                    <a:pt x="3844" y="2358"/>
                  </a:lnTo>
                  <a:lnTo>
                    <a:pt x="3854" y="2346"/>
                  </a:lnTo>
                  <a:lnTo>
                    <a:pt x="3860" y="2340"/>
                  </a:lnTo>
                  <a:lnTo>
                    <a:pt x="3866" y="2334"/>
                  </a:lnTo>
                  <a:lnTo>
                    <a:pt x="3874" y="2316"/>
                  </a:lnTo>
                  <a:lnTo>
                    <a:pt x="3880" y="2296"/>
                  </a:lnTo>
                  <a:lnTo>
                    <a:pt x="3882" y="2276"/>
                  </a:lnTo>
                  <a:lnTo>
                    <a:pt x="3884" y="2256"/>
                  </a:lnTo>
                  <a:lnTo>
                    <a:pt x="3884" y="2238"/>
                  </a:lnTo>
                  <a:lnTo>
                    <a:pt x="3882" y="2224"/>
                  </a:lnTo>
                  <a:lnTo>
                    <a:pt x="3880" y="2212"/>
                  </a:lnTo>
                  <a:lnTo>
                    <a:pt x="3878" y="2204"/>
                  </a:lnTo>
                  <a:lnTo>
                    <a:pt x="3878" y="2198"/>
                  </a:lnTo>
                  <a:lnTo>
                    <a:pt x="3880" y="2192"/>
                  </a:lnTo>
                  <a:lnTo>
                    <a:pt x="3882" y="2188"/>
                  </a:lnTo>
                  <a:lnTo>
                    <a:pt x="3888" y="2178"/>
                  </a:lnTo>
                  <a:lnTo>
                    <a:pt x="3892" y="2170"/>
                  </a:lnTo>
                  <a:lnTo>
                    <a:pt x="3896" y="2160"/>
                  </a:lnTo>
                  <a:lnTo>
                    <a:pt x="3898" y="2150"/>
                  </a:lnTo>
                  <a:lnTo>
                    <a:pt x="3904" y="2142"/>
                  </a:lnTo>
                  <a:lnTo>
                    <a:pt x="3914" y="2128"/>
                  </a:lnTo>
                  <a:lnTo>
                    <a:pt x="3920" y="2122"/>
                  </a:lnTo>
                  <a:lnTo>
                    <a:pt x="3922" y="2116"/>
                  </a:lnTo>
                  <a:lnTo>
                    <a:pt x="3920" y="2110"/>
                  </a:lnTo>
                  <a:lnTo>
                    <a:pt x="3916" y="2104"/>
                  </a:lnTo>
                  <a:lnTo>
                    <a:pt x="3910" y="2098"/>
                  </a:lnTo>
                  <a:lnTo>
                    <a:pt x="3908" y="2094"/>
                  </a:lnTo>
                  <a:lnTo>
                    <a:pt x="3908" y="2090"/>
                  </a:lnTo>
                  <a:lnTo>
                    <a:pt x="3910" y="2086"/>
                  </a:lnTo>
                  <a:lnTo>
                    <a:pt x="3910" y="2078"/>
                  </a:lnTo>
                  <a:lnTo>
                    <a:pt x="3910" y="2072"/>
                  </a:lnTo>
                  <a:lnTo>
                    <a:pt x="3906" y="2066"/>
                  </a:lnTo>
                  <a:lnTo>
                    <a:pt x="3904" y="2062"/>
                  </a:lnTo>
                  <a:lnTo>
                    <a:pt x="3906" y="2058"/>
                  </a:lnTo>
                  <a:lnTo>
                    <a:pt x="3914" y="2052"/>
                  </a:lnTo>
                  <a:lnTo>
                    <a:pt x="3918" y="2050"/>
                  </a:lnTo>
                  <a:lnTo>
                    <a:pt x="3920" y="2046"/>
                  </a:lnTo>
                  <a:lnTo>
                    <a:pt x="3918" y="2042"/>
                  </a:lnTo>
                  <a:lnTo>
                    <a:pt x="3910" y="2034"/>
                  </a:lnTo>
                  <a:lnTo>
                    <a:pt x="3892" y="2020"/>
                  </a:lnTo>
                  <a:lnTo>
                    <a:pt x="3880" y="2010"/>
                  </a:lnTo>
                  <a:lnTo>
                    <a:pt x="3864" y="1990"/>
                  </a:lnTo>
                  <a:lnTo>
                    <a:pt x="3858" y="1986"/>
                  </a:lnTo>
                  <a:lnTo>
                    <a:pt x="3854" y="1984"/>
                  </a:lnTo>
                  <a:lnTo>
                    <a:pt x="3842" y="1984"/>
                  </a:lnTo>
                  <a:lnTo>
                    <a:pt x="3832" y="1986"/>
                  </a:lnTo>
                  <a:lnTo>
                    <a:pt x="3826" y="1986"/>
                  </a:lnTo>
                  <a:lnTo>
                    <a:pt x="3820" y="1984"/>
                  </a:lnTo>
                  <a:lnTo>
                    <a:pt x="3814" y="1982"/>
                  </a:lnTo>
                  <a:lnTo>
                    <a:pt x="3812" y="1984"/>
                  </a:lnTo>
                  <a:lnTo>
                    <a:pt x="3808" y="1996"/>
                  </a:lnTo>
                  <a:lnTo>
                    <a:pt x="3804" y="2004"/>
                  </a:lnTo>
                  <a:lnTo>
                    <a:pt x="3800" y="2012"/>
                  </a:lnTo>
                  <a:lnTo>
                    <a:pt x="3792" y="2018"/>
                  </a:lnTo>
                  <a:lnTo>
                    <a:pt x="3780" y="2024"/>
                  </a:lnTo>
                  <a:lnTo>
                    <a:pt x="3772" y="2026"/>
                  </a:lnTo>
                  <a:lnTo>
                    <a:pt x="3766" y="2026"/>
                  </a:lnTo>
                  <a:lnTo>
                    <a:pt x="3764" y="2024"/>
                  </a:lnTo>
                  <a:lnTo>
                    <a:pt x="3762" y="2022"/>
                  </a:lnTo>
                  <a:lnTo>
                    <a:pt x="3760" y="2018"/>
                  </a:lnTo>
                  <a:lnTo>
                    <a:pt x="3762" y="2014"/>
                  </a:lnTo>
                  <a:lnTo>
                    <a:pt x="3764" y="2002"/>
                  </a:lnTo>
                  <a:lnTo>
                    <a:pt x="3768" y="1992"/>
                  </a:lnTo>
                  <a:lnTo>
                    <a:pt x="3772" y="1984"/>
                  </a:lnTo>
                  <a:lnTo>
                    <a:pt x="3770" y="1982"/>
                  </a:lnTo>
                  <a:lnTo>
                    <a:pt x="3768" y="1980"/>
                  </a:lnTo>
                  <a:lnTo>
                    <a:pt x="3766" y="1980"/>
                  </a:lnTo>
                  <a:lnTo>
                    <a:pt x="3760" y="1982"/>
                  </a:lnTo>
                  <a:lnTo>
                    <a:pt x="3750" y="1986"/>
                  </a:lnTo>
                  <a:lnTo>
                    <a:pt x="3746" y="1992"/>
                  </a:lnTo>
                  <a:lnTo>
                    <a:pt x="3746" y="1996"/>
                  </a:lnTo>
                  <a:lnTo>
                    <a:pt x="3748" y="2000"/>
                  </a:lnTo>
                  <a:lnTo>
                    <a:pt x="3750" y="2002"/>
                  </a:lnTo>
                  <a:lnTo>
                    <a:pt x="3750" y="2004"/>
                  </a:lnTo>
                  <a:lnTo>
                    <a:pt x="3746" y="2008"/>
                  </a:lnTo>
                  <a:lnTo>
                    <a:pt x="3738" y="2008"/>
                  </a:lnTo>
                  <a:lnTo>
                    <a:pt x="3732" y="2008"/>
                  </a:lnTo>
                  <a:lnTo>
                    <a:pt x="3730" y="2008"/>
                  </a:lnTo>
                  <a:lnTo>
                    <a:pt x="3728" y="2006"/>
                  </a:lnTo>
                  <a:lnTo>
                    <a:pt x="3728" y="2002"/>
                  </a:lnTo>
                  <a:lnTo>
                    <a:pt x="3730" y="1994"/>
                  </a:lnTo>
                  <a:lnTo>
                    <a:pt x="3734" y="1986"/>
                  </a:lnTo>
                  <a:lnTo>
                    <a:pt x="3736" y="1976"/>
                  </a:lnTo>
                  <a:lnTo>
                    <a:pt x="3736" y="1972"/>
                  </a:lnTo>
                  <a:lnTo>
                    <a:pt x="3734" y="1968"/>
                  </a:lnTo>
                  <a:lnTo>
                    <a:pt x="3732" y="1966"/>
                  </a:lnTo>
                  <a:lnTo>
                    <a:pt x="3728" y="1962"/>
                  </a:lnTo>
                  <a:lnTo>
                    <a:pt x="3722" y="1962"/>
                  </a:lnTo>
                  <a:lnTo>
                    <a:pt x="3714" y="1960"/>
                  </a:lnTo>
                  <a:lnTo>
                    <a:pt x="3696" y="1962"/>
                  </a:lnTo>
                  <a:lnTo>
                    <a:pt x="3682" y="1960"/>
                  </a:lnTo>
                  <a:lnTo>
                    <a:pt x="3672" y="1958"/>
                  </a:lnTo>
                  <a:lnTo>
                    <a:pt x="3666" y="1954"/>
                  </a:lnTo>
                  <a:lnTo>
                    <a:pt x="3666" y="1950"/>
                  </a:lnTo>
                  <a:lnTo>
                    <a:pt x="3666" y="1948"/>
                  </a:lnTo>
                  <a:lnTo>
                    <a:pt x="3674" y="1938"/>
                  </a:lnTo>
                  <a:lnTo>
                    <a:pt x="3686" y="1928"/>
                  </a:lnTo>
                  <a:lnTo>
                    <a:pt x="3706" y="1912"/>
                  </a:lnTo>
                  <a:lnTo>
                    <a:pt x="3746" y="1886"/>
                  </a:lnTo>
                  <a:lnTo>
                    <a:pt x="3768" y="1868"/>
                  </a:lnTo>
                  <a:lnTo>
                    <a:pt x="3776" y="1862"/>
                  </a:lnTo>
                  <a:lnTo>
                    <a:pt x="3782" y="1852"/>
                  </a:lnTo>
                  <a:lnTo>
                    <a:pt x="3788" y="1844"/>
                  </a:lnTo>
                  <a:lnTo>
                    <a:pt x="3794" y="1832"/>
                  </a:lnTo>
                  <a:lnTo>
                    <a:pt x="3802" y="1818"/>
                  </a:lnTo>
                  <a:lnTo>
                    <a:pt x="3812" y="1808"/>
                  </a:lnTo>
                  <a:lnTo>
                    <a:pt x="3824" y="1800"/>
                  </a:lnTo>
                  <a:lnTo>
                    <a:pt x="3838" y="1790"/>
                  </a:lnTo>
                  <a:lnTo>
                    <a:pt x="3852" y="1782"/>
                  </a:lnTo>
                  <a:lnTo>
                    <a:pt x="3866" y="1772"/>
                  </a:lnTo>
                  <a:lnTo>
                    <a:pt x="3878" y="1760"/>
                  </a:lnTo>
                  <a:lnTo>
                    <a:pt x="3882" y="1752"/>
                  </a:lnTo>
                  <a:lnTo>
                    <a:pt x="3886" y="1746"/>
                  </a:lnTo>
                  <a:lnTo>
                    <a:pt x="3894" y="1728"/>
                  </a:lnTo>
                  <a:lnTo>
                    <a:pt x="3908" y="1712"/>
                  </a:lnTo>
                  <a:lnTo>
                    <a:pt x="3926" y="1696"/>
                  </a:lnTo>
                  <a:lnTo>
                    <a:pt x="3944" y="1682"/>
                  </a:lnTo>
                  <a:lnTo>
                    <a:pt x="3966" y="1672"/>
                  </a:lnTo>
                  <a:lnTo>
                    <a:pt x="3986" y="1664"/>
                  </a:lnTo>
                  <a:lnTo>
                    <a:pt x="4006" y="1660"/>
                  </a:lnTo>
                  <a:lnTo>
                    <a:pt x="4014" y="1660"/>
                  </a:lnTo>
                  <a:lnTo>
                    <a:pt x="4022" y="1662"/>
                  </a:lnTo>
                  <a:lnTo>
                    <a:pt x="4036" y="1664"/>
                  </a:lnTo>
                  <a:lnTo>
                    <a:pt x="4048" y="1666"/>
                  </a:lnTo>
                  <a:lnTo>
                    <a:pt x="4068" y="1664"/>
                  </a:lnTo>
                  <a:lnTo>
                    <a:pt x="4082" y="1664"/>
                  </a:lnTo>
                  <a:lnTo>
                    <a:pt x="4090" y="1666"/>
                  </a:lnTo>
                  <a:lnTo>
                    <a:pt x="4098" y="1670"/>
                  </a:lnTo>
                  <a:lnTo>
                    <a:pt x="4104" y="1672"/>
                  </a:lnTo>
                  <a:lnTo>
                    <a:pt x="4108" y="1672"/>
                  </a:lnTo>
                  <a:lnTo>
                    <a:pt x="4110" y="1670"/>
                  </a:lnTo>
                  <a:lnTo>
                    <a:pt x="4112" y="1666"/>
                  </a:lnTo>
                  <a:lnTo>
                    <a:pt x="4116" y="1662"/>
                  </a:lnTo>
                  <a:lnTo>
                    <a:pt x="4124" y="1660"/>
                  </a:lnTo>
                  <a:lnTo>
                    <a:pt x="4136" y="1658"/>
                  </a:lnTo>
                  <a:lnTo>
                    <a:pt x="4154" y="1660"/>
                  </a:lnTo>
                  <a:lnTo>
                    <a:pt x="4188" y="1668"/>
                  </a:lnTo>
                  <a:lnTo>
                    <a:pt x="4200" y="1670"/>
                  </a:lnTo>
                  <a:lnTo>
                    <a:pt x="4208" y="1670"/>
                  </a:lnTo>
                  <a:lnTo>
                    <a:pt x="4214" y="1670"/>
                  </a:lnTo>
                  <a:lnTo>
                    <a:pt x="4220" y="1666"/>
                  </a:lnTo>
                  <a:lnTo>
                    <a:pt x="4224" y="1658"/>
                  </a:lnTo>
                  <a:lnTo>
                    <a:pt x="4228" y="1648"/>
                  </a:lnTo>
                  <a:lnTo>
                    <a:pt x="4230" y="1646"/>
                  </a:lnTo>
                  <a:lnTo>
                    <a:pt x="4236" y="1644"/>
                  </a:lnTo>
                  <a:lnTo>
                    <a:pt x="4250" y="1642"/>
                  </a:lnTo>
                  <a:lnTo>
                    <a:pt x="4272" y="1642"/>
                  </a:lnTo>
                  <a:lnTo>
                    <a:pt x="4294" y="1644"/>
                  </a:lnTo>
                  <a:lnTo>
                    <a:pt x="4314" y="1648"/>
                  </a:lnTo>
                  <a:lnTo>
                    <a:pt x="4322" y="1652"/>
                  </a:lnTo>
                  <a:lnTo>
                    <a:pt x="4328" y="1656"/>
                  </a:lnTo>
                  <a:lnTo>
                    <a:pt x="4330" y="1660"/>
                  </a:lnTo>
                  <a:lnTo>
                    <a:pt x="4330" y="1664"/>
                  </a:lnTo>
                  <a:lnTo>
                    <a:pt x="4328" y="1670"/>
                  </a:lnTo>
                  <a:lnTo>
                    <a:pt x="4320" y="1676"/>
                  </a:lnTo>
                  <a:lnTo>
                    <a:pt x="4314" y="1682"/>
                  </a:lnTo>
                  <a:lnTo>
                    <a:pt x="4312" y="1686"/>
                  </a:lnTo>
                  <a:lnTo>
                    <a:pt x="4312" y="1688"/>
                  </a:lnTo>
                  <a:lnTo>
                    <a:pt x="4314" y="1690"/>
                  </a:lnTo>
                  <a:lnTo>
                    <a:pt x="4324" y="1692"/>
                  </a:lnTo>
                  <a:lnTo>
                    <a:pt x="4340" y="1690"/>
                  </a:lnTo>
                  <a:lnTo>
                    <a:pt x="4358" y="1688"/>
                  </a:lnTo>
                  <a:lnTo>
                    <a:pt x="4374" y="1684"/>
                  </a:lnTo>
                  <a:lnTo>
                    <a:pt x="4386" y="1680"/>
                  </a:lnTo>
                  <a:lnTo>
                    <a:pt x="4394" y="1676"/>
                  </a:lnTo>
                  <a:lnTo>
                    <a:pt x="4398" y="1670"/>
                  </a:lnTo>
                  <a:lnTo>
                    <a:pt x="4404" y="1670"/>
                  </a:lnTo>
                  <a:lnTo>
                    <a:pt x="4410" y="1674"/>
                  </a:lnTo>
                  <a:lnTo>
                    <a:pt x="4418" y="1678"/>
                  </a:lnTo>
                  <a:lnTo>
                    <a:pt x="4426" y="1682"/>
                  </a:lnTo>
                  <a:lnTo>
                    <a:pt x="4436" y="1684"/>
                  </a:lnTo>
                  <a:lnTo>
                    <a:pt x="4448" y="1682"/>
                  </a:lnTo>
                  <a:lnTo>
                    <a:pt x="4454" y="1680"/>
                  </a:lnTo>
                  <a:lnTo>
                    <a:pt x="4462" y="1676"/>
                  </a:lnTo>
                  <a:lnTo>
                    <a:pt x="4466" y="1672"/>
                  </a:lnTo>
                  <a:lnTo>
                    <a:pt x="4468" y="1668"/>
                  </a:lnTo>
                  <a:lnTo>
                    <a:pt x="4468" y="1664"/>
                  </a:lnTo>
                  <a:lnTo>
                    <a:pt x="4466" y="1660"/>
                  </a:lnTo>
                  <a:lnTo>
                    <a:pt x="4458" y="1652"/>
                  </a:lnTo>
                  <a:lnTo>
                    <a:pt x="4448" y="1646"/>
                  </a:lnTo>
                  <a:lnTo>
                    <a:pt x="4442" y="1642"/>
                  </a:lnTo>
                  <a:lnTo>
                    <a:pt x="4440" y="1636"/>
                  </a:lnTo>
                  <a:lnTo>
                    <a:pt x="4438" y="1632"/>
                  </a:lnTo>
                  <a:lnTo>
                    <a:pt x="4438" y="1626"/>
                  </a:lnTo>
                  <a:lnTo>
                    <a:pt x="4440" y="1618"/>
                  </a:lnTo>
                  <a:lnTo>
                    <a:pt x="4446" y="1612"/>
                  </a:lnTo>
                  <a:lnTo>
                    <a:pt x="4456" y="1602"/>
                  </a:lnTo>
                  <a:lnTo>
                    <a:pt x="4468" y="1592"/>
                  </a:lnTo>
                  <a:lnTo>
                    <a:pt x="4496" y="1572"/>
                  </a:lnTo>
                  <a:lnTo>
                    <a:pt x="4514" y="1556"/>
                  </a:lnTo>
                  <a:lnTo>
                    <a:pt x="4536" y="1530"/>
                  </a:lnTo>
                  <a:lnTo>
                    <a:pt x="4546" y="1522"/>
                  </a:lnTo>
                  <a:lnTo>
                    <a:pt x="4562" y="1514"/>
                  </a:lnTo>
                  <a:lnTo>
                    <a:pt x="4584" y="1508"/>
                  </a:lnTo>
                  <a:lnTo>
                    <a:pt x="4616" y="1502"/>
                  </a:lnTo>
                  <a:lnTo>
                    <a:pt x="4630" y="1502"/>
                  </a:lnTo>
                  <a:lnTo>
                    <a:pt x="4642" y="1504"/>
                  </a:lnTo>
                  <a:lnTo>
                    <a:pt x="4650" y="1508"/>
                  </a:lnTo>
                  <a:lnTo>
                    <a:pt x="4656" y="1514"/>
                  </a:lnTo>
                  <a:lnTo>
                    <a:pt x="4660" y="1520"/>
                  </a:lnTo>
                  <a:lnTo>
                    <a:pt x="4664" y="1528"/>
                  </a:lnTo>
                  <a:lnTo>
                    <a:pt x="4664" y="1546"/>
                  </a:lnTo>
                  <a:lnTo>
                    <a:pt x="4666" y="1562"/>
                  </a:lnTo>
                  <a:lnTo>
                    <a:pt x="4666" y="1568"/>
                  </a:lnTo>
                  <a:lnTo>
                    <a:pt x="4668" y="1574"/>
                  </a:lnTo>
                  <a:lnTo>
                    <a:pt x="4672" y="1578"/>
                  </a:lnTo>
                  <a:lnTo>
                    <a:pt x="4676" y="1580"/>
                  </a:lnTo>
                  <a:lnTo>
                    <a:pt x="4684" y="1578"/>
                  </a:lnTo>
                  <a:lnTo>
                    <a:pt x="4694" y="1574"/>
                  </a:lnTo>
                  <a:lnTo>
                    <a:pt x="4714" y="1562"/>
                  </a:lnTo>
                  <a:lnTo>
                    <a:pt x="4728" y="1550"/>
                  </a:lnTo>
                  <a:lnTo>
                    <a:pt x="4738" y="1540"/>
                  </a:lnTo>
                  <a:lnTo>
                    <a:pt x="4746" y="1530"/>
                  </a:lnTo>
                  <a:lnTo>
                    <a:pt x="4752" y="1524"/>
                  </a:lnTo>
                  <a:lnTo>
                    <a:pt x="4758" y="1520"/>
                  </a:lnTo>
                  <a:lnTo>
                    <a:pt x="4766" y="1518"/>
                  </a:lnTo>
                  <a:lnTo>
                    <a:pt x="4778" y="1520"/>
                  </a:lnTo>
                  <a:lnTo>
                    <a:pt x="4784" y="1522"/>
                  </a:lnTo>
                  <a:lnTo>
                    <a:pt x="4788" y="1520"/>
                  </a:lnTo>
                  <a:lnTo>
                    <a:pt x="4790" y="1518"/>
                  </a:lnTo>
                  <a:lnTo>
                    <a:pt x="4792" y="1514"/>
                  </a:lnTo>
                  <a:lnTo>
                    <a:pt x="4790" y="1502"/>
                  </a:lnTo>
                  <a:lnTo>
                    <a:pt x="4788" y="1486"/>
                  </a:lnTo>
                  <a:lnTo>
                    <a:pt x="4788" y="1472"/>
                  </a:lnTo>
                  <a:lnTo>
                    <a:pt x="4790" y="1464"/>
                  </a:lnTo>
                  <a:lnTo>
                    <a:pt x="4792" y="1458"/>
                  </a:lnTo>
                  <a:lnTo>
                    <a:pt x="4796" y="1452"/>
                  </a:lnTo>
                  <a:lnTo>
                    <a:pt x="4802" y="1448"/>
                  </a:lnTo>
                  <a:lnTo>
                    <a:pt x="4812" y="1446"/>
                  </a:lnTo>
                  <a:lnTo>
                    <a:pt x="4824" y="1446"/>
                  </a:lnTo>
                  <a:lnTo>
                    <a:pt x="4854" y="1446"/>
                  </a:lnTo>
                  <a:lnTo>
                    <a:pt x="4856" y="1448"/>
                  </a:lnTo>
                  <a:lnTo>
                    <a:pt x="4858" y="1448"/>
                  </a:lnTo>
                  <a:lnTo>
                    <a:pt x="4854" y="1452"/>
                  </a:lnTo>
                  <a:lnTo>
                    <a:pt x="4848" y="1460"/>
                  </a:lnTo>
                  <a:lnTo>
                    <a:pt x="4838" y="1472"/>
                  </a:lnTo>
                  <a:lnTo>
                    <a:pt x="4830" y="1490"/>
                  </a:lnTo>
                  <a:lnTo>
                    <a:pt x="4828" y="1500"/>
                  </a:lnTo>
                  <a:lnTo>
                    <a:pt x="4824" y="1512"/>
                  </a:lnTo>
                  <a:lnTo>
                    <a:pt x="4822" y="1526"/>
                  </a:lnTo>
                  <a:lnTo>
                    <a:pt x="4818" y="1536"/>
                  </a:lnTo>
                  <a:lnTo>
                    <a:pt x="4814" y="1544"/>
                  </a:lnTo>
                  <a:lnTo>
                    <a:pt x="4810" y="1552"/>
                  </a:lnTo>
                  <a:lnTo>
                    <a:pt x="4798" y="1564"/>
                  </a:lnTo>
                  <a:lnTo>
                    <a:pt x="4784" y="1572"/>
                  </a:lnTo>
                  <a:lnTo>
                    <a:pt x="4766" y="1582"/>
                  </a:lnTo>
                  <a:lnTo>
                    <a:pt x="4748" y="1594"/>
                  </a:lnTo>
                  <a:lnTo>
                    <a:pt x="4726" y="1612"/>
                  </a:lnTo>
                  <a:lnTo>
                    <a:pt x="4716" y="1622"/>
                  </a:lnTo>
                  <a:lnTo>
                    <a:pt x="4704" y="1636"/>
                  </a:lnTo>
                  <a:lnTo>
                    <a:pt x="4664" y="1686"/>
                  </a:lnTo>
                  <a:lnTo>
                    <a:pt x="4646" y="1706"/>
                  </a:lnTo>
                  <a:lnTo>
                    <a:pt x="4630" y="1722"/>
                  </a:lnTo>
                  <a:lnTo>
                    <a:pt x="4614" y="1734"/>
                  </a:lnTo>
                  <a:lnTo>
                    <a:pt x="4600" y="1744"/>
                  </a:lnTo>
                  <a:lnTo>
                    <a:pt x="4584" y="1752"/>
                  </a:lnTo>
                  <a:lnTo>
                    <a:pt x="4568" y="1756"/>
                  </a:lnTo>
                  <a:lnTo>
                    <a:pt x="4554" y="1760"/>
                  </a:lnTo>
                  <a:lnTo>
                    <a:pt x="4546" y="1764"/>
                  </a:lnTo>
                  <a:lnTo>
                    <a:pt x="4544" y="1770"/>
                  </a:lnTo>
                  <a:lnTo>
                    <a:pt x="4542" y="1776"/>
                  </a:lnTo>
                  <a:lnTo>
                    <a:pt x="4542" y="1784"/>
                  </a:lnTo>
                  <a:lnTo>
                    <a:pt x="4540" y="1792"/>
                  </a:lnTo>
                  <a:lnTo>
                    <a:pt x="4532" y="1802"/>
                  </a:lnTo>
                  <a:lnTo>
                    <a:pt x="4520" y="1812"/>
                  </a:lnTo>
                  <a:lnTo>
                    <a:pt x="4514" y="1820"/>
                  </a:lnTo>
                  <a:lnTo>
                    <a:pt x="4508" y="1828"/>
                  </a:lnTo>
                  <a:lnTo>
                    <a:pt x="4502" y="1840"/>
                  </a:lnTo>
                  <a:lnTo>
                    <a:pt x="4498" y="1854"/>
                  </a:lnTo>
                  <a:lnTo>
                    <a:pt x="4496" y="1868"/>
                  </a:lnTo>
                  <a:lnTo>
                    <a:pt x="4494" y="1886"/>
                  </a:lnTo>
                  <a:lnTo>
                    <a:pt x="4494" y="1922"/>
                  </a:lnTo>
                  <a:lnTo>
                    <a:pt x="4496" y="1962"/>
                  </a:lnTo>
                  <a:lnTo>
                    <a:pt x="4502" y="2006"/>
                  </a:lnTo>
                  <a:lnTo>
                    <a:pt x="4508" y="2050"/>
                  </a:lnTo>
                  <a:lnTo>
                    <a:pt x="4518" y="2092"/>
                  </a:lnTo>
                  <a:lnTo>
                    <a:pt x="4520" y="2110"/>
                  </a:lnTo>
                  <a:lnTo>
                    <a:pt x="4522" y="2132"/>
                  </a:lnTo>
                  <a:lnTo>
                    <a:pt x="4526" y="2152"/>
                  </a:lnTo>
                  <a:lnTo>
                    <a:pt x="4530" y="2168"/>
                  </a:lnTo>
                  <a:lnTo>
                    <a:pt x="4532" y="2172"/>
                  </a:lnTo>
                  <a:lnTo>
                    <a:pt x="4536" y="2176"/>
                  </a:lnTo>
                  <a:lnTo>
                    <a:pt x="4542" y="2178"/>
                  </a:lnTo>
                  <a:lnTo>
                    <a:pt x="4548" y="2176"/>
                  </a:lnTo>
                  <a:lnTo>
                    <a:pt x="4556" y="2172"/>
                  </a:lnTo>
                  <a:lnTo>
                    <a:pt x="4564" y="2164"/>
                  </a:lnTo>
                  <a:lnTo>
                    <a:pt x="4574" y="2152"/>
                  </a:lnTo>
                  <a:lnTo>
                    <a:pt x="4588" y="2136"/>
                  </a:lnTo>
                  <a:lnTo>
                    <a:pt x="4594" y="2124"/>
                  </a:lnTo>
                  <a:lnTo>
                    <a:pt x="4600" y="2114"/>
                  </a:lnTo>
                  <a:lnTo>
                    <a:pt x="4608" y="2094"/>
                  </a:lnTo>
                  <a:lnTo>
                    <a:pt x="4610" y="2080"/>
                  </a:lnTo>
                  <a:lnTo>
                    <a:pt x="4612" y="2068"/>
                  </a:lnTo>
                  <a:lnTo>
                    <a:pt x="4612" y="2060"/>
                  </a:lnTo>
                  <a:lnTo>
                    <a:pt x="4614" y="2056"/>
                  </a:lnTo>
                  <a:lnTo>
                    <a:pt x="4618" y="2054"/>
                  </a:lnTo>
                  <a:lnTo>
                    <a:pt x="4626" y="2050"/>
                  </a:lnTo>
                  <a:lnTo>
                    <a:pt x="4644" y="2050"/>
                  </a:lnTo>
                  <a:lnTo>
                    <a:pt x="4654" y="2048"/>
                  </a:lnTo>
                  <a:lnTo>
                    <a:pt x="4660" y="2046"/>
                  </a:lnTo>
                  <a:lnTo>
                    <a:pt x="4664" y="2042"/>
                  </a:lnTo>
                  <a:lnTo>
                    <a:pt x="4668" y="2038"/>
                  </a:lnTo>
                  <a:lnTo>
                    <a:pt x="4670" y="2024"/>
                  </a:lnTo>
                  <a:lnTo>
                    <a:pt x="4670" y="2010"/>
                  </a:lnTo>
                  <a:lnTo>
                    <a:pt x="4670" y="1996"/>
                  </a:lnTo>
                  <a:lnTo>
                    <a:pt x="4672" y="1988"/>
                  </a:lnTo>
                  <a:lnTo>
                    <a:pt x="4676" y="1982"/>
                  </a:lnTo>
                  <a:lnTo>
                    <a:pt x="4680" y="1976"/>
                  </a:lnTo>
                  <a:lnTo>
                    <a:pt x="4686" y="1972"/>
                  </a:lnTo>
                  <a:lnTo>
                    <a:pt x="4694" y="1968"/>
                  </a:lnTo>
                  <a:lnTo>
                    <a:pt x="4704" y="1968"/>
                  </a:lnTo>
                  <a:lnTo>
                    <a:pt x="4730" y="1964"/>
                  </a:lnTo>
                  <a:lnTo>
                    <a:pt x="4740" y="1960"/>
                  </a:lnTo>
                  <a:lnTo>
                    <a:pt x="4744" y="1956"/>
                  </a:lnTo>
                  <a:lnTo>
                    <a:pt x="4748" y="1952"/>
                  </a:lnTo>
                  <a:lnTo>
                    <a:pt x="4750" y="1948"/>
                  </a:lnTo>
                  <a:lnTo>
                    <a:pt x="4750" y="1944"/>
                  </a:lnTo>
                  <a:lnTo>
                    <a:pt x="4748" y="1938"/>
                  </a:lnTo>
                  <a:lnTo>
                    <a:pt x="4744" y="1926"/>
                  </a:lnTo>
                  <a:lnTo>
                    <a:pt x="4740" y="1912"/>
                  </a:lnTo>
                  <a:lnTo>
                    <a:pt x="4738" y="1904"/>
                  </a:lnTo>
                  <a:lnTo>
                    <a:pt x="4738" y="1896"/>
                  </a:lnTo>
                  <a:lnTo>
                    <a:pt x="4740" y="1888"/>
                  </a:lnTo>
                  <a:lnTo>
                    <a:pt x="4744" y="1880"/>
                  </a:lnTo>
                  <a:lnTo>
                    <a:pt x="4748" y="1874"/>
                  </a:lnTo>
                  <a:lnTo>
                    <a:pt x="4752" y="1870"/>
                  </a:lnTo>
                  <a:lnTo>
                    <a:pt x="4756" y="1866"/>
                  </a:lnTo>
                  <a:lnTo>
                    <a:pt x="4760" y="1866"/>
                  </a:lnTo>
                  <a:lnTo>
                    <a:pt x="4770" y="1866"/>
                  </a:lnTo>
                  <a:lnTo>
                    <a:pt x="4778" y="1870"/>
                  </a:lnTo>
                  <a:lnTo>
                    <a:pt x="4784" y="1874"/>
                  </a:lnTo>
                  <a:lnTo>
                    <a:pt x="4792" y="1874"/>
                  </a:lnTo>
                  <a:lnTo>
                    <a:pt x="4794" y="1874"/>
                  </a:lnTo>
                  <a:lnTo>
                    <a:pt x="4796" y="1872"/>
                  </a:lnTo>
                  <a:lnTo>
                    <a:pt x="4800" y="1862"/>
                  </a:lnTo>
                  <a:lnTo>
                    <a:pt x="4800" y="1854"/>
                  </a:lnTo>
                  <a:lnTo>
                    <a:pt x="4800" y="1846"/>
                  </a:lnTo>
                  <a:lnTo>
                    <a:pt x="4798" y="1840"/>
                  </a:lnTo>
                  <a:lnTo>
                    <a:pt x="4796" y="1836"/>
                  </a:lnTo>
                  <a:lnTo>
                    <a:pt x="4788" y="1828"/>
                  </a:lnTo>
                  <a:lnTo>
                    <a:pt x="4782" y="1822"/>
                  </a:lnTo>
                  <a:lnTo>
                    <a:pt x="4774" y="1816"/>
                  </a:lnTo>
                  <a:lnTo>
                    <a:pt x="4772" y="1814"/>
                  </a:lnTo>
                  <a:lnTo>
                    <a:pt x="4772" y="1810"/>
                  </a:lnTo>
                  <a:lnTo>
                    <a:pt x="4772" y="1806"/>
                  </a:lnTo>
                  <a:lnTo>
                    <a:pt x="4774" y="1802"/>
                  </a:lnTo>
                  <a:lnTo>
                    <a:pt x="4782" y="1790"/>
                  </a:lnTo>
                  <a:lnTo>
                    <a:pt x="4790" y="1780"/>
                  </a:lnTo>
                  <a:lnTo>
                    <a:pt x="4794" y="1772"/>
                  </a:lnTo>
                  <a:lnTo>
                    <a:pt x="4794" y="1766"/>
                  </a:lnTo>
                  <a:lnTo>
                    <a:pt x="4792" y="1760"/>
                  </a:lnTo>
                  <a:lnTo>
                    <a:pt x="4788" y="1756"/>
                  </a:lnTo>
                  <a:lnTo>
                    <a:pt x="4782" y="1752"/>
                  </a:lnTo>
                  <a:lnTo>
                    <a:pt x="4768" y="1748"/>
                  </a:lnTo>
                  <a:lnTo>
                    <a:pt x="4756" y="1744"/>
                  </a:lnTo>
                  <a:lnTo>
                    <a:pt x="4750" y="1740"/>
                  </a:lnTo>
                  <a:lnTo>
                    <a:pt x="4746" y="1738"/>
                  </a:lnTo>
                  <a:lnTo>
                    <a:pt x="4746" y="1732"/>
                  </a:lnTo>
                  <a:lnTo>
                    <a:pt x="4748" y="1728"/>
                  </a:lnTo>
                  <a:lnTo>
                    <a:pt x="4752" y="1720"/>
                  </a:lnTo>
                  <a:lnTo>
                    <a:pt x="4762" y="1712"/>
                  </a:lnTo>
                  <a:lnTo>
                    <a:pt x="4782" y="1694"/>
                  </a:lnTo>
                  <a:lnTo>
                    <a:pt x="4794" y="1678"/>
                  </a:lnTo>
                  <a:lnTo>
                    <a:pt x="4800" y="1664"/>
                  </a:lnTo>
                  <a:lnTo>
                    <a:pt x="4804" y="1652"/>
                  </a:lnTo>
                  <a:lnTo>
                    <a:pt x="4806" y="1642"/>
                  </a:lnTo>
                  <a:lnTo>
                    <a:pt x="4810" y="1634"/>
                  </a:lnTo>
                  <a:lnTo>
                    <a:pt x="4816" y="1628"/>
                  </a:lnTo>
                  <a:lnTo>
                    <a:pt x="4828" y="1622"/>
                  </a:lnTo>
                  <a:lnTo>
                    <a:pt x="4840" y="1618"/>
                  </a:lnTo>
                  <a:lnTo>
                    <a:pt x="4848" y="1618"/>
                  </a:lnTo>
                  <a:lnTo>
                    <a:pt x="4852" y="1620"/>
                  </a:lnTo>
                  <a:lnTo>
                    <a:pt x="4854" y="1622"/>
                  </a:lnTo>
                  <a:lnTo>
                    <a:pt x="4856" y="1624"/>
                  </a:lnTo>
                  <a:lnTo>
                    <a:pt x="4862" y="1622"/>
                  </a:lnTo>
                  <a:lnTo>
                    <a:pt x="4872" y="1616"/>
                  </a:lnTo>
                  <a:lnTo>
                    <a:pt x="4888" y="1606"/>
                  </a:lnTo>
                  <a:lnTo>
                    <a:pt x="4900" y="1598"/>
                  </a:lnTo>
                  <a:lnTo>
                    <a:pt x="4908" y="1592"/>
                  </a:lnTo>
                  <a:lnTo>
                    <a:pt x="4914" y="1592"/>
                  </a:lnTo>
                  <a:lnTo>
                    <a:pt x="4916" y="1592"/>
                  </a:lnTo>
                  <a:lnTo>
                    <a:pt x="4918" y="1596"/>
                  </a:lnTo>
                  <a:lnTo>
                    <a:pt x="4918" y="1600"/>
                  </a:lnTo>
                  <a:lnTo>
                    <a:pt x="4914" y="1612"/>
                  </a:lnTo>
                  <a:lnTo>
                    <a:pt x="4910" y="1624"/>
                  </a:lnTo>
                  <a:lnTo>
                    <a:pt x="4910" y="1628"/>
                  </a:lnTo>
                  <a:lnTo>
                    <a:pt x="4910" y="1632"/>
                  </a:lnTo>
                  <a:lnTo>
                    <a:pt x="4912" y="1632"/>
                  </a:lnTo>
                  <a:lnTo>
                    <a:pt x="4916" y="1632"/>
                  </a:lnTo>
                  <a:lnTo>
                    <a:pt x="4934" y="1618"/>
                  </a:lnTo>
                  <a:lnTo>
                    <a:pt x="4958" y="1600"/>
                  </a:lnTo>
                  <a:lnTo>
                    <a:pt x="4980" y="1588"/>
                  </a:lnTo>
                  <a:lnTo>
                    <a:pt x="4990" y="1586"/>
                  </a:lnTo>
                  <a:lnTo>
                    <a:pt x="5000" y="1584"/>
                  </a:lnTo>
                  <a:lnTo>
                    <a:pt x="5016" y="1584"/>
                  </a:lnTo>
                  <a:lnTo>
                    <a:pt x="5032" y="1588"/>
                  </a:lnTo>
                  <a:lnTo>
                    <a:pt x="5048" y="1596"/>
                  </a:lnTo>
                  <a:lnTo>
                    <a:pt x="5060" y="1606"/>
                  </a:lnTo>
                  <a:lnTo>
                    <a:pt x="5072" y="1618"/>
                  </a:lnTo>
                  <a:lnTo>
                    <a:pt x="5080" y="1628"/>
                  </a:lnTo>
                  <a:lnTo>
                    <a:pt x="5082" y="1630"/>
                  </a:lnTo>
                  <a:lnTo>
                    <a:pt x="5084" y="1628"/>
                  </a:lnTo>
                  <a:lnTo>
                    <a:pt x="5086" y="1620"/>
                  </a:lnTo>
                  <a:lnTo>
                    <a:pt x="5094" y="1608"/>
                  </a:lnTo>
                  <a:lnTo>
                    <a:pt x="5108" y="1592"/>
                  </a:lnTo>
                  <a:lnTo>
                    <a:pt x="5118" y="1584"/>
                  </a:lnTo>
                  <a:lnTo>
                    <a:pt x="5132" y="1574"/>
                  </a:lnTo>
                  <a:lnTo>
                    <a:pt x="5148" y="1564"/>
                  </a:lnTo>
                  <a:lnTo>
                    <a:pt x="5168" y="1552"/>
                  </a:lnTo>
                  <a:lnTo>
                    <a:pt x="5186" y="1542"/>
                  </a:lnTo>
                  <a:lnTo>
                    <a:pt x="5202" y="1532"/>
                  </a:lnTo>
                  <a:lnTo>
                    <a:pt x="5236" y="1508"/>
                  </a:lnTo>
                  <a:lnTo>
                    <a:pt x="5252" y="1496"/>
                  </a:lnTo>
                  <a:lnTo>
                    <a:pt x="5272" y="1484"/>
                  </a:lnTo>
                  <a:lnTo>
                    <a:pt x="5290" y="1474"/>
                  </a:lnTo>
                  <a:lnTo>
                    <a:pt x="5312" y="1466"/>
                  </a:lnTo>
                  <a:lnTo>
                    <a:pt x="5330" y="1460"/>
                  </a:lnTo>
                  <a:lnTo>
                    <a:pt x="5348" y="1456"/>
                  </a:lnTo>
                  <a:lnTo>
                    <a:pt x="5362" y="1454"/>
                  </a:lnTo>
                  <a:lnTo>
                    <a:pt x="5374" y="1454"/>
                  </a:lnTo>
                  <a:lnTo>
                    <a:pt x="5396" y="1456"/>
                  </a:lnTo>
                  <a:lnTo>
                    <a:pt x="5410" y="1460"/>
                  </a:lnTo>
                  <a:lnTo>
                    <a:pt x="5422" y="1464"/>
                  </a:lnTo>
                  <a:lnTo>
                    <a:pt x="5430" y="1466"/>
                  </a:lnTo>
                  <a:lnTo>
                    <a:pt x="5434" y="1466"/>
                  </a:lnTo>
                  <a:lnTo>
                    <a:pt x="5438" y="1464"/>
                  </a:lnTo>
                  <a:lnTo>
                    <a:pt x="5448" y="1458"/>
                  </a:lnTo>
                  <a:lnTo>
                    <a:pt x="5454" y="1448"/>
                  </a:lnTo>
                  <a:lnTo>
                    <a:pt x="5458" y="1440"/>
                  </a:lnTo>
                  <a:lnTo>
                    <a:pt x="5456" y="1432"/>
                  </a:lnTo>
                  <a:lnTo>
                    <a:pt x="5450" y="1422"/>
                  </a:lnTo>
                  <a:lnTo>
                    <a:pt x="5436" y="1400"/>
                  </a:lnTo>
                  <a:lnTo>
                    <a:pt x="5428" y="1386"/>
                  </a:lnTo>
                  <a:lnTo>
                    <a:pt x="5420" y="1368"/>
                  </a:lnTo>
                  <a:lnTo>
                    <a:pt x="5412" y="1348"/>
                  </a:lnTo>
                  <a:lnTo>
                    <a:pt x="5404" y="1338"/>
                  </a:lnTo>
                  <a:lnTo>
                    <a:pt x="5400" y="1336"/>
                  </a:lnTo>
                  <a:lnTo>
                    <a:pt x="5396" y="1336"/>
                  </a:lnTo>
                  <a:lnTo>
                    <a:pt x="5390" y="1336"/>
                  </a:lnTo>
                  <a:lnTo>
                    <a:pt x="5384" y="1338"/>
                  </a:lnTo>
                  <a:lnTo>
                    <a:pt x="5378" y="1338"/>
                  </a:lnTo>
                  <a:lnTo>
                    <a:pt x="5376" y="1336"/>
                  </a:lnTo>
                  <a:lnTo>
                    <a:pt x="5374" y="1334"/>
                  </a:lnTo>
                  <a:lnTo>
                    <a:pt x="5368" y="1322"/>
                  </a:lnTo>
                  <a:lnTo>
                    <a:pt x="5368" y="1316"/>
                  </a:lnTo>
                  <a:lnTo>
                    <a:pt x="5368" y="1312"/>
                  </a:lnTo>
                  <a:lnTo>
                    <a:pt x="5372" y="1310"/>
                  </a:lnTo>
                  <a:lnTo>
                    <a:pt x="5374" y="1308"/>
                  </a:lnTo>
                  <a:lnTo>
                    <a:pt x="5384" y="1308"/>
                  </a:lnTo>
                  <a:lnTo>
                    <a:pt x="5398" y="1310"/>
                  </a:lnTo>
                  <a:lnTo>
                    <a:pt x="5414" y="1312"/>
                  </a:lnTo>
                  <a:lnTo>
                    <a:pt x="5432" y="1310"/>
                  </a:lnTo>
                  <a:lnTo>
                    <a:pt x="5440" y="1308"/>
                  </a:lnTo>
                  <a:lnTo>
                    <a:pt x="5448" y="1304"/>
                  </a:lnTo>
                  <a:lnTo>
                    <a:pt x="5454" y="1298"/>
                  </a:lnTo>
                  <a:lnTo>
                    <a:pt x="5462" y="1292"/>
                  </a:lnTo>
                  <a:lnTo>
                    <a:pt x="5478" y="1272"/>
                  </a:lnTo>
                  <a:lnTo>
                    <a:pt x="5478" y="1258"/>
                  </a:lnTo>
                  <a:lnTo>
                    <a:pt x="5486" y="1248"/>
                  </a:lnTo>
                  <a:lnTo>
                    <a:pt x="5490" y="1244"/>
                  </a:lnTo>
                  <a:lnTo>
                    <a:pt x="5490" y="1240"/>
                  </a:lnTo>
                  <a:lnTo>
                    <a:pt x="5490" y="1236"/>
                  </a:lnTo>
                  <a:lnTo>
                    <a:pt x="5488" y="1232"/>
                  </a:lnTo>
                  <a:lnTo>
                    <a:pt x="5480" y="1220"/>
                  </a:lnTo>
                  <a:lnTo>
                    <a:pt x="5478" y="1216"/>
                  </a:lnTo>
                  <a:lnTo>
                    <a:pt x="5478" y="1204"/>
                  </a:lnTo>
                  <a:lnTo>
                    <a:pt x="5480" y="1200"/>
                  </a:lnTo>
                  <a:lnTo>
                    <a:pt x="5484" y="1200"/>
                  </a:lnTo>
                  <a:lnTo>
                    <a:pt x="5490" y="1200"/>
                  </a:lnTo>
                  <a:lnTo>
                    <a:pt x="5496" y="1202"/>
                  </a:lnTo>
                  <a:lnTo>
                    <a:pt x="5502" y="1206"/>
                  </a:lnTo>
                  <a:lnTo>
                    <a:pt x="5510" y="1212"/>
                  </a:lnTo>
                  <a:lnTo>
                    <a:pt x="5516" y="1220"/>
                  </a:lnTo>
                  <a:lnTo>
                    <a:pt x="5520" y="1230"/>
                  </a:lnTo>
                  <a:lnTo>
                    <a:pt x="5524" y="1238"/>
                  </a:lnTo>
                  <a:lnTo>
                    <a:pt x="5530" y="1242"/>
                  </a:lnTo>
                  <a:lnTo>
                    <a:pt x="5536" y="1244"/>
                  </a:lnTo>
                  <a:lnTo>
                    <a:pt x="5542" y="1246"/>
                  </a:lnTo>
                  <a:lnTo>
                    <a:pt x="5556" y="1244"/>
                  </a:lnTo>
                  <a:lnTo>
                    <a:pt x="5572" y="1242"/>
                  </a:lnTo>
                  <a:lnTo>
                    <a:pt x="5588" y="1238"/>
                  </a:lnTo>
                  <a:lnTo>
                    <a:pt x="5596" y="1238"/>
                  </a:lnTo>
                  <a:lnTo>
                    <a:pt x="5604" y="1238"/>
                  </a:lnTo>
                  <a:lnTo>
                    <a:pt x="5610" y="1242"/>
                  </a:lnTo>
                  <a:lnTo>
                    <a:pt x="5618" y="1246"/>
                  </a:lnTo>
                  <a:lnTo>
                    <a:pt x="5624" y="1252"/>
                  </a:lnTo>
                  <a:lnTo>
                    <a:pt x="5628" y="1262"/>
                  </a:lnTo>
                  <a:lnTo>
                    <a:pt x="5638" y="1278"/>
                  </a:lnTo>
                  <a:lnTo>
                    <a:pt x="5648" y="1290"/>
                  </a:lnTo>
                  <a:lnTo>
                    <a:pt x="5656" y="1294"/>
                  </a:lnTo>
                  <a:lnTo>
                    <a:pt x="5664" y="1296"/>
                  </a:lnTo>
                  <a:lnTo>
                    <a:pt x="5674" y="1298"/>
                  </a:lnTo>
                  <a:lnTo>
                    <a:pt x="5682" y="1298"/>
                  </a:lnTo>
                  <a:lnTo>
                    <a:pt x="5690" y="1302"/>
                  </a:lnTo>
                  <a:lnTo>
                    <a:pt x="5696" y="1310"/>
                  </a:lnTo>
                  <a:lnTo>
                    <a:pt x="5700" y="1316"/>
                  </a:lnTo>
                  <a:lnTo>
                    <a:pt x="5706" y="1320"/>
                  </a:lnTo>
                  <a:lnTo>
                    <a:pt x="5710" y="1322"/>
                  </a:lnTo>
                  <a:lnTo>
                    <a:pt x="5716" y="1322"/>
                  </a:lnTo>
                  <a:lnTo>
                    <a:pt x="5726" y="1322"/>
                  </a:lnTo>
                  <a:lnTo>
                    <a:pt x="5738" y="1318"/>
                  </a:lnTo>
                  <a:lnTo>
                    <a:pt x="5748" y="1310"/>
                  </a:lnTo>
                  <a:lnTo>
                    <a:pt x="5756" y="1298"/>
                  </a:lnTo>
                  <a:lnTo>
                    <a:pt x="5764" y="1284"/>
                  </a:lnTo>
                  <a:lnTo>
                    <a:pt x="5766" y="1268"/>
                  </a:lnTo>
                  <a:lnTo>
                    <a:pt x="5768" y="1254"/>
                  </a:lnTo>
                  <a:lnTo>
                    <a:pt x="5770" y="1248"/>
                  </a:lnTo>
                  <a:lnTo>
                    <a:pt x="5774" y="1246"/>
                  </a:lnTo>
                  <a:lnTo>
                    <a:pt x="5782" y="1240"/>
                  </a:lnTo>
                  <a:lnTo>
                    <a:pt x="5792" y="1238"/>
                  </a:lnTo>
                  <a:lnTo>
                    <a:pt x="5802" y="1238"/>
                  </a:lnTo>
                  <a:lnTo>
                    <a:pt x="5816" y="1234"/>
                  </a:lnTo>
                  <a:lnTo>
                    <a:pt x="5830" y="1228"/>
                  </a:lnTo>
                  <a:lnTo>
                    <a:pt x="5836" y="1222"/>
                  </a:lnTo>
                  <a:lnTo>
                    <a:pt x="5844" y="1216"/>
                  </a:lnTo>
                  <a:lnTo>
                    <a:pt x="5854" y="1204"/>
                  </a:lnTo>
                  <a:lnTo>
                    <a:pt x="5856" y="1198"/>
                  </a:lnTo>
                  <a:lnTo>
                    <a:pt x="5856" y="1196"/>
                  </a:lnTo>
                  <a:lnTo>
                    <a:pt x="5854" y="1194"/>
                  </a:lnTo>
                  <a:lnTo>
                    <a:pt x="5846" y="1194"/>
                  </a:lnTo>
                  <a:lnTo>
                    <a:pt x="5836" y="1192"/>
                  </a:lnTo>
                  <a:lnTo>
                    <a:pt x="5824" y="1188"/>
                  </a:lnTo>
                  <a:lnTo>
                    <a:pt x="5816" y="1184"/>
                  </a:lnTo>
                  <a:lnTo>
                    <a:pt x="5810" y="1180"/>
                  </a:lnTo>
                  <a:lnTo>
                    <a:pt x="5804" y="1174"/>
                  </a:lnTo>
                  <a:lnTo>
                    <a:pt x="5798" y="116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5" name="Freeform 6004">
              <a:extLst>
                <a:ext uri="{FF2B5EF4-FFF2-40B4-BE49-F238E27FC236}">
                  <a16:creationId xmlns:a16="http://schemas.microsoft.com/office/drawing/2014/main" id="{15B901FE-6347-4E9E-AFFA-42C86191576B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8495" y="4209922"/>
              <a:ext cx="3572" cy="4030"/>
            </a:xfrm>
            <a:custGeom>
              <a:avLst/>
              <a:gdLst/>
              <a:ahLst/>
              <a:cxnLst>
                <a:cxn ang="0">
                  <a:pos x="0" y="6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4" y="10"/>
                </a:cxn>
                <a:cxn ang="0">
                  <a:pos x="6" y="8"/>
                </a:cxn>
                <a:cxn ang="0">
                  <a:pos x="8" y="4"/>
                </a:cxn>
                <a:cxn ang="0">
                  <a:pos x="8" y="4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0" y="6"/>
                </a:cxn>
              </a:cxnLst>
              <a:rect l="0" t="0" r="r" b="b"/>
              <a:pathLst>
                <a:path w="8" h="10">
                  <a:moveTo>
                    <a:pt x="0" y="6"/>
                  </a:moveTo>
                  <a:lnTo>
                    <a:pt x="0" y="6"/>
                  </a:lnTo>
                  <a:lnTo>
                    <a:pt x="2" y="8"/>
                  </a:lnTo>
                  <a:lnTo>
                    <a:pt x="4" y="10"/>
                  </a:lnTo>
                  <a:lnTo>
                    <a:pt x="6" y="8"/>
                  </a:lnTo>
                  <a:lnTo>
                    <a:pt x="8" y="4"/>
                  </a:lnTo>
                  <a:lnTo>
                    <a:pt x="8" y="4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0" y="6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grpSp>
          <p:nvGrpSpPr>
            <p:cNvPr id="36" name="Gruppe 224">
              <a:extLst>
                <a:ext uri="{FF2B5EF4-FFF2-40B4-BE49-F238E27FC236}">
                  <a16:creationId xmlns:a16="http://schemas.microsoft.com/office/drawing/2014/main" id="{81FF3371-DB30-452F-BA80-9CC25747D3FF}"/>
                </a:ext>
              </a:extLst>
            </p:cNvPr>
            <p:cNvGrpSpPr/>
            <p:nvPr/>
          </p:nvGrpSpPr>
          <p:grpSpPr bwMode="auto">
            <a:xfrm>
              <a:off x="1504597" y="2399471"/>
              <a:ext cx="2802847" cy="1873326"/>
              <a:chOff x="93979" y="699453"/>
              <a:chExt cx="3986530" cy="2951480"/>
            </a:xfrm>
            <a:grpFill/>
          </p:grpSpPr>
          <p:sp>
            <p:nvSpPr>
              <p:cNvPr id="44" name="Freeform 6016">
                <a:extLst>
                  <a:ext uri="{FF2B5EF4-FFF2-40B4-BE49-F238E27FC236}">
                    <a16:creationId xmlns:a16="http://schemas.microsoft.com/office/drawing/2014/main" id="{E772B527-9051-4E12-B723-55AA52779A1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2550" y="1099503"/>
                <a:ext cx="40640" cy="26670"/>
              </a:xfrm>
              <a:custGeom>
                <a:avLst/>
                <a:gdLst/>
                <a:ahLst/>
                <a:cxnLst>
                  <a:cxn ang="0">
                    <a:pos x="54" y="2"/>
                  </a:cxn>
                  <a:cxn ang="0">
                    <a:pos x="54" y="2"/>
                  </a:cxn>
                  <a:cxn ang="0">
                    <a:pos x="32" y="12"/>
                  </a:cxn>
                  <a:cxn ang="0">
                    <a:pos x="10" y="24"/>
                  </a:cxn>
                  <a:cxn ang="0">
                    <a:pos x="4" y="30"/>
                  </a:cxn>
                  <a:cxn ang="0">
                    <a:pos x="0" y="36"/>
                  </a:cxn>
                  <a:cxn ang="0">
                    <a:pos x="2" y="38"/>
                  </a:cxn>
                  <a:cxn ang="0">
                    <a:pos x="4" y="40"/>
                  </a:cxn>
                  <a:cxn ang="0">
                    <a:pos x="16" y="42"/>
                  </a:cxn>
                  <a:cxn ang="0">
                    <a:pos x="16" y="42"/>
                  </a:cxn>
                  <a:cxn ang="0">
                    <a:pos x="22" y="42"/>
                  </a:cxn>
                  <a:cxn ang="0">
                    <a:pos x="28" y="42"/>
                  </a:cxn>
                  <a:cxn ang="0">
                    <a:pos x="40" y="36"/>
                  </a:cxn>
                  <a:cxn ang="0">
                    <a:pos x="50" y="28"/>
                  </a:cxn>
                  <a:cxn ang="0">
                    <a:pos x="58" y="20"/>
                  </a:cxn>
                  <a:cxn ang="0">
                    <a:pos x="62" y="10"/>
                  </a:cxn>
                  <a:cxn ang="0">
                    <a:pos x="64" y="4"/>
                  </a:cxn>
                  <a:cxn ang="0">
                    <a:pos x="64" y="2"/>
                  </a:cxn>
                  <a:cxn ang="0">
                    <a:pos x="62" y="0"/>
                  </a:cxn>
                  <a:cxn ang="0">
                    <a:pos x="58" y="0"/>
                  </a:cxn>
                  <a:cxn ang="0">
                    <a:pos x="54" y="2"/>
                  </a:cxn>
                  <a:cxn ang="0">
                    <a:pos x="54" y="2"/>
                  </a:cxn>
                </a:cxnLst>
                <a:rect l="0" t="0" r="r" b="b"/>
                <a:pathLst>
                  <a:path w="64" h="42">
                    <a:moveTo>
                      <a:pt x="54" y="2"/>
                    </a:moveTo>
                    <a:lnTo>
                      <a:pt x="54" y="2"/>
                    </a:lnTo>
                    <a:lnTo>
                      <a:pt x="32" y="12"/>
                    </a:lnTo>
                    <a:lnTo>
                      <a:pt x="10" y="24"/>
                    </a:lnTo>
                    <a:lnTo>
                      <a:pt x="4" y="30"/>
                    </a:lnTo>
                    <a:lnTo>
                      <a:pt x="0" y="36"/>
                    </a:lnTo>
                    <a:lnTo>
                      <a:pt x="2" y="38"/>
                    </a:lnTo>
                    <a:lnTo>
                      <a:pt x="4" y="40"/>
                    </a:lnTo>
                    <a:lnTo>
                      <a:pt x="16" y="42"/>
                    </a:lnTo>
                    <a:lnTo>
                      <a:pt x="16" y="42"/>
                    </a:lnTo>
                    <a:lnTo>
                      <a:pt x="22" y="42"/>
                    </a:lnTo>
                    <a:lnTo>
                      <a:pt x="28" y="42"/>
                    </a:lnTo>
                    <a:lnTo>
                      <a:pt x="40" y="36"/>
                    </a:lnTo>
                    <a:lnTo>
                      <a:pt x="50" y="28"/>
                    </a:lnTo>
                    <a:lnTo>
                      <a:pt x="58" y="20"/>
                    </a:lnTo>
                    <a:lnTo>
                      <a:pt x="62" y="10"/>
                    </a:lnTo>
                    <a:lnTo>
                      <a:pt x="64" y="4"/>
                    </a:lnTo>
                    <a:lnTo>
                      <a:pt x="64" y="2"/>
                    </a:lnTo>
                    <a:lnTo>
                      <a:pt x="62" y="0"/>
                    </a:lnTo>
                    <a:lnTo>
                      <a:pt x="58" y="0"/>
                    </a:lnTo>
                    <a:lnTo>
                      <a:pt x="54" y="2"/>
                    </a:lnTo>
                    <a:lnTo>
                      <a:pt x="54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5" name="Freeform 6017">
                <a:extLst>
                  <a:ext uri="{FF2B5EF4-FFF2-40B4-BE49-F238E27FC236}">
                    <a16:creationId xmlns:a16="http://schemas.microsoft.com/office/drawing/2014/main" id="{2331B535-58CB-4371-9FF8-1D2079B067F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184910" y="1173163"/>
                <a:ext cx="270510" cy="165100"/>
              </a:xfrm>
              <a:custGeom>
                <a:avLst/>
                <a:gdLst/>
                <a:ahLst/>
                <a:cxnLst>
                  <a:cxn ang="0">
                    <a:pos x="20" y="198"/>
                  </a:cxn>
                  <a:cxn ang="0">
                    <a:pos x="68" y="214"/>
                  </a:cxn>
                  <a:cxn ang="0">
                    <a:pos x="92" y="232"/>
                  </a:cxn>
                  <a:cxn ang="0">
                    <a:pos x="106" y="256"/>
                  </a:cxn>
                  <a:cxn ang="0">
                    <a:pos x="116" y="260"/>
                  </a:cxn>
                  <a:cxn ang="0">
                    <a:pos x="146" y="248"/>
                  </a:cxn>
                  <a:cxn ang="0">
                    <a:pos x="168" y="236"/>
                  </a:cxn>
                  <a:cxn ang="0">
                    <a:pos x="184" y="238"/>
                  </a:cxn>
                  <a:cxn ang="0">
                    <a:pos x="208" y="232"/>
                  </a:cxn>
                  <a:cxn ang="0">
                    <a:pos x="216" y="226"/>
                  </a:cxn>
                  <a:cxn ang="0">
                    <a:pos x="224" y="200"/>
                  </a:cxn>
                  <a:cxn ang="0">
                    <a:pos x="232" y="178"/>
                  </a:cxn>
                  <a:cxn ang="0">
                    <a:pos x="254" y="172"/>
                  </a:cxn>
                  <a:cxn ang="0">
                    <a:pos x="266" y="158"/>
                  </a:cxn>
                  <a:cxn ang="0">
                    <a:pos x="280" y="140"/>
                  </a:cxn>
                  <a:cxn ang="0">
                    <a:pos x="322" y="124"/>
                  </a:cxn>
                  <a:cxn ang="0">
                    <a:pos x="392" y="94"/>
                  </a:cxn>
                  <a:cxn ang="0">
                    <a:pos x="418" y="86"/>
                  </a:cxn>
                  <a:cxn ang="0">
                    <a:pos x="424" y="72"/>
                  </a:cxn>
                  <a:cxn ang="0">
                    <a:pos x="408" y="64"/>
                  </a:cxn>
                  <a:cxn ang="0">
                    <a:pos x="370" y="40"/>
                  </a:cxn>
                  <a:cxn ang="0">
                    <a:pos x="334" y="22"/>
                  </a:cxn>
                  <a:cxn ang="0">
                    <a:pos x="302" y="22"/>
                  </a:cxn>
                  <a:cxn ang="0">
                    <a:pos x="284" y="30"/>
                  </a:cxn>
                  <a:cxn ang="0">
                    <a:pos x="276" y="40"/>
                  </a:cxn>
                  <a:cxn ang="0">
                    <a:pos x="272" y="36"/>
                  </a:cxn>
                  <a:cxn ang="0">
                    <a:pos x="268" y="26"/>
                  </a:cxn>
                  <a:cxn ang="0">
                    <a:pos x="260" y="26"/>
                  </a:cxn>
                  <a:cxn ang="0">
                    <a:pos x="234" y="22"/>
                  </a:cxn>
                  <a:cxn ang="0">
                    <a:pos x="192" y="2"/>
                  </a:cxn>
                  <a:cxn ang="0">
                    <a:pos x="168" y="0"/>
                  </a:cxn>
                  <a:cxn ang="0">
                    <a:pos x="138" y="6"/>
                  </a:cxn>
                  <a:cxn ang="0">
                    <a:pos x="54" y="16"/>
                  </a:cxn>
                  <a:cxn ang="0">
                    <a:pos x="50" y="20"/>
                  </a:cxn>
                  <a:cxn ang="0">
                    <a:pos x="56" y="28"/>
                  </a:cxn>
                  <a:cxn ang="0">
                    <a:pos x="64" y="46"/>
                  </a:cxn>
                  <a:cxn ang="0">
                    <a:pos x="76" y="52"/>
                  </a:cxn>
                  <a:cxn ang="0">
                    <a:pos x="86" y="60"/>
                  </a:cxn>
                  <a:cxn ang="0">
                    <a:pos x="74" y="72"/>
                  </a:cxn>
                  <a:cxn ang="0">
                    <a:pos x="72" y="80"/>
                  </a:cxn>
                  <a:cxn ang="0">
                    <a:pos x="58" y="84"/>
                  </a:cxn>
                  <a:cxn ang="0">
                    <a:pos x="56" y="90"/>
                  </a:cxn>
                  <a:cxn ang="0">
                    <a:pos x="48" y="106"/>
                  </a:cxn>
                  <a:cxn ang="0">
                    <a:pos x="46" y="114"/>
                  </a:cxn>
                  <a:cxn ang="0">
                    <a:pos x="56" y="122"/>
                  </a:cxn>
                  <a:cxn ang="0">
                    <a:pos x="44" y="126"/>
                  </a:cxn>
                  <a:cxn ang="0">
                    <a:pos x="30" y="130"/>
                  </a:cxn>
                  <a:cxn ang="0">
                    <a:pos x="34" y="140"/>
                  </a:cxn>
                  <a:cxn ang="0">
                    <a:pos x="22" y="160"/>
                  </a:cxn>
                  <a:cxn ang="0">
                    <a:pos x="4" y="182"/>
                  </a:cxn>
                  <a:cxn ang="0">
                    <a:pos x="0" y="192"/>
                  </a:cxn>
                  <a:cxn ang="0">
                    <a:pos x="2" y="196"/>
                  </a:cxn>
                </a:cxnLst>
                <a:rect l="0" t="0" r="r" b="b"/>
                <a:pathLst>
                  <a:path w="426" h="260">
                    <a:moveTo>
                      <a:pt x="2" y="196"/>
                    </a:moveTo>
                    <a:lnTo>
                      <a:pt x="2" y="196"/>
                    </a:lnTo>
                    <a:lnTo>
                      <a:pt x="20" y="198"/>
                    </a:lnTo>
                    <a:lnTo>
                      <a:pt x="38" y="204"/>
                    </a:lnTo>
                    <a:lnTo>
                      <a:pt x="68" y="214"/>
                    </a:lnTo>
                    <a:lnTo>
                      <a:pt x="68" y="214"/>
                    </a:lnTo>
                    <a:lnTo>
                      <a:pt x="78" y="220"/>
                    </a:lnTo>
                    <a:lnTo>
                      <a:pt x="86" y="226"/>
                    </a:lnTo>
                    <a:lnTo>
                      <a:pt x="92" y="232"/>
                    </a:lnTo>
                    <a:lnTo>
                      <a:pt x="96" y="240"/>
                    </a:lnTo>
                    <a:lnTo>
                      <a:pt x="102" y="252"/>
                    </a:lnTo>
                    <a:lnTo>
                      <a:pt x="106" y="256"/>
                    </a:lnTo>
                    <a:lnTo>
                      <a:pt x="110" y="260"/>
                    </a:lnTo>
                    <a:lnTo>
                      <a:pt x="110" y="260"/>
                    </a:lnTo>
                    <a:lnTo>
                      <a:pt x="116" y="260"/>
                    </a:lnTo>
                    <a:lnTo>
                      <a:pt x="122" y="260"/>
                    </a:lnTo>
                    <a:lnTo>
                      <a:pt x="134" y="256"/>
                    </a:lnTo>
                    <a:lnTo>
                      <a:pt x="146" y="248"/>
                    </a:lnTo>
                    <a:lnTo>
                      <a:pt x="160" y="240"/>
                    </a:lnTo>
                    <a:lnTo>
                      <a:pt x="160" y="240"/>
                    </a:lnTo>
                    <a:lnTo>
                      <a:pt x="168" y="236"/>
                    </a:lnTo>
                    <a:lnTo>
                      <a:pt x="172" y="234"/>
                    </a:lnTo>
                    <a:lnTo>
                      <a:pt x="180" y="236"/>
                    </a:lnTo>
                    <a:lnTo>
                      <a:pt x="184" y="238"/>
                    </a:lnTo>
                    <a:lnTo>
                      <a:pt x="190" y="238"/>
                    </a:lnTo>
                    <a:lnTo>
                      <a:pt x="198" y="236"/>
                    </a:lnTo>
                    <a:lnTo>
                      <a:pt x="208" y="232"/>
                    </a:lnTo>
                    <a:lnTo>
                      <a:pt x="208" y="232"/>
                    </a:lnTo>
                    <a:lnTo>
                      <a:pt x="212" y="230"/>
                    </a:lnTo>
                    <a:lnTo>
                      <a:pt x="216" y="226"/>
                    </a:lnTo>
                    <a:lnTo>
                      <a:pt x="222" y="218"/>
                    </a:lnTo>
                    <a:lnTo>
                      <a:pt x="224" y="210"/>
                    </a:lnTo>
                    <a:lnTo>
                      <a:pt x="224" y="200"/>
                    </a:lnTo>
                    <a:lnTo>
                      <a:pt x="224" y="192"/>
                    </a:lnTo>
                    <a:lnTo>
                      <a:pt x="226" y="184"/>
                    </a:lnTo>
                    <a:lnTo>
                      <a:pt x="232" y="178"/>
                    </a:lnTo>
                    <a:lnTo>
                      <a:pt x="244" y="174"/>
                    </a:lnTo>
                    <a:lnTo>
                      <a:pt x="244" y="174"/>
                    </a:lnTo>
                    <a:lnTo>
                      <a:pt x="254" y="172"/>
                    </a:lnTo>
                    <a:lnTo>
                      <a:pt x="260" y="170"/>
                    </a:lnTo>
                    <a:lnTo>
                      <a:pt x="264" y="164"/>
                    </a:lnTo>
                    <a:lnTo>
                      <a:pt x="266" y="158"/>
                    </a:lnTo>
                    <a:lnTo>
                      <a:pt x="268" y="152"/>
                    </a:lnTo>
                    <a:lnTo>
                      <a:pt x="272" y="146"/>
                    </a:lnTo>
                    <a:lnTo>
                      <a:pt x="280" y="140"/>
                    </a:lnTo>
                    <a:lnTo>
                      <a:pt x="292" y="136"/>
                    </a:lnTo>
                    <a:lnTo>
                      <a:pt x="292" y="136"/>
                    </a:lnTo>
                    <a:lnTo>
                      <a:pt x="322" y="124"/>
                    </a:lnTo>
                    <a:lnTo>
                      <a:pt x="348" y="112"/>
                    </a:lnTo>
                    <a:lnTo>
                      <a:pt x="370" y="102"/>
                    </a:lnTo>
                    <a:lnTo>
                      <a:pt x="392" y="94"/>
                    </a:lnTo>
                    <a:lnTo>
                      <a:pt x="392" y="94"/>
                    </a:lnTo>
                    <a:lnTo>
                      <a:pt x="408" y="90"/>
                    </a:lnTo>
                    <a:lnTo>
                      <a:pt x="418" y="86"/>
                    </a:lnTo>
                    <a:lnTo>
                      <a:pt x="424" y="82"/>
                    </a:lnTo>
                    <a:lnTo>
                      <a:pt x="426" y="76"/>
                    </a:lnTo>
                    <a:lnTo>
                      <a:pt x="424" y="72"/>
                    </a:lnTo>
                    <a:lnTo>
                      <a:pt x="420" y="70"/>
                    </a:lnTo>
                    <a:lnTo>
                      <a:pt x="408" y="64"/>
                    </a:lnTo>
                    <a:lnTo>
                      <a:pt x="408" y="64"/>
                    </a:lnTo>
                    <a:lnTo>
                      <a:pt x="398" y="60"/>
                    </a:lnTo>
                    <a:lnTo>
                      <a:pt x="390" y="54"/>
                    </a:lnTo>
                    <a:lnTo>
                      <a:pt x="370" y="40"/>
                    </a:lnTo>
                    <a:lnTo>
                      <a:pt x="360" y="32"/>
                    </a:lnTo>
                    <a:lnTo>
                      <a:pt x="348" y="26"/>
                    </a:lnTo>
                    <a:lnTo>
                      <a:pt x="334" y="22"/>
                    </a:lnTo>
                    <a:lnTo>
                      <a:pt x="318" y="22"/>
                    </a:lnTo>
                    <a:lnTo>
                      <a:pt x="318" y="22"/>
                    </a:lnTo>
                    <a:lnTo>
                      <a:pt x="302" y="22"/>
                    </a:lnTo>
                    <a:lnTo>
                      <a:pt x="294" y="24"/>
                    </a:lnTo>
                    <a:lnTo>
                      <a:pt x="288" y="26"/>
                    </a:lnTo>
                    <a:lnTo>
                      <a:pt x="284" y="30"/>
                    </a:lnTo>
                    <a:lnTo>
                      <a:pt x="282" y="36"/>
                    </a:lnTo>
                    <a:lnTo>
                      <a:pt x="280" y="38"/>
                    </a:lnTo>
                    <a:lnTo>
                      <a:pt x="276" y="40"/>
                    </a:lnTo>
                    <a:lnTo>
                      <a:pt x="276" y="40"/>
                    </a:lnTo>
                    <a:lnTo>
                      <a:pt x="272" y="40"/>
                    </a:lnTo>
                    <a:lnTo>
                      <a:pt x="272" y="36"/>
                    </a:lnTo>
                    <a:lnTo>
                      <a:pt x="272" y="32"/>
                    </a:lnTo>
                    <a:lnTo>
                      <a:pt x="272" y="30"/>
                    </a:lnTo>
                    <a:lnTo>
                      <a:pt x="268" y="26"/>
                    </a:lnTo>
                    <a:lnTo>
                      <a:pt x="268" y="26"/>
                    </a:lnTo>
                    <a:lnTo>
                      <a:pt x="266" y="26"/>
                    </a:lnTo>
                    <a:lnTo>
                      <a:pt x="260" y="26"/>
                    </a:lnTo>
                    <a:lnTo>
                      <a:pt x="250" y="24"/>
                    </a:lnTo>
                    <a:lnTo>
                      <a:pt x="234" y="22"/>
                    </a:lnTo>
                    <a:lnTo>
                      <a:pt x="234" y="22"/>
                    </a:lnTo>
                    <a:lnTo>
                      <a:pt x="218" y="16"/>
                    </a:lnTo>
                    <a:lnTo>
                      <a:pt x="208" y="12"/>
                    </a:lnTo>
                    <a:lnTo>
                      <a:pt x="192" y="2"/>
                    </a:lnTo>
                    <a:lnTo>
                      <a:pt x="186" y="0"/>
                    </a:lnTo>
                    <a:lnTo>
                      <a:pt x="178" y="0"/>
                    </a:lnTo>
                    <a:lnTo>
                      <a:pt x="168" y="0"/>
                    </a:lnTo>
                    <a:lnTo>
                      <a:pt x="154" y="2"/>
                    </a:lnTo>
                    <a:lnTo>
                      <a:pt x="154" y="2"/>
                    </a:lnTo>
                    <a:lnTo>
                      <a:pt x="138" y="6"/>
                    </a:lnTo>
                    <a:lnTo>
                      <a:pt x="120" y="8"/>
                    </a:lnTo>
                    <a:lnTo>
                      <a:pt x="82" y="12"/>
                    </a:lnTo>
                    <a:lnTo>
                      <a:pt x="54" y="16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50" y="20"/>
                    </a:lnTo>
                    <a:lnTo>
                      <a:pt x="50" y="20"/>
                    </a:lnTo>
                    <a:lnTo>
                      <a:pt x="54" y="24"/>
                    </a:lnTo>
                    <a:lnTo>
                      <a:pt x="56" y="28"/>
                    </a:lnTo>
                    <a:lnTo>
                      <a:pt x="58" y="36"/>
                    </a:lnTo>
                    <a:lnTo>
                      <a:pt x="60" y="42"/>
                    </a:lnTo>
                    <a:lnTo>
                      <a:pt x="64" y="46"/>
                    </a:lnTo>
                    <a:lnTo>
                      <a:pt x="68" y="48"/>
                    </a:lnTo>
                    <a:lnTo>
                      <a:pt x="76" y="52"/>
                    </a:lnTo>
                    <a:lnTo>
                      <a:pt x="76" y="52"/>
                    </a:lnTo>
                    <a:lnTo>
                      <a:pt x="84" y="56"/>
                    </a:lnTo>
                    <a:lnTo>
                      <a:pt x="86" y="58"/>
                    </a:lnTo>
                    <a:lnTo>
                      <a:pt x="86" y="60"/>
                    </a:lnTo>
                    <a:lnTo>
                      <a:pt x="84" y="64"/>
                    </a:lnTo>
                    <a:lnTo>
                      <a:pt x="76" y="68"/>
                    </a:lnTo>
                    <a:lnTo>
                      <a:pt x="74" y="72"/>
                    </a:lnTo>
                    <a:lnTo>
                      <a:pt x="72" y="76"/>
                    </a:lnTo>
                    <a:lnTo>
                      <a:pt x="72" y="76"/>
                    </a:lnTo>
                    <a:lnTo>
                      <a:pt x="72" y="80"/>
                    </a:lnTo>
                    <a:lnTo>
                      <a:pt x="70" y="82"/>
                    </a:lnTo>
                    <a:lnTo>
                      <a:pt x="64" y="82"/>
                    </a:lnTo>
                    <a:lnTo>
                      <a:pt x="58" y="84"/>
                    </a:lnTo>
                    <a:lnTo>
                      <a:pt x="56" y="86"/>
                    </a:lnTo>
                    <a:lnTo>
                      <a:pt x="56" y="90"/>
                    </a:lnTo>
                    <a:lnTo>
                      <a:pt x="56" y="90"/>
                    </a:lnTo>
                    <a:lnTo>
                      <a:pt x="56" y="94"/>
                    </a:lnTo>
                    <a:lnTo>
                      <a:pt x="54" y="98"/>
                    </a:lnTo>
                    <a:lnTo>
                      <a:pt x="48" y="106"/>
                    </a:lnTo>
                    <a:lnTo>
                      <a:pt x="44" y="110"/>
                    </a:lnTo>
                    <a:lnTo>
                      <a:pt x="44" y="112"/>
                    </a:lnTo>
                    <a:lnTo>
                      <a:pt x="46" y="114"/>
                    </a:lnTo>
                    <a:lnTo>
                      <a:pt x="46" y="114"/>
                    </a:lnTo>
                    <a:lnTo>
                      <a:pt x="54" y="118"/>
                    </a:lnTo>
                    <a:lnTo>
                      <a:pt x="56" y="122"/>
                    </a:lnTo>
                    <a:lnTo>
                      <a:pt x="56" y="124"/>
                    </a:lnTo>
                    <a:lnTo>
                      <a:pt x="54" y="124"/>
                    </a:lnTo>
                    <a:lnTo>
                      <a:pt x="44" y="126"/>
                    </a:lnTo>
                    <a:lnTo>
                      <a:pt x="44" y="126"/>
                    </a:lnTo>
                    <a:lnTo>
                      <a:pt x="34" y="128"/>
                    </a:lnTo>
                    <a:lnTo>
                      <a:pt x="30" y="130"/>
                    </a:lnTo>
                    <a:lnTo>
                      <a:pt x="30" y="134"/>
                    </a:lnTo>
                    <a:lnTo>
                      <a:pt x="34" y="140"/>
                    </a:lnTo>
                    <a:lnTo>
                      <a:pt x="34" y="140"/>
                    </a:lnTo>
                    <a:lnTo>
                      <a:pt x="34" y="144"/>
                    </a:lnTo>
                    <a:lnTo>
                      <a:pt x="32" y="150"/>
                    </a:lnTo>
                    <a:lnTo>
                      <a:pt x="22" y="160"/>
                    </a:lnTo>
                    <a:lnTo>
                      <a:pt x="10" y="172"/>
                    </a:lnTo>
                    <a:lnTo>
                      <a:pt x="6" y="178"/>
                    </a:lnTo>
                    <a:lnTo>
                      <a:pt x="4" y="182"/>
                    </a:lnTo>
                    <a:lnTo>
                      <a:pt x="4" y="182"/>
                    </a:lnTo>
                    <a:lnTo>
                      <a:pt x="2" y="188"/>
                    </a:lnTo>
                    <a:lnTo>
                      <a:pt x="0" y="192"/>
                    </a:lnTo>
                    <a:lnTo>
                      <a:pt x="0" y="194"/>
                    </a:lnTo>
                    <a:lnTo>
                      <a:pt x="2" y="196"/>
                    </a:lnTo>
                    <a:lnTo>
                      <a:pt x="2" y="19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6" name="Freeform 6018">
                <a:extLst>
                  <a:ext uri="{FF2B5EF4-FFF2-40B4-BE49-F238E27FC236}">
                    <a16:creationId xmlns:a16="http://schemas.microsoft.com/office/drawing/2014/main" id="{927D6FF0-0743-4A1A-B7DB-7B87C3E9B7D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258570" y="1024573"/>
                <a:ext cx="190500" cy="87630"/>
              </a:xfrm>
              <a:custGeom>
                <a:avLst/>
                <a:gdLst/>
                <a:ahLst/>
                <a:cxnLst>
                  <a:cxn ang="0">
                    <a:pos x="12" y="124"/>
                  </a:cxn>
                  <a:cxn ang="0">
                    <a:pos x="16" y="130"/>
                  </a:cxn>
                  <a:cxn ang="0">
                    <a:pos x="36" y="120"/>
                  </a:cxn>
                  <a:cxn ang="0">
                    <a:pos x="50" y="118"/>
                  </a:cxn>
                  <a:cxn ang="0">
                    <a:pos x="66" y="124"/>
                  </a:cxn>
                  <a:cxn ang="0">
                    <a:pos x="76" y="124"/>
                  </a:cxn>
                  <a:cxn ang="0">
                    <a:pos x="88" y="114"/>
                  </a:cxn>
                  <a:cxn ang="0">
                    <a:pos x="94" y="122"/>
                  </a:cxn>
                  <a:cxn ang="0">
                    <a:pos x="112" y="138"/>
                  </a:cxn>
                  <a:cxn ang="0">
                    <a:pos x="132" y="132"/>
                  </a:cxn>
                  <a:cxn ang="0">
                    <a:pos x="138" y="114"/>
                  </a:cxn>
                  <a:cxn ang="0">
                    <a:pos x="146" y="110"/>
                  </a:cxn>
                  <a:cxn ang="0">
                    <a:pos x="156" y="114"/>
                  </a:cxn>
                  <a:cxn ang="0">
                    <a:pos x="174" y="94"/>
                  </a:cxn>
                  <a:cxn ang="0">
                    <a:pos x="182" y="76"/>
                  </a:cxn>
                  <a:cxn ang="0">
                    <a:pos x="186" y="66"/>
                  </a:cxn>
                  <a:cxn ang="0">
                    <a:pos x="206" y="56"/>
                  </a:cxn>
                  <a:cxn ang="0">
                    <a:pos x="208" y="64"/>
                  </a:cxn>
                  <a:cxn ang="0">
                    <a:pos x="206" y="88"/>
                  </a:cxn>
                  <a:cxn ang="0">
                    <a:pos x="214" y="96"/>
                  </a:cxn>
                  <a:cxn ang="0">
                    <a:pos x="236" y="100"/>
                  </a:cxn>
                  <a:cxn ang="0">
                    <a:pos x="244" y="92"/>
                  </a:cxn>
                  <a:cxn ang="0">
                    <a:pos x="246" y="80"/>
                  </a:cxn>
                  <a:cxn ang="0">
                    <a:pos x="274" y="74"/>
                  </a:cxn>
                  <a:cxn ang="0">
                    <a:pos x="294" y="60"/>
                  </a:cxn>
                  <a:cxn ang="0">
                    <a:pos x="280" y="42"/>
                  </a:cxn>
                  <a:cxn ang="0">
                    <a:pos x="272" y="36"/>
                  </a:cxn>
                  <a:cxn ang="0">
                    <a:pos x="278" y="28"/>
                  </a:cxn>
                  <a:cxn ang="0">
                    <a:pos x="300" y="18"/>
                  </a:cxn>
                  <a:cxn ang="0">
                    <a:pos x="288" y="8"/>
                  </a:cxn>
                  <a:cxn ang="0">
                    <a:pos x="258" y="0"/>
                  </a:cxn>
                  <a:cxn ang="0">
                    <a:pos x="244" y="4"/>
                  </a:cxn>
                  <a:cxn ang="0">
                    <a:pos x="234" y="16"/>
                  </a:cxn>
                  <a:cxn ang="0">
                    <a:pos x="202" y="12"/>
                  </a:cxn>
                  <a:cxn ang="0">
                    <a:pos x="160" y="18"/>
                  </a:cxn>
                  <a:cxn ang="0">
                    <a:pos x="128" y="38"/>
                  </a:cxn>
                  <a:cxn ang="0">
                    <a:pos x="102" y="58"/>
                  </a:cxn>
                  <a:cxn ang="0">
                    <a:pos x="82" y="66"/>
                  </a:cxn>
                  <a:cxn ang="0">
                    <a:pos x="66" y="78"/>
                  </a:cxn>
                  <a:cxn ang="0">
                    <a:pos x="44" y="90"/>
                  </a:cxn>
                  <a:cxn ang="0">
                    <a:pos x="28" y="86"/>
                  </a:cxn>
                  <a:cxn ang="0">
                    <a:pos x="12" y="96"/>
                  </a:cxn>
                  <a:cxn ang="0">
                    <a:pos x="2" y="112"/>
                  </a:cxn>
                  <a:cxn ang="0">
                    <a:pos x="14" y="116"/>
                  </a:cxn>
                </a:cxnLst>
                <a:rect l="0" t="0" r="r" b="b"/>
                <a:pathLst>
                  <a:path w="300" h="138">
                    <a:moveTo>
                      <a:pt x="14" y="120"/>
                    </a:moveTo>
                    <a:lnTo>
                      <a:pt x="14" y="120"/>
                    </a:lnTo>
                    <a:lnTo>
                      <a:pt x="12" y="124"/>
                    </a:lnTo>
                    <a:lnTo>
                      <a:pt x="12" y="126"/>
                    </a:lnTo>
                    <a:lnTo>
                      <a:pt x="14" y="128"/>
                    </a:lnTo>
                    <a:lnTo>
                      <a:pt x="16" y="130"/>
                    </a:lnTo>
                    <a:lnTo>
                      <a:pt x="24" y="128"/>
                    </a:lnTo>
                    <a:lnTo>
                      <a:pt x="36" y="120"/>
                    </a:lnTo>
                    <a:lnTo>
                      <a:pt x="36" y="120"/>
                    </a:lnTo>
                    <a:lnTo>
                      <a:pt x="42" y="118"/>
                    </a:lnTo>
                    <a:lnTo>
                      <a:pt x="46" y="116"/>
                    </a:lnTo>
                    <a:lnTo>
                      <a:pt x="50" y="118"/>
                    </a:lnTo>
                    <a:lnTo>
                      <a:pt x="52" y="118"/>
                    </a:lnTo>
                    <a:lnTo>
                      <a:pt x="60" y="124"/>
                    </a:lnTo>
                    <a:lnTo>
                      <a:pt x="66" y="124"/>
                    </a:lnTo>
                    <a:lnTo>
                      <a:pt x="72" y="126"/>
                    </a:lnTo>
                    <a:lnTo>
                      <a:pt x="72" y="126"/>
                    </a:lnTo>
                    <a:lnTo>
                      <a:pt x="76" y="124"/>
                    </a:lnTo>
                    <a:lnTo>
                      <a:pt x="82" y="122"/>
                    </a:lnTo>
                    <a:lnTo>
                      <a:pt x="86" y="116"/>
                    </a:lnTo>
                    <a:lnTo>
                      <a:pt x="88" y="114"/>
                    </a:lnTo>
                    <a:lnTo>
                      <a:pt x="90" y="114"/>
                    </a:lnTo>
                    <a:lnTo>
                      <a:pt x="94" y="122"/>
                    </a:lnTo>
                    <a:lnTo>
                      <a:pt x="94" y="122"/>
                    </a:lnTo>
                    <a:lnTo>
                      <a:pt x="98" y="130"/>
                    </a:lnTo>
                    <a:lnTo>
                      <a:pt x="104" y="134"/>
                    </a:lnTo>
                    <a:lnTo>
                      <a:pt x="112" y="138"/>
                    </a:lnTo>
                    <a:lnTo>
                      <a:pt x="118" y="138"/>
                    </a:lnTo>
                    <a:lnTo>
                      <a:pt x="126" y="136"/>
                    </a:lnTo>
                    <a:lnTo>
                      <a:pt x="132" y="132"/>
                    </a:lnTo>
                    <a:lnTo>
                      <a:pt x="136" y="124"/>
                    </a:lnTo>
                    <a:lnTo>
                      <a:pt x="138" y="114"/>
                    </a:lnTo>
                    <a:lnTo>
                      <a:pt x="138" y="114"/>
                    </a:lnTo>
                    <a:lnTo>
                      <a:pt x="138" y="106"/>
                    </a:lnTo>
                    <a:lnTo>
                      <a:pt x="140" y="104"/>
                    </a:lnTo>
                    <a:lnTo>
                      <a:pt x="146" y="110"/>
                    </a:lnTo>
                    <a:lnTo>
                      <a:pt x="150" y="114"/>
                    </a:lnTo>
                    <a:lnTo>
                      <a:pt x="154" y="114"/>
                    </a:lnTo>
                    <a:lnTo>
                      <a:pt x="156" y="114"/>
                    </a:lnTo>
                    <a:lnTo>
                      <a:pt x="160" y="112"/>
                    </a:lnTo>
                    <a:lnTo>
                      <a:pt x="164" y="108"/>
                    </a:lnTo>
                    <a:lnTo>
                      <a:pt x="174" y="94"/>
                    </a:lnTo>
                    <a:lnTo>
                      <a:pt x="174" y="94"/>
                    </a:lnTo>
                    <a:lnTo>
                      <a:pt x="180" y="82"/>
                    </a:lnTo>
                    <a:lnTo>
                      <a:pt x="182" y="76"/>
                    </a:lnTo>
                    <a:lnTo>
                      <a:pt x="182" y="68"/>
                    </a:lnTo>
                    <a:lnTo>
                      <a:pt x="184" y="66"/>
                    </a:lnTo>
                    <a:lnTo>
                      <a:pt x="186" y="66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206" y="56"/>
                    </a:lnTo>
                    <a:lnTo>
                      <a:pt x="208" y="58"/>
                    </a:lnTo>
                    <a:lnTo>
                      <a:pt x="210" y="58"/>
                    </a:lnTo>
                    <a:lnTo>
                      <a:pt x="208" y="64"/>
                    </a:lnTo>
                    <a:lnTo>
                      <a:pt x="206" y="72"/>
                    </a:lnTo>
                    <a:lnTo>
                      <a:pt x="204" y="80"/>
                    </a:lnTo>
                    <a:lnTo>
                      <a:pt x="206" y="88"/>
                    </a:lnTo>
                    <a:lnTo>
                      <a:pt x="208" y="92"/>
                    </a:lnTo>
                    <a:lnTo>
                      <a:pt x="210" y="94"/>
                    </a:lnTo>
                    <a:lnTo>
                      <a:pt x="214" y="96"/>
                    </a:lnTo>
                    <a:lnTo>
                      <a:pt x="222" y="98"/>
                    </a:lnTo>
                    <a:lnTo>
                      <a:pt x="222" y="98"/>
                    </a:lnTo>
                    <a:lnTo>
                      <a:pt x="236" y="100"/>
                    </a:lnTo>
                    <a:lnTo>
                      <a:pt x="242" y="98"/>
                    </a:lnTo>
                    <a:lnTo>
                      <a:pt x="246" y="96"/>
                    </a:lnTo>
                    <a:lnTo>
                      <a:pt x="244" y="92"/>
                    </a:lnTo>
                    <a:lnTo>
                      <a:pt x="244" y="86"/>
                    </a:lnTo>
                    <a:lnTo>
                      <a:pt x="244" y="82"/>
                    </a:lnTo>
                    <a:lnTo>
                      <a:pt x="246" y="80"/>
                    </a:lnTo>
                    <a:lnTo>
                      <a:pt x="254" y="78"/>
                    </a:lnTo>
                    <a:lnTo>
                      <a:pt x="254" y="78"/>
                    </a:lnTo>
                    <a:lnTo>
                      <a:pt x="274" y="74"/>
                    </a:lnTo>
                    <a:lnTo>
                      <a:pt x="284" y="70"/>
                    </a:lnTo>
                    <a:lnTo>
                      <a:pt x="290" y="66"/>
                    </a:lnTo>
                    <a:lnTo>
                      <a:pt x="294" y="60"/>
                    </a:lnTo>
                    <a:lnTo>
                      <a:pt x="294" y="54"/>
                    </a:lnTo>
                    <a:lnTo>
                      <a:pt x="290" y="48"/>
                    </a:lnTo>
                    <a:lnTo>
                      <a:pt x="280" y="42"/>
                    </a:lnTo>
                    <a:lnTo>
                      <a:pt x="280" y="42"/>
                    </a:lnTo>
                    <a:lnTo>
                      <a:pt x="274" y="38"/>
                    </a:lnTo>
                    <a:lnTo>
                      <a:pt x="272" y="36"/>
                    </a:lnTo>
                    <a:lnTo>
                      <a:pt x="272" y="34"/>
                    </a:lnTo>
                    <a:lnTo>
                      <a:pt x="272" y="32"/>
                    </a:lnTo>
                    <a:lnTo>
                      <a:pt x="278" y="28"/>
                    </a:lnTo>
                    <a:lnTo>
                      <a:pt x="288" y="24"/>
                    </a:lnTo>
                    <a:lnTo>
                      <a:pt x="296" y="22"/>
                    </a:lnTo>
                    <a:lnTo>
                      <a:pt x="300" y="18"/>
                    </a:lnTo>
                    <a:lnTo>
                      <a:pt x="300" y="16"/>
                    </a:lnTo>
                    <a:lnTo>
                      <a:pt x="298" y="14"/>
                    </a:lnTo>
                    <a:lnTo>
                      <a:pt x="288" y="8"/>
                    </a:lnTo>
                    <a:lnTo>
                      <a:pt x="288" y="8"/>
                    </a:lnTo>
                    <a:lnTo>
                      <a:pt x="266" y="0"/>
                    </a:lnTo>
                    <a:lnTo>
                      <a:pt x="258" y="0"/>
                    </a:lnTo>
                    <a:lnTo>
                      <a:pt x="254" y="0"/>
                    </a:lnTo>
                    <a:lnTo>
                      <a:pt x="248" y="2"/>
                    </a:lnTo>
                    <a:lnTo>
                      <a:pt x="244" y="4"/>
                    </a:lnTo>
                    <a:lnTo>
                      <a:pt x="238" y="14"/>
                    </a:lnTo>
                    <a:lnTo>
                      <a:pt x="238" y="14"/>
                    </a:lnTo>
                    <a:lnTo>
                      <a:pt x="234" y="16"/>
                    </a:lnTo>
                    <a:lnTo>
                      <a:pt x="232" y="16"/>
                    </a:lnTo>
                    <a:lnTo>
                      <a:pt x="224" y="16"/>
                    </a:lnTo>
                    <a:lnTo>
                      <a:pt x="202" y="12"/>
                    </a:lnTo>
                    <a:lnTo>
                      <a:pt x="186" y="12"/>
                    </a:lnTo>
                    <a:lnTo>
                      <a:pt x="170" y="14"/>
                    </a:lnTo>
                    <a:lnTo>
                      <a:pt x="160" y="18"/>
                    </a:lnTo>
                    <a:lnTo>
                      <a:pt x="150" y="22"/>
                    </a:lnTo>
                    <a:lnTo>
                      <a:pt x="140" y="28"/>
                    </a:lnTo>
                    <a:lnTo>
                      <a:pt x="128" y="38"/>
                    </a:lnTo>
                    <a:lnTo>
                      <a:pt x="128" y="38"/>
                    </a:lnTo>
                    <a:lnTo>
                      <a:pt x="112" y="50"/>
                    </a:lnTo>
                    <a:lnTo>
                      <a:pt x="102" y="58"/>
                    </a:lnTo>
                    <a:lnTo>
                      <a:pt x="94" y="62"/>
                    </a:lnTo>
                    <a:lnTo>
                      <a:pt x="90" y="62"/>
                    </a:lnTo>
                    <a:lnTo>
                      <a:pt x="82" y="66"/>
                    </a:lnTo>
                    <a:lnTo>
                      <a:pt x="76" y="70"/>
                    </a:lnTo>
                    <a:lnTo>
                      <a:pt x="66" y="78"/>
                    </a:lnTo>
                    <a:lnTo>
                      <a:pt x="66" y="78"/>
                    </a:lnTo>
                    <a:lnTo>
                      <a:pt x="58" y="86"/>
                    </a:lnTo>
                    <a:lnTo>
                      <a:pt x="50" y="88"/>
                    </a:lnTo>
                    <a:lnTo>
                      <a:pt x="44" y="90"/>
                    </a:lnTo>
                    <a:lnTo>
                      <a:pt x="38" y="88"/>
                    </a:lnTo>
                    <a:lnTo>
                      <a:pt x="34" y="86"/>
                    </a:lnTo>
                    <a:lnTo>
                      <a:pt x="28" y="86"/>
                    </a:lnTo>
                    <a:lnTo>
                      <a:pt x="20" y="90"/>
                    </a:lnTo>
                    <a:lnTo>
                      <a:pt x="12" y="96"/>
                    </a:lnTo>
                    <a:lnTo>
                      <a:pt x="12" y="96"/>
                    </a:lnTo>
                    <a:lnTo>
                      <a:pt x="4" y="104"/>
                    </a:lnTo>
                    <a:lnTo>
                      <a:pt x="0" y="108"/>
                    </a:lnTo>
                    <a:lnTo>
                      <a:pt x="2" y="112"/>
                    </a:lnTo>
                    <a:lnTo>
                      <a:pt x="4" y="112"/>
                    </a:lnTo>
                    <a:lnTo>
                      <a:pt x="12" y="114"/>
                    </a:lnTo>
                    <a:lnTo>
                      <a:pt x="14" y="116"/>
                    </a:lnTo>
                    <a:lnTo>
                      <a:pt x="14" y="120"/>
                    </a:lnTo>
                    <a:lnTo>
                      <a:pt x="14" y="1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7" name="Freeform 6019">
                <a:extLst>
                  <a:ext uri="{FF2B5EF4-FFF2-40B4-BE49-F238E27FC236}">
                    <a16:creationId xmlns:a16="http://schemas.microsoft.com/office/drawing/2014/main" id="{121433AC-5C33-4F98-9C32-65970333AD68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8120" y="1056323"/>
                <a:ext cx="35560" cy="10160"/>
              </a:xfrm>
              <a:custGeom>
                <a:avLst/>
                <a:gdLst/>
                <a:ahLst/>
                <a:cxnLst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4" y="14"/>
                  </a:cxn>
                  <a:cxn ang="0">
                    <a:pos x="18" y="16"/>
                  </a:cxn>
                  <a:cxn ang="0">
                    <a:pos x="38" y="16"/>
                  </a:cxn>
                  <a:cxn ang="0">
                    <a:pos x="46" y="14"/>
                  </a:cxn>
                  <a:cxn ang="0">
                    <a:pos x="54" y="12"/>
                  </a:cxn>
                  <a:cxn ang="0">
                    <a:pos x="54" y="12"/>
                  </a:cxn>
                  <a:cxn ang="0">
                    <a:pos x="56" y="10"/>
                  </a:cxn>
                  <a:cxn ang="0">
                    <a:pos x="56" y="8"/>
                  </a:cxn>
                  <a:cxn ang="0">
                    <a:pos x="54" y="6"/>
                  </a:cxn>
                  <a:cxn ang="0">
                    <a:pos x="46" y="2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2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</a:cxnLst>
                <a:rect l="0" t="0" r="r" b="b"/>
                <a:pathLst>
                  <a:path w="56" h="16">
                    <a:moveTo>
                      <a:pt x="0" y="8"/>
                    </a:moveTo>
                    <a:lnTo>
                      <a:pt x="0" y="8"/>
                    </a:lnTo>
                    <a:lnTo>
                      <a:pt x="0" y="12"/>
                    </a:lnTo>
                    <a:lnTo>
                      <a:pt x="4" y="14"/>
                    </a:lnTo>
                    <a:lnTo>
                      <a:pt x="18" y="16"/>
                    </a:lnTo>
                    <a:lnTo>
                      <a:pt x="38" y="16"/>
                    </a:lnTo>
                    <a:lnTo>
                      <a:pt x="46" y="14"/>
                    </a:lnTo>
                    <a:lnTo>
                      <a:pt x="54" y="12"/>
                    </a:lnTo>
                    <a:lnTo>
                      <a:pt x="54" y="12"/>
                    </a:lnTo>
                    <a:lnTo>
                      <a:pt x="56" y="10"/>
                    </a:lnTo>
                    <a:lnTo>
                      <a:pt x="56" y="8"/>
                    </a:lnTo>
                    <a:lnTo>
                      <a:pt x="54" y="6"/>
                    </a:lnTo>
                    <a:lnTo>
                      <a:pt x="46" y="2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2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8" name="Freeform 6020">
                <a:extLst>
                  <a:ext uri="{FF2B5EF4-FFF2-40B4-BE49-F238E27FC236}">
                    <a16:creationId xmlns:a16="http://schemas.microsoft.com/office/drawing/2014/main" id="{B658DF8B-DDE4-4B66-960F-B7FEFC8EE0E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464310" y="996633"/>
                <a:ext cx="34290" cy="19050"/>
              </a:xfrm>
              <a:custGeom>
                <a:avLst/>
                <a:gdLst/>
                <a:ahLst/>
                <a:cxnLst>
                  <a:cxn ang="0">
                    <a:pos x="42" y="30"/>
                  </a:cxn>
                  <a:cxn ang="0">
                    <a:pos x="42" y="30"/>
                  </a:cxn>
                  <a:cxn ang="0">
                    <a:pos x="52" y="28"/>
                  </a:cxn>
                  <a:cxn ang="0">
                    <a:pos x="54" y="26"/>
                  </a:cxn>
                  <a:cxn ang="0">
                    <a:pos x="54" y="24"/>
                  </a:cxn>
                  <a:cxn ang="0">
                    <a:pos x="50" y="18"/>
                  </a:cxn>
                  <a:cxn ang="0">
                    <a:pos x="40" y="8"/>
                  </a:cxn>
                  <a:cxn ang="0">
                    <a:pos x="40" y="8"/>
                  </a:cxn>
                  <a:cxn ang="0">
                    <a:pos x="34" y="4"/>
                  </a:cxn>
                  <a:cxn ang="0">
                    <a:pos x="26" y="0"/>
                  </a:cxn>
                  <a:cxn ang="0">
                    <a:pos x="22" y="0"/>
                  </a:cxn>
                  <a:cxn ang="0">
                    <a:pos x="16" y="0"/>
                  </a:cxn>
                  <a:cxn ang="0">
                    <a:pos x="6" y="4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8" y="22"/>
                  </a:cxn>
                  <a:cxn ang="0">
                    <a:pos x="24" y="28"/>
                  </a:cxn>
                  <a:cxn ang="0">
                    <a:pos x="32" y="28"/>
                  </a:cxn>
                  <a:cxn ang="0">
                    <a:pos x="42" y="30"/>
                  </a:cxn>
                  <a:cxn ang="0">
                    <a:pos x="42" y="30"/>
                  </a:cxn>
                </a:cxnLst>
                <a:rect l="0" t="0" r="r" b="b"/>
                <a:pathLst>
                  <a:path w="54" h="30">
                    <a:moveTo>
                      <a:pt x="42" y="30"/>
                    </a:moveTo>
                    <a:lnTo>
                      <a:pt x="42" y="30"/>
                    </a:lnTo>
                    <a:lnTo>
                      <a:pt x="52" y="28"/>
                    </a:lnTo>
                    <a:lnTo>
                      <a:pt x="54" y="26"/>
                    </a:lnTo>
                    <a:lnTo>
                      <a:pt x="54" y="24"/>
                    </a:lnTo>
                    <a:lnTo>
                      <a:pt x="50" y="18"/>
                    </a:lnTo>
                    <a:lnTo>
                      <a:pt x="40" y="8"/>
                    </a:lnTo>
                    <a:lnTo>
                      <a:pt x="40" y="8"/>
                    </a:lnTo>
                    <a:lnTo>
                      <a:pt x="34" y="4"/>
                    </a:lnTo>
                    <a:lnTo>
                      <a:pt x="26" y="0"/>
                    </a:lnTo>
                    <a:lnTo>
                      <a:pt x="22" y="0"/>
                    </a:lnTo>
                    <a:lnTo>
                      <a:pt x="16" y="0"/>
                    </a:lnTo>
                    <a:lnTo>
                      <a:pt x="6" y="4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8" y="22"/>
                    </a:lnTo>
                    <a:lnTo>
                      <a:pt x="24" y="28"/>
                    </a:lnTo>
                    <a:lnTo>
                      <a:pt x="32" y="28"/>
                    </a:lnTo>
                    <a:lnTo>
                      <a:pt x="42" y="30"/>
                    </a:lnTo>
                    <a:lnTo>
                      <a:pt x="42" y="3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49" name="Freeform 6021">
                <a:extLst>
                  <a:ext uri="{FF2B5EF4-FFF2-40B4-BE49-F238E27FC236}">
                    <a16:creationId xmlns:a16="http://schemas.microsoft.com/office/drawing/2014/main" id="{5C8312D8-418E-4236-87A8-9F813F1D6B1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4950" y="994093"/>
                <a:ext cx="97790" cy="39370"/>
              </a:xfrm>
              <a:custGeom>
                <a:avLst/>
                <a:gdLst/>
                <a:ahLst/>
                <a:cxnLst>
                  <a:cxn ang="0">
                    <a:pos x="106" y="56"/>
                  </a:cxn>
                  <a:cxn ang="0">
                    <a:pos x="106" y="56"/>
                  </a:cxn>
                  <a:cxn ang="0">
                    <a:pos x="120" y="52"/>
                  </a:cxn>
                  <a:cxn ang="0">
                    <a:pos x="130" y="48"/>
                  </a:cxn>
                  <a:cxn ang="0">
                    <a:pos x="136" y="44"/>
                  </a:cxn>
                  <a:cxn ang="0">
                    <a:pos x="138" y="40"/>
                  </a:cxn>
                  <a:cxn ang="0">
                    <a:pos x="138" y="34"/>
                  </a:cxn>
                  <a:cxn ang="0">
                    <a:pos x="132" y="30"/>
                  </a:cxn>
                  <a:cxn ang="0">
                    <a:pos x="124" y="28"/>
                  </a:cxn>
                  <a:cxn ang="0">
                    <a:pos x="114" y="26"/>
                  </a:cxn>
                  <a:cxn ang="0">
                    <a:pos x="114" y="26"/>
                  </a:cxn>
                  <a:cxn ang="0">
                    <a:pos x="104" y="24"/>
                  </a:cxn>
                  <a:cxn ang="0">
                    <a:pos x="104" y="24"/>
                  </a:cxn>
                  <a:cxn ang="0">
                    <a:pos x="118" y="22"/>
                  </a:cxn>
                  <a:cxn ang="0">
                    <a:pos x="138" y="16"/>
                  </a:cxn>
                  <a:cxn ang="0">
                    <a:pos x="148" y="12"/>
                  </a:cxn>
                  <a:cxn ang="0">
                    <a:pos x="152" y="8"/>
                  </a:cxn>
                  <a:cxn ang="0">
                    <a:pos x="152" y="8"/>
                  </a:cxn>
                  <a:cxn ang="0">
                    <a:pos x="154" y="4"/>
                  </a:cxn>
                  <a:cxn ang="0">
                    <a:pos x="152" y="2"/>
                  </a:cxn>
                  <a:cxn ang="0">
                    <a:pos x="148" y="0"/>
                  </a:cxn>
                  <a:cxn ang="0">
                    <a:pos x="138" y="0"/>
                  </a:cxn>
                  <a:cxn ang="0">
                    <a:pos x="124" y="0"/>
                  </a:cxn>
                  <a:cxn ang="0">
                    <a:pos x="90" y="4"/>
                  </a:cxn>
                  <a:cxn ang="0">
                    <a:pos x="50" y="8"/>
                  </a:cxn>
                  <a:cxn ang="0">
                    <a:pos x="50" y="8"/>
                  </a:cxn>
                  <a:cxn ang="0">
                    <a:pos x="18" y="14"/>
                  </a:cxn>
                  <a:cxn ang="0">
                    <a:pos x="8" y="18"/>
                  </a:cxn>
                  <a:cxn ang="0">
                    <a:pos x="4" y="22"/>
                  </a:cxn>
                  <a:cxn ang="0">
                    <a:pos x="0" y="26"/>
                  </a:cxn>
                  <a:cxn ang="0">
                    <a:pos x="0" y="30"/>
                  </a:cxn>
                  <a:cxn ang="0">
                    <a:pos x="8" y="46"/>
                  </a:cxn>
                  <a:cxn ang="0">
                    <a:pos x="8" y="46"/>
                  </a:cxn>
                  <a:cxn ang="0">
                    <a:pos x="14" y="52"/>
                  </a:cxn>
                  <a:cxn ang="0">
                    <a:pos x="22" y="58"/>
                  </a:cxn>
                  <a:cxn ang="0">
                    <a:pos x="32" y="60"/>
                  </a:cxn>
                  <a:cxn ang="0">
                    <a:pos x="46" y="62"/>
                  </a:cxn>
                  <a:cxn ang="0">
                    <a:pos x="74" y="60"/>
                  </a:cxn>
                  <a:cxn ang="0">
                    <a:pos x="106" y="56"/>
                  </a:cxn>
                  <a:cxn ang="0">
                    <a:pos x="106" y="56"/>
                  </a:cxn>
                </a:cxnLst>
                <a:rect l="0" t="0" r="r" b="b"/>
                <a:pathLst>
                  <a:path w="154" h="62">
                    <a:moveTo>
                      <a:pt x="106" y="56"/>
                    </a:moveTo>
                    <a:lnTo>
                      <a:pt x="106" y="56"/>
                    </a:lnTo>
                    <a:lnTo>
                      <a:pt x="120" y="52"/>
                    </a:lnTo>
                    <a:lnTo>
                      <a:pt x="130" y="48"/>
                    </a:lnTo>
                    <a:lnTo>
                      <a:pt x="136" y="44"/>
                    </a:lnTo>
                    <a:lnTo>
                      <a:pt x="138" y="40"/>
                    </a:lnTo>
                    <a:lnTo>
                      <a:pt x="138" y="34"/>
                    </a:lnTo>
                    <a:lnTo>
                      <a:pt x="132" y="30"/>
                    </a:lnTo>
                    <a:lnTo>
                      <a:pt x="124" y="28"/>
                    </a:lnTo>
                    <a:lnTo>
                      <a:pt x="114" y="26"/>
                    </a:lnTo>
                    <a:lnTo>
                      <a:pt x="114" y="26"/>
                    </a:lnTo>
                    <a:lnTo>
                      <a:pt x="104" y="24"/>
                    </a:lnTo>
                    <a:lnTo>
                      <a:pt x="104" y="24"/>
                    </a:lnTo>
                    <a:lnTo>
                      <a:pt x="118" y="22"/>
                    </a:lnTo>
                    <a:lnTo>
                      <a:pt x="138" y="16"/>
                    </a:lnTo>
                    <a:lnTo>
                      <a:pt x="148" y="12"/>
                    </a:lnTo>
                    <a:lnTo>
                      <a:pt x="152" y="8"/>
                    </a:lnTo>
                    <a:lnTo>
                      <a:pt x="152" y="8"/>
                    </a:lnTo>
                    <a:lnTo>
                      <a:pt x="154" y="4"/>
                    </a:lnTo>
                    <a:lnTo>
                      <a:pt x="152" y="2"/>
                    </a:lnTo>
                    <a:lnTo>
                      <a:pt x="148" y="0"/>
                    </a:lnTo>
                    <a:lnTo>
                      <a:pt x="138" y="0"/>
                    </a:lnTo>
                    <a:lnTo>
                      <a:pt x="124" y="0"/>
                    </a:lnTo>
                    <a:lnTo>
                      <a:pt x="90" y="4"/>
                    </a:lnTo>
                    <a:lnTo>
                      <a:pt x="50" y="8"/>
                    </a:lnTo>
                    <a:lnTo>
                      <a:pt x="50" y="8"/>
                    </a:lnTo>
                    <a:lnTo>
                      <a:pt x="18" y="14"/>
                    </a:lnTo>
                    <a:lnTo>
                      <a:pt x="8" y="18"/>
                    </a:lnTo>
                    <a:lnTo>
                      <a:pt x="4" y="22"/>
                    </a:lnTo>
                    <a:lnTo>
                      <a:pt x="0" y="26"/>
                    </a:lnTo>
                    <a:lnTo>
                      <a:pt x="0" y="30"/>
                    </a:lnTo>
                    <a:lnTo>
                      <a:pt x="8" y="46"/>
                    </a:lnTo>
                    <a:lnTo>
                      <a:pt x="8" y="46"/>
                    </a:lnTo>
                    <a:lnTo>
                      <a:pt x="14" y="52"/>
                    </a:lnTo>
                    <a:lnTo>
                      <a:pt x="22" y="58"/>
                    </a:lnTo>
                    <a:lnTo>
                      <a:pt x="32" y="60"/>
                    </a:lnTo>
                    <a:lnTo>
                      <a:pt x="46" y="62"/>
                    </a:lnTo>
                    <a:lnTo>
                      <a:pt x="74" y="60"/>
                    </a:lnTo>
                    <a:lnTo>
                      <a:pt x="106" y="56"/>
                    </a:lnTo>
                    <a:lnTo>
                      <a:pt x="106" y="5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0" name="Freeform 6022">
                <a:extLst>
                  <a:ext uri="{FF2B5EF4-FFF2-40B4-BE49-F238E27FC236}">
                    <a16:creationId xmlns:a16="http://schemas.microsoft.com/office/drawing/2014/main" id="{0188874E-4B04-4BE2-986B-220C901DE85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2920" y="1067753"/>
                <a:ext cx="143510" cy="87630"/>
              </a:xfrm>
              <a:custGeom>
                <a:avLst/>
                <a:gdLst/>
                <a:ahLst/>
                <a:cxnLst>
                  <a:cxn ang="0">
                    <a:pos x="144" y="12"/>
                  </a:cxn>
                  <a:cxn ang="0">
                    <a:pos x="130" y="4"/>
                  </a:cxn>
                  <a:cxn ang="0">
                    <a:pos x="104" y="4"/>
                  </a:cxn>
                  <a:cxn ang="0">
                    <a:pos x="88" y="8"/>
                  </a:cxn>
                  <a:cxn ang="0">
                    <a:pos x="78" y="14"/>
                  </a:cxn>
                  <a:cxn ang="0">
                    <a:pos x="84" y="22"/>
                  </a:cxn>
                  <a:cxn ang="0">
                    <a:pos x="124" y="62"/>
                  </a:cxn>
                  <a:cxn ang="0">
                    <a:pos x="102" y="50"/>
                  </a:cxn>
                  <a:cxn ang="0">
                    <a:pos x="82" y="34"/>
                  </a:cxn>
                  <a:cxn ang="0">
                    <a:pos x="74" y="24"/>
                  </a:cxn>
                  <a:cxn ang="0">
                    <a:pos x="64" y="20"/>
                  </a:cxn>
                  <a:cxn ang="0">
                    <a:pos x="54" y="18"/>
                  </a:cxn>
                  <a:cxn ang="0">
                    <a:pos x="32" y="20"/>
                  </a:cxn>
                  <a:cxn ang="0">
                    <a:pos x="26" y="26"/>
                  </a:cxn>
                  <a:cxn ang="0">
                    <a:pos x="32" y="36"/>
                  </a:cxn>
                  <a:cxn ang="0">
                    <a:pos x="46" y="52"/>
                  </a:cxn>
                  <a:cxn ang="0">
                    <a:pos x="56" y="64"/>
                  </a:cxn>
                  <a:cxn ang="0">
                    <a:pos x="42" y="60"/>
                  </a:cxn>
                  <a:cxn ang="0">
                    <a:pos x="32" y="62"/>
                  </a:cxn>
                  <a:cxn ang="0">
                    <a:pos x="26" y="66"/>
                  </a:cxn>
                  <a:cxn ang="0">
                    <a:pos x="8" y="74"/>
                  </a:cxn>
                  <a:cxn ang="0">
                    <a:pos x="0" y="78"/>
                  </a:cxn>
                  <a:cxn ang="0">
                    <a:pos x="4" y="86"/>
                  </a:cxn>
                  <a:cxn ang="0">
                    <a:pos x="8" y="88"/>
                  </a:cxn>
                  <a:cxn ang="0">
                    <a:pos x="26" y="90"/>
                  </a:cxn>
                  <a:cxn ang="0">
                    <a:pos x="66" y="86"/>
                  </a:cxn>
                  <a:cxn ang="0">
                    <a:pos x="122" y="76"/>
                  </a:cxn>
                  <a:cxn ang="0">
                    <a:pos x="136" y="76"/>
                  </a:cxn>
                  <a:cxn ang="0">
                    <a:pos x="138" y="80"/>
                  </a:cxn>
                  <a:cxn ang="0">
                    <a:pos x="106" y="90"/>
                  </a:cxn>
                  <a:cxn ang="0">
                    <a:pos x="92" y="98"/>
                  </a:cxn>
                  <a:cxn ang="0">
                    <a:pos x="90" y="104"/>
                  </a:cxn>
                  <a:cxn ang="0">
                    <a:pos x="92" y="106"/>
                  </a:cxn>
                  <a:cxn ang="0">
                    <a:pos x="100" y="120"/>
                  </a:cxn>
                  <a:cxn ang="0">
                    <a:pos x="104" y="136"/>
                  </a:cxn>
                  <a:cxn ang="0">
                    <a:pos x="116" y="136"/>
                  </a:cxn>
                  <a:cxn ang="0">
                    <a:pos x="126" y="134"/>
                  </a:cxn>
                  <a:cxn ang="0">
                    <a:pos x="142" y="128"/>
                  </a:cxn>
                  <a:cxn ang="0">
                    <a:pos x="166" y="132"/>
                  </a:cxn>
                  <a:cxn ang="0">
                    <a:pos x="200" y="128"/>
                  </a:cxn>
                  <a:cxn ang="0">
                    <a:pos x="208" y="122"/>
                  </a:cxn>
                  <a:cxn ang="0">
                    <a:pos x="208" y="112"/>
                  </a:cxn>
                  <a:cxn ang="0">
                    <a:pos x="202" y="100"/>
                  </a:cxn>
                  <a:cxn ang="0">
                    <a:pos x="202" y="88"/>
                  </a:cxn>
                  <a:cxn ang="0">
                    <a:pos x="210" y="88"/>
                  </a:cxn>
                  <a:cxn ang="0">
                    <a:pos x="214" y="92"/>
                  </a:cxn>
                  <a:cxn ang="0">
                    <a:pos x="226" y="98"/>
                  </a:cxn>
                  <a:cxn ang="0">
                    <a:pos x="224" y="90"/>
                  </a:cxn>
                  <a:cxn ang="0">
                    <a:pos x="216" y="76"/>
                  </a:cxn>
                  <a:cxn ang="0">
                    <a:pos x="212" y="60"/>
                  </a:cxn>
                  <a:cxn ang="0">
                    <a:pos x="208" y="30"/>
                  </a:cxn>
                  <a:cxn ang="0">
                    <a:pos x="196" y="10"/>
                  </a:cxn>
                  <a:cxn ang="0">
                    <a:pos x="184" y="4"/>
                  </a:cxn>
                  <a:cxn ang="0">
                    <a:pos x="164" y="0"/>
                  </a:cxn>
                  <a:cxn ang="0">
                    <a:pos x="156" y="6"/>
                  </a:cxn>
                  <a:cxn ang="0">
                    <a:pos x="148" y="14"/>
                  </a:cxn>
                  <a:cxn ang="0">
                    <a:pos x="144" y="12"/>
                  </a:cxn>
                </a:cxnLst>
                <a:rect l="0" t="0" r="r" b="b"/>
                <a:pathLst>
                  <a:path w="226" h="138">
                    <a:moveTo>
                      <a:pt x="144" y="12"/>
                    </a:moveTo>
                    <a:lnTo>
                      <a:pt x="144" y="12"/>
                    </a:lnTo>
                    <a:lnTo>
                      <a:pt x="138" y="6"/>
                    </a:lnTo>
                    <a:lnTo>
                      <a:pt x="130" y="4"/>
                    </a:lnTo>
                    <a:lnTo>
                      <a:pt x="118" y="2"/>
                    </a:lnTo>
                    <a:lnTo>
                      <a:pt x="104" y="4"/>
                    </a:lnTo>
                    <a:lnTo>
                      <a:pt x="88" y="8"/>
                    </a:lnTo>
                    <a:lnTo>
                      <a:pt x="88" y="8"/>
                    </a:lnTo>
                    <a:lnTo>
                      <a:pt x="80" y="10"/>
                    </a:lnTo>
                    <a:lnTo>
                      <a:pt x="78" y="14"/>
                    </a:lnTo>
                    <a:lnTo>
                      <a:pt x="80" y="18"/>
                    </a:lnTo>
                    <a:lnTo>
                      <a:pt x="84" y="22"/>
                    </a:lnTo>
                    <a:lnTo>
                      <a:pt x="102" y="38"/>
                    </a:lnTo>
                    <a:lnTo>
                      <a:pt x="124" y="62"/>
                    </a:lnTo>
                    <a:lnTo>
                      <a:pt x="124" y="62"/>
                    </a:lnTo>
                    <a:lnTo>
                      <a:pt x="102" y="50"/>
                    </a:lnTo>
                    <a:lnTo>
                      <a:pt x="90" y="42"/>
                    </a:lnTo>
                    <a:lnTo>
                      <a:pt x="82" y="34"/>
                    </a:lnTo>
                    <a:lnTo>
                      <a:pt x="78" y="28"/>
                    </a:lnTo>
                    <a:lnTo>
                      <a:pt x="74" y="24"/>
                    </a:lnTo>
                    <a:lnTo>
                      <a:pt x="70" y="22"/>
                    </a:lnTo>
                    <a:lnTo>
                      <a:pt x="64" y="20"/>
                    </a:lnTo>
                    <a:lnTo>
                      <a:pt x="54" y="18"/>
                    </a:lnTo>
                    <a:lnTo>
                      <a:pt x="54" y="18"/>
                    </a:lnTo>
                    <a:lnTo>
                      <a:pt x="40" y="18"/>
                    </a:lnTo>
                    <a:lnTo>
                      <a:pt x="32" y="20"/>
                    </a:lnTo>
                    <a:lnTo>
                      <a:pt x="28" y="22"/>
                    </a:lnTo>
                    <a:lnTo>
                      <a:pt x="26" y="26"/>
                    </a:lnTo>
                    <a:lnTo>
                      <a:pt x="28" y="30"/>
                    </a:lnTo>
                    <a:lnTo>
                      <a:pt x="32" y="36"/>
                    </a:lnTo>
                    <a:lnTo>
                      <a:pt x="46" y="52"/>
                    </a:lnTo>
                    <a:lnTo>
                      <a:pt x="46" y="52"/>
                    </a:lnTo>
                    <a:lnTo>
                      <a:pt x="56" y="64"/>
                    </a:lnTo>
                    <a:lnTo>
                      <a:pt x="56" y="64"/>
                    </a:lnTo>
                    <a:lnTo>
                      <a:pt x="52" y="62"/>
                    </a:lnTo>
                    <a:lnTo>
                      <a:pt x="42" y="60"/>
                    </a:lnTo>
                    <a:lnTo>
                      <a:pt x="36" y="60"/>
                    </a:lnTo>
                    <a:lnTo>
                      <a:pt x="32" y="62"/>
                    </a:lnTo>
                    <a:lnTo>
                      <a:pt x="32" y="62"/>
                    </a:lnTo>
                    <a:lnTo>
                      <a:pt x="26" y="66"/>
                    </a:lnTo>
                    <a:lnTo>
                      <a:pt x="20" y="70"/>
                    </a:lnTo>
                    <a:lnTo>
                      <a:pt x="8" y="74"/>
                    </a:lnTo>
                    <a:lnTo>
                      <a:pt x="4" y="76"/>
                    </a:lnTo>
                    <a:lnTo>
                      <a:pt x="0" y="78"/>
                    </a:lnTo>
                    <a:lnTo>
                      <a:pt x="0" y="82"/>
                    </a:lnTo>
                    <a:lnTo>
                      <a:pt x="4" y="86"/>
                    </a:lnTo>
                    <a:lnTo>
                      <a:pt x="4" y="86"/>
                    </a:lnTo>
                    <a:lnTo>
                      <a:pt x="8" y="88"/>
                    </a:lnTo>
                    <a:lnTo>
                      <a:pt x="12" y="90"/>
                    </a:lnTo>
                    <a:lnTo>
                      <a:pt x="26" y="90"/>
                    </a:lnTo>
                    <a:lnTo>
                      <a:pt x="44" y="88"/>
                    </a:lnTo>
                    <a:lnTo>
                      <a:pt x="66" y="86"/>
                    </a:lnTo>
                    <a:lnTo>
                      <a:pt x="106" y="78"/>
                    </a:lnTo>
                    <a:lnTo>
                      <a:pt x="122" y="76"/>
                    </a:lnTo>
                    <a:lnTo>
                      <a:pt x="136" y="76"/>
                    </a:lnTo>
                    <a:lnTo>
                      <a:pt x="136" y="76"/>
                    </a:lnTo>
                    <a:lnTo>
                      <a:pt x="140" y="78"/>
                    </a:lnTo>
                    <a:lnTo>
                      <a:pt x="138" y="80"/>
                    </a:lnTo>
                    <a:lnTo>
                      <a:pt x="118" y="86"/>
                    </a:lnTo>
                    <a:lnTo>
                      <a:pt x="106" y="90"/>
                    </a:lnTo>
                    <a:lnTo>
                      <a:pt x="96" y="94"/>
                    </a:lnTo>
                    <a:lnTo>
                      <a:pt x="92" y="98"/>
                    </a:lnTo>
                    <a:lnTo>
                      <a:pt x="90" y="100"/>
                    </a:lnTo>
                    <a:lnTo>
                      <a:pt x="90" y="104"/>
                    </a:lnTo>
                    <a:lnTo>
                      <a:pt x="92" y="106"/>
                    </a:lnTo>
                    <a:lnTo>
                      <a:pt x="92" y="106"/>
                    </a:lnTo>
                    <a:lnTo>
                      <a:pt x="98" y="114"/>
                    </a:lnTo>
                    <a:lnTo>
                      <a:pt x="100" y="120"/>
                    </a:lnTo>
                    <a:lnTo>
                      <a:pt x="102" y="132"/>
                    </a:lnTo>
                    <a:lnTo>
                      <a:pt x="104" y="136"/>
                    </a:lnTo>
                    <a:lnTo>
                      <a:pt x="108" y="138"/>
                    </a:lnTo>
                    <a:lnTo>
                      <a:pt x="116" y="136"/>
                    </a:lnTo>
                    <a:lnTo>
                      <a:pt x="126" y="134"/>
                    </a:lnTo>
                    <a:lnTo>
                      <a:pt x="126" y="134"/>
                    </a:lnTo>
                    <a:lnTo>
                      <a:pt x="136" y="130"/>
                    </a:lnTo>
                    <a:lnTo>
                      <a:pt x="142" y="128"/>
                    </a:lnTo>
                    <a:lnTo>
                      <a:pt x="166" y="132"/>
                    </a:lnTo>
                    <a:lnTo>
                      <a:pt x="166" y="132"/>
                    </a:lnTo>
                    <a:lnTo>
                      <a:pt x="184" y="132"/>
                    </a:lnTo>
                    <a:lnTo>
                      <a:pt x="200" y="128"/>
                    </a:lnTo>
                    <a:lnTo>
                      <a:pt x="206" y="126"/>
                    </a:lnTo>
                    <a:lnTo>
                      <a:pt x="208" y="122"/>
                    </a:lnTo>
                    <a:lnTo>
                      <a:pt x="210" y="118"/>
                    </a:lnTo>
                    <a:lnTo>
                      <a:pt x="208" y="112"/>
                    </a:lnTo>
                    <a:lnTo>
                      <a:pt x="208" y="112"/>
                    </a:lnTo>
                    <a:lnTo>
                      <a:pt x="202" y="100"/>
                    </a:lnTo>
                    <a:lnTo>
                      <a:pt x="202" y="92"/>
                    </a:lnTo>
                    <a:lnTo>
                      <a:pt x="202" y="88"/>
                    </a:lnTo>
                    <a:lnTo>
                      <a:pt x="206" y="88"/>
                    </a:lnTo>
                    <a:lnTo>
                      <a:pt x="210" y="88"/>
                    </a:lnTo>
                    <a:lnTo>
                      <a:pt x="214" y="92"/>
                    </a:lnTo>
                    <a:lnTo>
                      <a:pt x="214" y="92"/>
                    </a:lnTo>
                    <a:lnTo>
                      <a:pt x="224" y="98"/>
                    </a:lnTo>
                    <a:lnTo>
                      <a:pt x="226" y="98"/>
                    </a:lnTo>
                    <a:lnTo>
                      <a:pt x="226" y="98"/>
                    </a:lnTo>
                    <a:lnTo>
                      <a:pt x="224" y="90"/>
                    </a:lnTo>
                    <a:lnTo>
                      <a:pt x="216" y="76"/>
                    </a:lnTo>
                    <a:lnTo>
                      <a:pt x="216" y="76"/>
                    </a:lnTo>
                    <a:lnTo>
                      <a:pt x="214" y="68"/>
                    </a:lnTo>
                    <a:lnTo>
                      <a:pt x="212" y="60"/>
                    </a:lnTo>
                    <a:lnTo>
                      <a:pt x="210" y="40"/>
                    </a:lnTo>
                    <a:lnTo>
                      <a:pt x="208" y="30"/>
                    </a:lnTo>
                    <a:lnTo>
                      <a:pt x="204" y="20"/>
                    </a:lnTo>
                    <a:lnTo>
                      <a:pt x="196" y="10"/>
                    </a:lnTo>
                    <a:lnTo>
                      <a:pt x="184" y="4"/>
                    </a:lnTo>
                    <a:lnTo>
                      <a:pt x="184" y="4"/>
                    </a:lnTo>
                    <a:lnTo>
                      <a:pt x="172" y="0"/>
                    </a:lnTo>
                    <a:lnTo>
                      <a:pt x="164" y="0"/>
                    </a:lnTo>
                    <a:lnTo>
                      <a:pt x="160" y="2"/>
                    </a:lnTo>
                    <a:lnTo>
                      <a:pt x="156" y="6"/>
                    </a:lnTo>
                    <a:lnTo>
                      <a:pt x="152" y="14"/>
                    </a:lnTo>
                    <a:lnTo>
                      <a:pt x="148" y="14"/>
                    </a:lnTo>
                    <a:lnTo>
                      <a:pt x="144" y="12"/>
                    </a:lnTo>
                    <a:lnTo>
                      <a:pt x="144" y="1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1" name="Freeform 6023">
                <a:extLst>
                  <a:ext uri="{FF2B5EF4-FFF2-40B4-BE49-F238E27FC236}">
                    <a16:creationId xmlns:a16="http://schemas.microsoft.com/office/drawing/2014/main" id="{0C27FB5A-4B1B-4915-955A-A44E51B3139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42770" y="887413"/>
                <a:ext cx="36830" cy="25400"/>
              </a:xfrm>
              <a:custGeom>
                <a:avLst/>
                <a:gdLst/>
                <a:ahLst/>
                <a:cxnLst>
                  <a:cxn ang="0">
                    <a:pos x="30" y="32"/>
                  </a:cxn>
                  <a:cxn ang="0">
                    <a:pos x="30" y="32"/>
                  </a:cxn>
                  <a:cxn ang="0">
                    <a:pos x="40" y="38"/>
                  </a:cxn>
                  <a:cxn ang="0">
                    <a:pos x="46" y="40"/>
                  </a:cxn>
                  <a:cxn ang="0">
                    <a:pos x="50" y="40"/>
                  </a:cxn>
                  <a:cxn ang="0">
                    <a:pos x="54" y="38"/>
                  </a:cxn>
                  <a:cxn ang="0">
                    <a:pos x="56" y="34"/>
                  </a:cxn>
                  <a:cxn ang="0">
                    <a:pos x="58" y="28"/>
                  </a:cxn>
                  <a:cxn ang="0">
                    <a:pos x="56" y="20"/>
                  </a:cxn>
                  <a:cxn ang="0">
                    <a:pos x="56" y="20"/>
                  </a:cxn>
                  <a:cxn ang="0">
                    <a:pos x="52" y="12"/>
                  </a:cxn>
                  <a:cxn ang="0">
                    <a:pos x="46" y="6"/>
                  </a:cxn>
                  <a:cxn ang="0">
                    <a:pos x="36" y="2"/>
                  </a:cxn>
                  <a:cxn ang="0">
                    <a:pos x="26" y="0"/>
                  </a:cxn>
                  <a:cxn ang="0">
                    <a:pos x="16" y="0"/>
                  </a:cxn>
                  <a:cxn ang="0">
                    <a:pos x="6" y="2"/>
                  </a:cxn>
                  <a:cxn ang="0">
                    <a:pos x="2" y="6"/>
                  </a:cxn>
                  <a:cxn ang="0">
                    <a:pos x="0" y="10"/>
                  </a:cxn>
                  <a:cxn ang="0">
                    <a:pos x="0" y="14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4" y="22"/>
                  </a:cxn>
                  <a:cxn ang="0">
                    <a:pos x="10" y="24"/>
                  </a:cxn>
                  <a:cxn ang="0">
                    <a:pos x="18" y="26"/>
                  </a:cxn>
                  <a:cxn ang="0">
                    <a:pos x="24" y="28"/>
                  </a:cxn>
                  <a:cxn ang="0">
                    <a:pos x="30" y="32"/>
                  </a:cxn>
                  <a:cxn ang="0">
                    <a:pos x="30" y="32"/>
                  </a:cxn>
                </a:cxnLst>
                <a:rect l="0" t="0" r="r" b="b"/>
                <a:pathLst>
                  <a:path w="58" h="40">
                    <a:moveTo>
                      <a:pt x="30" y="32"/>
                    </a:moveTo>
                    <a:lnTo>
                      <a:pt x="30" y="32"/>
                    </a:lnTo>
                    <a:lnTo>
                      <a:pt x="40" y="38"/>
                    </a:lnTo>
                    <a:lnTo>
                      <a:pt x="46" y="40"/>
                    </a:lnTo>
                    <a:lnTo>
                      <a:pt x="50" y="40"/>
                    </a:lnTo>
                    <a:lnTo>
                      <a:pt x="54" y="38"/>
                    </a:lnTo>
                    <a:lnTo>
                      <a:pt x="56" y="34"/>
                    </a:lnTo>
                    <a:lnTo>
                      <a:pt x="58" y="28"/>
                    </a:lnTo>
                    <a:lnTo>
                      <a:pt x="56" y="20"/>
                    </a:lnTo>
                    <a:lnTo>
                      <a:pt x="56" y="20"/>
                    </a:lnTo>
                    <a:lnTo>
                      <a:pt x="52" y="12"/>
                    </a:lnTo>
                    <a:lnTo>
                      <a:pt x="46" y="6"/>
                    </a:lnTo>
                    <a:lnTo>
                      <a:pt x="36" y="2"/>
                    </a:lnTo>
                    <a:lnTo>
                      <a:pt x="26" y="0"/>
                    </a:lnTo>
                    <a:lnTo>
                      <a:pt x="16" y="0"/>
                    </a:lnTo>
                    <a:lnTo>
                      <a:pt x="6" y="2"/>
                    </a:lnTo>
                    <a:lnTo>
                      <a:pt x="2" y="6"/>
                    </a:lnTo>
                    <a:lnTo>
                      <a:pt x="0" y="10"/>
                    </a:lnTo>
                    <a:lnTo>
                      <a:pt x="0" y="14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4" y="22"/>
                    </a:lnTo>
                    <a:lnTo>
                      <a:pt x="10" y="24"/>
                    </a:lnTo>
                    <a:lnTo>
                      <a:pt x="18" y="26"/>
                    </a:lnTo>
                    <a:lnTo>
                      <a:pt x="24" y="28"/>
                    </a:lnTo>
                    <a:lnTo>
                      <a:pt x="30" y="32"/>
                    </a:lnTo>
                    <a:lnTo>
                      <a:pt x="30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2" name="Freeform 6024">
                <a:extLst>
                  <a:ext uri="{FF2B5EF4-FFF2-40B4-BE49-F238E27FC236}">
                    <a16:creationId xmlns:a16="http://schemas.microsoft.com/office/drawing/2014/main" id="{33B42EC0-9F9C-4B2E-864F-50B8BC7E0AD6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507490" y="963613"/>
                <a:ext cx="102870" cy="24130"/>
              </a:xfrm>
              <a:custGeom>
                <a:avLst/>
                <a:gdLst/>
                <a:ahLst/>
                <a:cxnLst>
                  <a:cxn ang="0">
                    <a:pos x="20" y="34"/>
                  </a:cxn>
                  <a:cxn ang="0">
                    <a:pos x="20" y="34"/>
                  </a:cxn>
                  <a:cxn ang="0">
                    <a:pos x="26" y="32"/>
                  </a:cxn>
                  <a:cxn ang="0">
                    <a:pos x="34" y="32"/>
                  </a:cxn>
                  <a:cxn ang="0">
                    <a:pos x="60" y="36"/>
                  </a:cxn>
                  <a:cxn ang="0">
                    <a:pos x="60" y="36"/>
                  </a:cxn>
                  <a:cxn ang="0">
                    <a:pos x="72" y="38"/>
                  </a:cxn>
                  <a:cxn ang="0">
                    <a:pos x="76" y="36"/>
                  </a:cxn>
                  <a:cxn ang="0">
                    <a:pos x="84" y="34"/>
                  </a:cxn>
                  <a:cxn ang="0">
                    <a:pos x="108" y="34"/>
                  </a:cxn>
                  <a:cxn ang="0">
                    <a:pos x="108" y="34"/>
                  </a:cxn>
                  <a:cxn ang="0">
                    <a:pos x="124" y="36"/>
                  </a:cxn>
                  <a:cxn ang="0">
                    <a:pos x="138" y="34"/>
                  </a:cxn>
                  <a:cxn ang="0">
                    <a:pos x="150" y="32"/>
                  </a:cxn>
                  <a:cxn ang="0">
                    <a:pos x="158" y="28"/>
                  </a:cxn>
                  <a:cxn ang="0">
                    <a:pos x="162" y="24"/>
                  </a:cxn>
                  <a:cxn ang="0">
                    <a:pos x="162" y="22"/>
                  </a:cxn>
                  <a:cxn ang="0">
                    <a:pos x="160" y="18"/>
                  </a:cxn>
                  <a:cxn ang="0">
                    <a:pos x="152" y="12"/>
                  </a:cxn>
                  <a:cxn ang="0">
                    <a:pos x="138" y="6"/>
                  </a:cxn>
                  <a:cxn ang="0">
                    <a:pos x="138" y="6"/>
                  </a:cxn>
                  <a:cxn ang="0">
                    <a:pos x="122" y="0"/>
                  </a:cxn>
                  <a:cxn ang="0">
                    <a:pos x="108" y="0"/>
                  </a:cxn>
                  <a:cxn ang="0">
                    <a:pos x="96" y="0"/>
                  </a:cxn>
                  <a:cxn ang="0">
                    <a:pos x="86" y="2"/>
                  </a:cxn>
                  <a:cxn ang="0">
                    <a:pos x="64" y="10"/>
                  </a:cxn>
                  <a:cxn ang="0">
                    <a:pos x="52" y="14"/>
                  </a:cxn>
                  <a:cxn ang="0">
                    <a:pos x="36" y="16"/>
                  </a:cxn>
                  <a:cxn ang="0">
                    <a:pos x="36" y="16"/>
                  </a:cxn>
                  <a:cxn ang="0">
                    <a:pos x="22" y="20"/>
                  </a:cxn>
                  <a:cxn ang="0">
                    <a:pos x="10" y="24"/>
                  </a:cxn>
                  <a:cxn ang="0">
                    <a:pos x="4" y="28"/>
                  </a:cxn>
                  <a:cxn ang="0">
                    <a:pos x="0" y="30"/>
                  </a:cxn>
                  <a:cxn ang="0">
                    <a:pos x="0" y="34"/>
                  </a:cxn>
                  <a:cxn ang="0">
                    <a:pos x="4" y="36"/>
                  </a:cxn>
                  <a:cxn ang="0">
                    <a:pos x="10" y="36"/>
                  </a:cxn>
                  <a:cxn ang="0">
                    <a:pos x="20" y="34"/>
                  </a:cxn>
                  <a:cxn ang="0">
                    <a:pos x="20" y="34"/>
                  </a:cxn>
                </a:cxnLst>
                <a:rect l="0" t="0" r="r" b="b"/>
                <a:pathLst>
                  <a:path w="162" h="38">
                    <a:moveTo>
                      <a:pt x="20" y="34"/>
                    </a:moveTo>
                    <a:lnTo>
                      <a:pt x="20" y="34"/>
                    </a:lnTo>
                    <a:lnTo>
                      <a:pt x="26" y="32"/>
                    </a:lnTo>
                    <a:lnTo>
                      <a:pt x="34" y="32"/>
                    </a:lnTo>
                    <a:lnTo>
                      <a:pt x="60" y="36"/>
                    </a:lnTo>
                    <a:lnTo>
                      <a:pt x="60" y="36"/>
                    </a:lnTo>
                    <a:lnTo>
                      <a:pt x="72" y="38"/>
                    </a:lnTo>
                    <a:lnTo>
                      <a:pt x="76" y="36"/>
                    </a:lnTo>
                    <a:lnTo>
                      <a:pt x="84" y="34"/>
                    </a:lnTo>
                    <a:lnTo>
                      <a:pt x="108" y="34"/>
                    </a:lnTo>
                    <a:lnTo>
                      <a:pt x="108" y="34"/>
                    </a:lnTo>
                    <a:lnTo>
                      <a:pt x="124" y="36"/>
                    </a:lnTo>
                    <a:lnTo>
                      <a:pt x="138" y="34"/>
                    </a:lnTo>
                    <a:lnTo>
                      <a:pt x="150" y="32"/>
                    </a:lnTo>
                    <a:lnTo>
                      <a:pt x="158" y="28"/>
                    </a:lnTo>
                    <a:lnTo>
                      <a:pt x="162" y="24"/>
                    </a:lnTo>
                    <a:lnTo>
                      <a:pt x="162" y="22"/>
                    </a:lnTo>
                    <a:lnTo>
                      <a:pt x="160" y="18"/>
                    </a:lnTo>
                    <a:lnTo>
                      <a:pt x="152" y="12"/>
                    </a:lnTo>
                    <a:lnTo>
                      <a:pt x="138" y="6"/>
                    </a:lnTo>
                    <a:lnTo>
                      <a:pt x="138" y="6"/>
                    </a:lnTo>
                    <a:lnTo>
                      <a:pt x="122" y="0"/>
                    </a:lnTo>
                    <a:lnTo>
                      <a:pt x="108" y="0"/>
                    </a:lnTo>
                    <a:lnTo>
                      <a:pt x="96" y="0"/>
                    </a:lnTo>
                    <a:lnTo>
                      <a:pt x="86" y="2"/>
                    </a:lnTo>
                    <a:lnTo>
                      <a:pt x="64" y="10"/>
                    </a:lnTo>
                    <a:lnTo>
                      <a:pt x="52" y="14"/>
                    </a:lnTo>
                    <a:lnTo>
                      <a:pt x="36" y="16"/>
                    </a:lnTo>
                    <a:lnTo>
                      <a:pt x="36" y="16"/>
                    </a:lnTo>
                    <a:lnTo>
                      <a:pt x="22" y="20"/>
                    </a:lnTo>
                    <a:lnTo>
                      <a:pt x="10" y="24"/>
                    </a:lnTo>
                    <a:lnTo>
                      <a:pt x="4" y="28"/>
                    </a:lnTo>
                    <a:lnTo>
                      <a:pt x="0" y="30"/>
                    </a:lnTo>
                    <a:lnTo>
                      <a:pt x="0" y="34"/>
                    </a:lnTo>
                    <a:lnTo>
                      <a:pt x="4" y="36"/>
                    </a:lnTo>
                    <a:lnTo>
                      <a:pt x="10" y="36"/>
                    </a:lnTo>
                    <a:lnTo>
                      <a:pt x="20" y="34"/>
                    </a:lnTo>
                    <a:lnTo>
                      <a:pt x="20" y="3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3" name="Freeform 6025">
                <a:extLst>
                  <a:ext uri="{FF2B5EF4-FFF2-40B4-BE49-F238E27FC236}">
                    <a16:creationId xmlns:a16="http://schemas.microsoft.com/office/drawing/2014/main" id="{8E90E95E-B576-4225-8B3C-4BBB349BE13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03070" y="928053"/>
                <a:ext cx="168910" cy="82550"/>
              </a:xfrm>
              <a:custGeom>
                <a:avLst/>
                <a:gdLst/>
                <a:ahLst/>
                <a:cxnLst>
                  <a:cxn ang="0">
                    <a:pos x="30" y="40"/>
                  </a:cxn>
                  <a:cxn ang="0">
                    <a:pos x="32" y="50"/>
                  </a:cxn>
                  <a:cxn ang="0">
                    <a:pos x="40" y="46"/>
                  </a:cxn>
                  <a:cxn ang="0">
                    <a:pos x="52" y="44"/>
                  </a:cxn>
                  <a:cxn ang="0">
                    <a:pos x="66" y="54"/>
                  </a:cxn>
                  <a:cxn ang="0">
                    <a:pos x="72" y="62"/>
                  </a:cxn>
                  <a:cxn ang="0">
                    <a:pos x="68" y="70"/>
                  </a:cxn>
                  <a:cxn ang="0">
                    <a:pos x="44" y="68"/>
                  </a:cxn>
                  <a:cxn ang="0">
                    <a:pos x="26" y="70"/>
                  </a:cxn>
                  <a:cxn ang="0">
                    <a:pos x="24" y="74"/>
                  </a:cxn>
                  <a:cxn ang="0">
                    <a:pos x="24" y="82"/>
                  </a:cxn>
                  <a:cxn ang="0">
                    <a:pos x="36" y="90"/>
                  </a:cxn>
                  <a:cxn ang="0">
                    <a:pos x="60" y="92"/>
                  </a:cxn>
                  <a:cxn ang="0">
                    <a:pos x="78" y="88"/>
                  </a:cxn>
                  <a:cxn ang="0">
                    <a:pos x="108" y="82"/>
                  </a:cxn>
                  <a:cxn ang="0">
                    <a:pos x="114" y="86"/>
                  </a:cxn>
                  <a:cxn ang="0">
                    <a:pos x="120" y="92"/>
                  </a:cxn>
                  <a:cxn ang="0">
                    <a:pos x="146" y="90"/>
                  </a:cxn>
                  <a:cxn ang="0">
                    <a:pos x="156" y="90"/>
                  </a:cxn>
                  <a:cxn ang="0">
                    <a:pos x="170" y="92"/>
                  </a:cxn>
                  <a:cxn ang="0">
                    <a:pos x="182" y="102"/>
                  </a:cxn>
                  <a:cxn ang="0">
                    <a:pos x="194" y="120"/>
                  </a:cxn>
                  <a:cxn ang="0">
                    <a:pos x="204" y="126"/>
                  </a:cxn>
                  <a:cxn ang="0">
                    <a:pos x="220" y="130"/>
                  </a:cxn>
                  <a:cxn ang="0">
                    <a:pos x="244" y="128"/>
                  </a:cxn>
                  <a:cxn ang="0">
                    <a:pos x="254" y="126"/>
                  </a:cxn>
                  <a:cxn ang="0">
                    <a:pos x="266" y="122"/>
                  </a:cxn>
                  <a:cxn ang="0">
                    <a:pos x="266" y="114"/>
                  </a:cxn>
                  <a:cxn ang="0">
                    <a:pos x="258" y="102"/>
                  </a:cxn>
                  <a:cxn ang="0">
                    <a:pos x="234" y="82"/>
                  </a:cxn>
                  <a:cxn ang="0">
                    <a:pos x="238" y="78"/>
                  </a:cxn>
                  <a:cxn ang="0">
                    <a:pos x="242" y="76"/>
                  </a:cxn>
                  <a:cxn ang="0">
                    <a:pos x="248" y="68"/>
                  </a:cxn>
                  <a:cxn ang="0">
                    <a:pos x="242" y="58"/>
                  </a:cxn>
                  <a:cxn ang="0">
                    <a:pos x="224" y="50"/>
                  </a:cxn>
                  <a:cxn ang="0">
                    <a:pos x="210" y="48"/>
                  </a:cxn>
                  <a:cxn ang="0">
                    <a:pos x="186" y="44"/>
                  </a:cxn>
                  <a:cxn ang="0">
                    <a:pos x="184" y="40"/>
                  </a:cxn>
                  <a:cxn ang="0">
                    <a:pos x="176" y="32"/>
                  </a:cxn>
                  <a:cxn ang="0">
                    <a:pos x="164" y="28"/>
                  </a:cxn>
                  <a:cxn ang="0">
                    <a:pos x="140" y="26"/>
                  </a:cxn>
                  <a:cxn ang="0">
                    <a:pos x="130" y="32"/>
                  </a:cxn>
                  <a:cxn ang="0">
                    <a:pos x="124" y="36"/>
                  </a:cxn>
                  <a:cxn ang="0">
                    <a:pos x="118" y="28"/>
                  </a:cxn>
                  <a:cxn ang="0">
                    <a:pos x="114" y="24"/>
                  </a:cxn>
                  <a:cxn ang="0">
                    <a:pos x="96" y="10"/>
                  </a:cxn>
                  <a:cxn ang="0">
                    <a:pos x="58" y="0"/>
                  </a:cxn>
                  <a:cxn ang="0">
                    <a:pos x="22" y="2"/>
                  </a:cxn>
                  <a:cxn ang="0">
                    <a:pos x="10" y="8"/>
                  </a:cxn>
                  <a:cxn ang="0">
                    <a:pos x="2" y="18"/>
                  </a:cxn>
                  <a:cxn ang="0">
                    <a:pos x="0" y="28"/>
                  </a:cxn>
                  <a:cxn ang="0">
                    <a:pos x="8" y="34"/>
                  </a:cxn>
                  <a:cxn ang="0">
                    <a:pos x="20" y="30"/>
                  </a:cxn>
                  <a:cxn ang="0">
                    <a:pos x="28" y="34"/>
                  </a:cxn>
                  <a:cxn ang="0">
                    <a:pos x="30" y="40"/>
                  </a:cxn>
                </a:cxnLst>
                <a:rect l="0" t="0" r="r" b="b"/>
                <a:pathLst>
                  <a:path w="266" h="130">
                    <a:moveTo>
                      <a:pt x="30" y="40"/>
                    </a:moveTo>
                    <a:lnTo>
                      <a:pt x="30" y="40"/>
                    </a:lnTo>
                    <a:lnTo>
                      <a:pt x="30" y="48"/>
                    </a:lnTo>
                    <a:lnTo>
                      <a:pt x="32" y="50"/>
                    </a:lnTo>
                    <a:lnTo>
                      <a:pt x="36" y="50"/>
                    </a:lnTo>
                    <a:lnTo>
                      <a:pt x="40" y="46"/>
                    </a:lnTo>
                    <a:lnTo>
                      <a:pt x="46" y="44"/>
                    </a:lnTo>
                    <a:lnTo>
                      <a:pt x="52" y="44"/>
                    </a:lnTo>
                    <a:lnTo>
                      <a:pt x="58" y="46"/>
                    </a:lnTo>
                    <a:lnTo>
                      <a:pt x="66" y="54"/>
                    </a:lnTo>
                    <a:lnTo>
                      <a:pt x="66" y="54"/>
                    </a:lnTo>
                    <a:lnTo>
                      <a:pt x="72" y="62"/>
                    </a:lnTo>
                    <a:lnTo>
                      <a:pt x="72" y="66"/>
                    </a:lnTo>
                    <a:lnTo>
                      <a:pt x="68" y="70"/>
                    </a:lnTo>
                    <a:lnTo>
                      <a:pt x="60" y="70"/>
                    </a:lnTo>
                    <a:lnTo>
                      <a:pt x="44" y="68"/>
                    </a:lnTo>
                    <a:lnTo>
                      <a:pt x="34" y="68"/>
                    </a:lnTo>
                    <a:lnTo>
                      <a:pt x="26" y="70"/>
                    </a:lnTo>
                    <a:lnTo>
                      <a:pt x="26" y="70"/>
                    </a:lnTo>
                    <a:lnTo>
                      <a:pt x="24" y="74"/>
                    </a:lnTo>
                    <a:lnTo>
                      <a:pt x="22" y="78"/>
                    </a:lnTo>
                    <a:lnTo>
                      <a:pt x="24" y="82"/>
                    </a:lnTo>
                    <a:lnTo>
                      <a:pt x="28" y="86"/>
                    </a:lnTo>
                    <a:lnTo>
                      <a:pt x="36" y="90"/>
                    </a:lnTo>
                    <a:lnTo>
                      <a:pt x="46" y="92"/>
                    </a:lnTo>
                    <a:lnTo>
                      <a:pt x="60" y="92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98" y="82"/>
                    </a:lnTo>
                    <a:lnTo>
                      <a:pt x="108" y="82"/>
                    </a:lnTo>
                    <a:lnTo>
                      <a:pt x="112" y="82"/>
                    </a:lnTo>
                    <a:lnTo>
                      <a:pt x="114" y="86"/>
                    </a:lnTo>
                    <a:lnTo>
                      <a:pt x="116" y="88"/>
                    </a:lnTo>
                    <a:lnTo>
                      <a:pt x="120" y="92"/>
                    </a:lnTo>
                    <a:lnTo>
                      <a:pt x="130" y="92"/>
                    </a:lnTo>
                    <a:lnTo>
                      <a:pt x="146" y="90"/>
                    </a:lnTo>
                    <a:lnTo>
                      <a:pt x="146" y="90"/>
                    </a:lnTo>
                    <a:lnTo>
                      <a:pt x="156" y="90"/>
                    </a:lnTo>
                    <a:lnTo>
                      <a:pt x="164" y="90"/>
                    </a:lnTo>
                    <a:lnTo>
                      <a:pt x="170" y="92"/>
                    </a:lnTo>
                    <a:lnTo>
                      <a:pt x="174" y="94"/>
                    </a:lnTo>
                    <a:lnTo>
                      <a:pt x="182" y="102"/>
                    </a:lnTo>
                    <a:lnTo>
                      <a:pt x="186" y="110"/>
                    </a:lnTo>
                    <a:lnTo>
                      <a:pt x="194" y="120"/>
                    </a:lnTo>
                    <a:lnTo>
                      <a:pt x="198" y="124"/>
                    </a:lnTo>
                    <a:lnTo>
                      <a:pt x="204" y="126"/>
                    </a:lnTo>
                    <a:lnTo>
                      <a:pt x="210" y="128"/>
                    </a:lnTo>
                    <a:lnTo>
                      <a:pt x="220" y="130"/>
                    </a:lnTo>
                    <a:lnTo>
                      <a:pt x="230" y="130"/>
                    </a:lnTo>
                    <a:lnTo>
                      <a:pt x="244" y="128"/>
                    </a:lnTo>
                    <a:lnTo>
                      <a:pt x="244" y="128"/>
                    </a:lnTo>
                    <a:lnTo>
                      <a:pt x="254" y="126"/>
                    </a:lnTo>
                    <a:lnTo>
                      <a:pt x="262" y="124"/>
                    </a:lnTo>
                    <a:lnTo>
                      <a:pt x="266" y="122"/>
                    </a:lnTo>
                    <a:lnTo>
                      <a:pt x="266" y="118"/>
                    </a:lnTo>
                    <a:lnTo>
                      <a:pt x="266" y="114"/>
                    </a:lnTo>
                    <a:lnTo>
                      <a:pt x="264" y="110"/>
                    </a:lnTo>
                    <a:lnTo>
                      <a:pt x="258" y="102"/>
                    </a:lnTo>
                    <a:lnTo>
                      <a:pt x="240" y="88"/>
                    </a:lnTo>
                    <a:lnTo>
                      <a:pt x="234" y="82"/>
                    </a:lnTo>
                    <a:lnTo>
                      <a:pt x="234" y="80"/>
                    </a:lnTo>
                    <a:lnTo>
                      <a:pt x="238" y="78"/>
                    </a:lnTo>
                    <a:lnTo>
                      <a:pt x="238" y="78"/>
                    </a:lnTo>
                    <a:lnTo>
                      <a:pt x="242" y="76"/>
                    </a:lnTo>
                    <a:lnTo>
                      <a:pt x="246" y="72"/>
                    </a:lnTo>
                    <a:lnTo>
                      <a:pt x="248" y="68"/>
                    </a:lnTo>
                    <a:lnTo>
                      <a:pt x="246" y="64"/>
                    </a:lnTo>
                    <a:lnTo>
                      <a:pt x="242" y="58"/>
                    </a:lnTo>
                    <a:lnTo>
                      <a:pt x="236" y="54"/>
                    </a:lnTo>
                    <a:lnTo>
                      <a:pt x="224" y="50"/>
                    </a:lnTo>
                    <a:lnTo>
                      <a:pt x="210" y="48"/>
                    </a:lnTo>
                    <a:lnTo>
                      <a:pt x="210" y="48"/>
                    </a:lnTo>
                    <a:lnTo>
                      <a:pt x="190" y="46"/>
                    </a:lnTo>
                    <a:lnTo>
                      <a:pt x="186" y="44"/>
                    </a:lnTo>
                    <a:lnTo>
                      <a:pt x="186" y="42"/>
                    </a:lnTo>
                    <a:lnTo>
                      <a:pt x="184" y="40"/>
                    </a:lnTo>
                    <a:lnTo>
                      <a:pt x="182" y="36"/>
                    </a:lnTo>
                    <a:lnTo>
                      <a:pt x="176" y="32"/>
                    </a:lnTo>
                    <a:lnTo>
                      <a:pt x="164" y="28"/>
                    </a:lnTo>
                    <a:lnTo>
                      <a:pt x="164" y="28"/>
                    </a:lnTo>
                    <a:lnTo>
                      <a:pt x="150" y="26"/>
                    </a:lnTo>
                    <a:lnTo>
                      <a:pt x="140" y="26"/>
                    </a:lnTo>
                    <a:lnTo>
                      <a:pt x="134" y="28"/>
                    </a:lnTo>
                    <a:lnTo>
                      <a:pt x="130" y="32"/>
                    </a:lnTo>
                    <a:lnTo>
                      <a:pt x="126" y="34"/>
                    </a:lnTo>
                    <a:lnTo>
                      <a:pt x="124" y="36"/>
                    </a:lnTo>
                    <a:lnTo>
                      <a:pt x="122" y="34"/>
                    </a:lnTo>
                    <a:lnTo>
                      <a:pt x="118" y="28"/>
                    </a:lnTo>
                    <a:lnTo>
                      <a:pt x="118" y="28"/>
                    </a:lnTo>
                    <a:lnTo>
                      <a:pt x="114" y="24"/>
                    </a:lnTo>
                    <a:lnTo>
                      <a:pt x="110" y="18"/>
                    </a:lnTo>
                    <a:lnTo>
                      <a:pt x="96" y="10"/>
                    </a:lnTo>
                    <a:lnTo>
                      <a:pt x="78" y="4"/>
                    </a:lnTo>
                    <a:lnTo>
                      <a:pt x="58" y="0"/>
                    </a:lnTo>
                    <a:lnTo>
                      <a:pt x="40" y="0"/>
                    </a:lnTo>
                    <a:lnTo>
                      <a:pt x="22" y="2"/>
                    </a:lnTo>
                    <a:lnTo>
                      <a:pt x="14" y="4"/>
                    </a:lnTo>
                    <a:lnTo>
                      <a:pt x="10" y="8"/>
                    </a:lnTo>
                    <a:lnTo>
                      <a:pt x="4" y="12"/>
                    </a:lnTo>
                    <a:lnTo>
                      <a:pt x="2" y="18"/>
                    </a:lnTo>
                    <a:lnTo>
                      <a:pt x="2" y="18"/>
                    </a:lnTo>
                    <a:lnTo>
                      <a:pt x="0" y="28"/>
                    </a:lnTo>
                    <a:lnTo>
                      <a:pt x="2" y="32"/>
                    </a:lnTo>
                    <a:lnTo>
                      <a:pt x="8" y="34"/>
                    </a:lnTo>
                    <a:lnTo>
                      <a:pt x="14" y="32"/>
                    </a:lnTo>
                    <a:lnTo>
                      <a:pt x="20" y="30"/>
                    </a:lnTo>
                    <a:lnTo>
                      <a:pt x="24" y="30"/>
                    </a:lnTo>
                    <a:lnTo>
                      <a:pt x="28" y="34"/>
                    </a:lnTo>
                    <a:lnTo>
                      <a:pt x="30" y="40"/>
                    </a:lnTo>
                    <a:lnTo>
                      <a:pt x="30" y="4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4" name="Freeform 6026">
                <a:extLst>
                  <a:ext uri="{FF2B5EF4-FFF2-40B4-BE49-F238E27FC236}">
                    <a16:creationId xmlns:a16="http://schemas.microsoft.com/office/drawing/2014/main" id="{0F1BA0BC-C695-4A03-B47B-197A143AFD8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94180" y="1013143"/>
                <a:ext cx="44450" cy="33020"/>
              </a:xfrm>
              <a:custGeom>
                <a:avLst/>
                <a:gdLst/>
                <a:ahLst/>
                <a:cxnLst>
                  <a:cxn ang="0">
                    <a:pos x="56" y="52"/>
                  </a:cxn>
                  <a:cxn ang="0">
                    <a:pos x="56" y="52"/>
                  </a:cxn>
                  <a:cxn ang="0">
                    <a:pos x="66" y="50"/>
                  </a:cxn>
                  <a:cxn ang="0">
                    <a:pos x="68" y="48"/>
                  </a:cxn>
                  <a:cxn ang="0">
                    <a:pos x="70" y="46"/>
                  </a:cxn>
                  <a:cxn ang="0">
                    <a:pos x="70" y="44"/>
                  </a:cxn>
                  <a:cxn ang="0">
                    <a:pos x="68" y="40"/>
                  </a:cxn>
                  <a:cxn ang="0">
                    <a:pos x="56" y="26"/>
                  </a:cxn>
                  <a:cxn ang="0">
                    <a:pos x="56" y="26"/>
                  </a:cxn>
                  <a:cxn ang="0">
                    <a:pos x="46" y="18"/>
                  </a:cxn>
                  <a:cxn ang="0">
                    <a:pos x="36" y="12"/>
                  </a:cxn>
                  <a:cxn ang="0">
                    <a:pos x="26" y="6"/>
                  </a:cxn>
                  <a:cxn ang="0">
                    <a:pos x="16" y="2"/>
                  </a:cxn>
                  <a:cxn ang="0">
                    <a:pos x="8" y="0"/>
                  </a:cxn>
                  <a:cxn ang="0">
                    <a:pos x="2" y="0"/>
                  </a:cxn>
                  <a:cxn ang="0">
                    <a:pos x="0" y="2"/>
                  </a:cxn>
                  <a:cxn ang="0">
                    <a:pos x="0" y="8"/>
                  </a:cxn>
                  <a:cxn ang="0">
                    <a:pos x="0" y="8"/>
                  </a:cxn>
                  <a:cxn ang="0">
                    <a:pos x="8" y="22"/>
                  </a:cxn>
                  <a:cxn ang="0">
                    <a:pos x="18" y="36"/>
                  </a:cxn>
                  <a:cxn ang="0">
                    <a:pos x="24" y="44"/>
                  </a:cxn>
                  <a:cxn ang="0">
                    <a:pos x="32" y="48"/>
                  </a:cxn>
                  <a:cxn ang="0">
                    <a:pos x="42" y="52"/>
                  </a:cxn>
                  <a:cxn ang="0">
                    <a:pos x="56" y="52"/>
                  </a:cxn>
                  <a:cxn ang="0">
                    <a:pos x="56" y="52"/>
                  </a:cxn>
                </a:cxnLst>
                <a:rect l="0" t="0" r="r" b="b"/>
                <a:pathLst>
                  <a:path w="70" h="52">
                    <a:moveTo>
                      <a:pt x="56" y="52"/>
                    </a:moveTo>
                    <a:lnTo>
                      <a:pt x="56" y="52"/>
                    </a:lnTo>
                    <a:lnTo>
                      <a:pt x="66" y="50"/>
                    </a:lnTo>
                    <a:lnTo>
                      <a:pt x="68" y="48"/>
                    </a:lnTo>
                    <a:lnTo>
                      <a:pt x="70" y="46"/>
                    </a:lnTo>
                    <a:lnTo>
                      <a:pt x="70" y="44"/>
                    </a:lnTo>
                    <a:lnTo>
                      <a:pt x="68" y="40"/>
                    </a:lnTo>
                    <a:lnTo>
                      <a:pt x="56" y="26"/>
                    </a:lnTo>
                    <a:lnTo>
                      <a:pt x="56" y="26"/>
                    </a:lnTo>
                    <a:lnTo>
                      <a:pt x="46" y="18"/>
                    </a:lnTo>
                    <a:lnTo>
                      <a:pt x="36" y="12"/>
                    </a:lnTo>
                    <a:lnTo>
                      <a:pt x="26" y="6"/>
                    </a:lnTo>
                    <a:lnTo>
                      <a:pt x="16" y="2"/>
                    </a:lnTo>
                    <a:lnTo>
                      <a:pt x="8" y="0"/>
                    </a:lnTo>
                    <a:lnTo>
                      <a:pt x="2" y="0"/>
                    </a:lnTo>
                    <a:lnTo>
                      <a:pt x="0" y="2"/>
                    </a:lnTo>
                    <a:lnTo>
                      <a:pt x="0" y="8"/>
                    </a:lnTo>
                    <a:lnTo>
                      <a:pt x="0" y="8"/>
                    </a:lnTo>
                    <a:lnTo>
                      <a:pt x="8" y="22"/>
                    </a:lnTo>
                    <a:lnTo>
                      <a:pt x="18" y="36"/>
                    </a:lnTo>
                    <a:lnTo>
                      <a:pt x="24" y="44"/>
                    </a:lnTo>
                    <a:lnTo>
                      <a:pt x="32" y="48"/>
                    </a:lnTo>
                    <a:lnTo>
                      <a:pt x="42" y="52"/>
                    </a:lnTo>
                    <a:lnTo>
                      <a:pt x="56" y="52"/>
                    </a:lnTo>
                    <a:lnTo>
                      <a:pt x="56" y="5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5" name="Freeform 6027">
                <a:extLst>
                  <a:ext uri="{FF2B5EF4-FFF2-40B4-BE49-F238E27FC236}">
                    <a16:creationId xmlns:a16="http://schemas.microsoft.com/office/drawing/2014/main" id="{67D6E9B1-3ACD-4252-AB59-1179B9AF9D3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83410" y="957263"/>
                <a:ext cx="95250" cy="54610"/>
              </a:xfrm>
              <a:custGeom>
                <a:avLst/>
                <a:gdLst/>
                <a:ahLst/>
                <a:cxnLst>
                  <a:cxn ang="0">
                    <a:pos x="14" y="38"/>
                  </a:cxn>
                  <a:cxn ang="0">
                    <a:pos x="22" y="44"/>
                  </a:cxn>
                  <a:cxn ang="0">
                    <a:pos x="44" y="54"/>
                  </a:cxn>
                  <a:cxn ang="0">
                    <a:pos x="50" y="56"/>
                  </a:cxn>
                  <a:cxn ang="0">
                    <a:pos x="52" y="58"/>
                  </a:cxn>
                  <a:cxn ang="0">
                    <a:pos x="42" y="64"/>
                  </a:cxn>
                  <a:cxn ang="0">
                    <a:pos x="32" y="68"/>
                  </a:cxn>
                  <a:cxn ang="0">
                    <a:pos x="40" y="68"/>
                  </a:cxn>
                  <a:cxn ang="0">
                    <a:pos x="50" y="70"/>
                  </a:cxn>
                  <a:cxn ang="0">
                    <a:pos x="56" y="76"/>
                  </a:cxn>
                  <a:cxn ang="0">
                    <a:pos x="60" y="84"/>
                  </a:cxn>
                  <a:cxn ang="0">
                    <a:pos x="66" y="86"/>
                  </a:cxn>
                  <a:cxn ang="0">
                    <a:pos x="74" y="82"/>
                  </a:cxn>
                  <a:cxn ang="0">
                    <a:pos x="98" y="76"/>
                  </a:cxn>
                  <a:cxn ang="0">
                    <a:pos x="132" y="70"/>
                  </a:cxn>
                  <a:cxn ang="0">
                    <a:pos x="142" y="64"/>
                  </a:cxn>
                  <a:cxn ang="0">
                    <a:pos x="140" y="60"/>
                  </a:cxn>
                  <a:cxn ang="0">
                    <a:pos x="140" y="52"/>
                  </a:cxn>
                  <a:cxn ang="0">
                    <a:pos x="150" y="42"/>
                  </a:cxn>
                  <a:cxn ang="0">
                    <a:pos x="148" y="36"/>
                  </a:cxn>
                  <a:cxn ang="0">
                    <a:pos x="140" y="32"/>
                  </a:cxn>
                  <a:cxn ang="0">
                    <a:pos x="122" y="24"/>
                  </a:cxn>
                  <a:cxn ang="0">
                    <a:pos x="100" y="22"/>
                  </a:cxn>
                  <a:cxn ang="0">
                    <a:pos x="82" y="14"/>
                  </a:cxn>
                  <a:cxn ang="0">
                    <a:pos x="68" y="8"/>
                  </a:cxn>
                  <a:cxn ang="0">
                    <a:pos x="42" y="0"/>
                  </a:cxn>
                  <a:cxn ang="0">
                    <a:pos x="18" y="0"/>
                  </a:cxn>
                  <a:cxn ang="0">
                    <a:pos x="8" y="8"/>
                  </a:cxn>
                  <a:cxn ang="0">
                    <a:pos x="8" y="14"/>
                  </a:cxn>
                  <a:cxn ang="0">
                    <a:pos x="10" y="20"/>
                  </a:cxn>
                  <a:cxn ang="0">
                    <a:pos x="6" y="28"/>
                  </a:cxn>
                  <a:cxn ang="0">
                    <a:pos x="0" y="30"/>
                  </a:cxn>
                  <a:cxn ang="0">
                    <a:pos x="14" y="38"/>
                  </a:cxn>
                </a:cxnLst>
                <a:rect l="0" t="0" r="r" b="b"/>
                <a:pathLst>
                  <a:path w="150" h="86">
                    <a:moveTo>
                      <a:pt x="14" y="38"/>
                    </a:moveTo>
                    <a:lnTo>
                      <a:pt x="14" y="38"/>
                    </a:lnTo>
                    <a:lnTo>
                      <a:pt x="20" y="42"/>
                    </a:lnTo>
                    <a:lnTo>
                      <a:pt x="22" y="44"/>
                    </a:lnTo>
                    <a:lnTo>
                      <a:pt x="28" y="48"/>
                    </a:lnTo>
                    <a:lnTo>
                      <a:pt x="44" y="54"/>
                    </a:lnTo>
                    <a:lnTo>
                      <a:pt x="44" y="54"/>
                    </a:lnTo>
                    <a:lnTo>
                      <a:pt x="50" y="56"/>
                    </a:lnTo>
                    <a:lnTo>
                      <a:pt x="52" y="58"/>
                    </a:lnTo>
                    <a:lnTo>
                      <a:pt x="52" y="58"/>
                    </a:lnTo>
                    <a:lnTo>
                      <a:pt x="48" y="62"/>
                    </a:lnTo>
                    <a:lnTo>
                      <a:pt x="42" y="64"/>
                    </a:lnTo>
                    <a:lnTo>
                      <a:pt x="32" y="66"/>
                    </a:lnTo>
                    <a:lnTo>
                      <a:pt x="32" y="68"/>
                    </a:lnTo>
                    <a:lnTo>
                      <a:pt x="34" y="68"/>
                    </a:lnTo>
                    <a:lnTo>
                      <a:pt x="40" y="68"/>
                    </a:lnTo>
                    <a:lnTo>
                      <a:pt x="40" y="68"/>
                    </a:lnTo>
                    <a:lnTo>
                      <a:pt x="50" y="70"/>
                    </a:lnTo>
                    <a:lnTo>
                      <a:pt x="54" y="74"/>
                    </a:lnTo>
                    <a:lnTo>
                      <a:pt x="56" y="76"/>
                    </a:lnTo>
                    <a:lnTo>
                      <a:pt x="58" y="80"/>
                    </a:lnTo>
                    <a:lnTo>
                      <a:pt x="60" y="84"/>
                    </a:lnTo>
                    <a:lnTo>
                      <a:pt x="62" y="86"/>
                    </a:lnTo>
                    <a:lnTo>
                      <a:pt x="66" y="86"/>
                    </a:lnTo>
                    <a:lnTo>
                      <a:pt x="74" y="82"/>
                    </a:lnTo>
                    <a:lnTo>
                      <a:pt x="74" y="82"/>
                    </a:lnTo>
                    <a:lnTo>
                      <a:pt x="86" y="78"/>
                    </a:lnTo>
                    <a:lnTo>
                      <a:pt x="98" y="76"/>
                    </a:lnTo>
                    <a:lnTo>
                      <a:pt x="122" y="72"/>
                    </a:lnTo>
                    <a:lnTo>
                      <a:pt x="132" y="70"/>
                    </a:lnTo>
                    <a:lnTo>
                      <a:pt x="138" y="68"/>
                    </a:lnTo>
                    <a:lnTo>
                      <a:pt x="142" y="64"/>
                    </a:lnTo>
                    <a:lnTo>
                      <a:pt x="140" y="60"/>
                    </a:lnTo>
                    <a:lnTo>
                      <a:pt x="140" y="60"/>
                    </a:lnTo>
                    <a:lnTo>
                      <a:pt x="138" y="54"/>
                    </a:lnTo>
                    <a:lnTo>
                      <a:pt x="140" y="52"/>
                    </a:lnTo>
                    <a:lnTo>
                      <a:pt x="146" y="46"/>
                    </a:lnTo>
                    <a:lnTo>
                      <a:pt x="150" y="42"/>
                    </a:lnTo>
                    <a:lnTo>
                      <a:pt x="150" y="40"/>
                    </a:lnTo>
                    <a:lnTo>
                      <a:pt x="148" y="36"/>
                    </a:lnTo>
                    <a:lnTo>
                      <a:pt x="140" y="32"/>
                    </a:lnTo>
                    <a:lnTo>
                      <a:pt x="140" y="32"/>
                    </a:lnTo>
                    <a:lnTo>
                      <a:pt x="128" y="26"/>
                    </a:lnTo>
                    <a:lnTo>
                      <a:pt x="122" y="24"/>
                    </a:lnTo>
                    <a:lnTo>
                      <a:pt x="110" y="24"/>
                    </a:lnTo>
                    <a:lnTo>
                      <a:pt x="100" y="22"/>
                    </a:lnTo>
                    <a:lnTo>
                      <a:pt x="92" y="20"/>
                    </a:lnTo>
                    <a:lnTo>
                      <a:pt x="82" y="14"/>
                    </a:lnTo>
                    <a:lnTo>
                      <a:pt x="82" y="14"/>
                    </a:lnTo>
                    <a:lnTo>
                      <a:pt x="68" y="8"/>
                    </a:lnTo>
                    <a:lnTo>
                      <a:pt x="56" y="2"/>
                    </a:lnTo>
                    <a:lnTo>
                      <a:pt x="42" y="0"/>
                    </a:lnTo>
                    <a:lnTo>
                      <a:pt x="30" y="0"/>
                    </a:lnTo>
                    <a:lnTo>
                      <a:pt x="18" y="0"/>
                    </a:lnTo>
                    <a:lnTo>
                      <a:pt x="10" y="4"/>
                    </a:lnTo>
                    <a:lnTo>
                      <a:pt x="8" y="8"/>
                    </a:lnTo>
                    <a:lnTo>
                      <a:pt x="8" y="12"/>
                    </a:lnTo>
                    <a:lnTo>
                      <a:pt x="8" y="14"/>
                    </a:lnTo>
                    <a:lnTo>
                      <a:pt x="8" y="14"/>
                    </a:lnTo>
                    <a:lnTo>
                      <a:pt x="10" y="20"/>
                    </a:lnTo>
                    <a:lnTo>
                      <a:pt x="10" y="24"/>
                    </a:lnTo>
                    <a:lnTo>
                      <a:pt x="6" y="28"/>
                    </a:lnTo>
                    <a:lnTo>
                      <a:pt x="2" y="30"/>
                    </a:lnTo>
                    <a:lnTo>
                      <a:pt x="0" y="30"/>
                    </a:lnTo>
                    <a:lnTo>
                      <a:pt x="0" y="32"/>
                    </a:lnTo>
                    <a:lnTo>
                      <a:pt x="14" y="38"/>
                    </a:lnTo>
                    <a:lnTo>
                      <a:pt x="14" y="3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6" name="Freeform 6033">
                <a:extLst>
                  <a:ext uri="{FF2B5EF4-FFF2-40B4-BE49-F238E27FC236}">
                    <a16:creationId xmlns:a16="http://schemas.microsoft.com/office/drawing/2014/main" id="{D17E79E5-B659-4C53-9AC2-16DCC31E92F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46430" y="1806893"/>
                <a:ext cx="15240" cy="8890"/>
              </a:xfrm>
              <a:custGeom>
                <a:avLst/>
                <a:gdLst/>
                <a:ahLst/>
                <a:cxnLst>
                  <a:cxn ang="0">
                    <a:pos x="14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6"/>
                  </a:cxn>
                  <a:cxn ang="0">
                    <a:pos x="2" y="12"/>
                  </a:cxn>
                  <a:cxn ang="0">
                    <a:pos x="2" y="12"/>
                  </a:cxn>
                  <a:cxn ang="0">
                    <a:pos x="4" y="14"/>
                  </a:cxn>
                  <a:cxn ang="0">
                    <a:pos x="8" y="14"/>
                  </a:cxn>
                  <a:cxn ang="0">
                    <a:pos x="20" y="8"/>
                  </a:cxn>
                  <a:cxn ang="0">
                    <a:pos x="20" y="8"/>
                  </a:cxn>
                  <a:cxn ang="0">
                    <a:pos x="24" y="6"/>
                  </a:cxn>
                  <a:cxn ang="0">
                    <a:pos x="24" y="4"/>
                  </a:cxn>
                  <a:cxn ang="0">
                    <a:pos x="20" y="2"/>
                  </a:cxn>
                  <a:cxn ang="0">
                    <a:pos x="14" y="0"/>
                  </a:cxn>
                  <a:cxn ang="0">
                    <a:pos x="14" y="0"/>
                  </a:cxn>
                </a:cxnLst>
                <a:rect l="0" t="0" r="r" b="b"/>
                <a:pathLst>
                  <a:path w="24" h="14">
                    <a:moveTo>
                      <a:pt x="14" y="0"/>
                    </a:moveTo>
                    <a:lnTo>
                      <a:pt x="14" y="0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6"/>
                    </a:lnTo>
                    <a:lnTo>
                      <a:pt x="2" y="12"/>
                    </a:lnTo>
                    <a:lnTo>
                      <a:pt x="2" y="12"/>
                    </a:lnTo>
                    <a:lnTo>
                      <a:pt x="4" y="14"/>
                    </a:lnTo>
                    <a:lnTo>
                      <a:pt x="8" y="14"/>
                    </a:lnTo>
                    <a:lnTo>
                      <a:pt x="20" y="8"/>
                    </a:lnTo>
                    <a:lnTo>
                      <a:pt x="20" y="8"/>
                    </a:lnTo>
                    <a:lnTo>
                      <a:pt x="24" y="6"/>
                    </a:lnTo>
                    <a:lnTo>
                      <a:pt x="24" y="4"/>
                    </a:lnTo>
                    <a:lnTo>
                      <a:pt x="20" y="2"/>
                    </a:lnTo>
                    <a:lnTo>
                      <a:pt x="14" y="0"/>
                    </a:lnTo>
                    <a:lnTo>
                      <a:pt x="14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7" name="Freeform 6037">
                <a:extLst>
                  <a:ext uri="{FF2B5EF4-FFF2-40B4-BE49-F238E27FC236}">
                    <a16:creationId xmlns:a16="http://schemas.microsoft.com/office/drawing/2014/main" id="{D4DBCB97-C4C7-48DD-ACD3-76EDE31CFE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615950" y="1811973"/>
                <a:ext cx="24130" cy="22860"/>
              </a:xfrm>
              <a:custGeom>
                <a:avLst/>
                <a:gdLst/>
                <a:ahLst/>
                <a:cxnLst>
                  <a:cxn ang="0">
                    <a:pos x="28" y="2"/>
                  </a:cxn>
                  <a:cxn ang="0">
                    <a:pos x="28" y="2"/>
                  </a:cxn>
                  <a:cxn ang="0">
                    <a:pos x="18" y="16"/>
                  </a:cxn>
                  <a:cxn ang="0">
                    <a:pos x="0" y="34"/>
                  </a:cxn>
                  <a:cxn ang="0">
                    <a:pos x="0" y="34"/>
                  </a:cxn>
                  <a:cxn ang="0">
                    <a:pos x="0" y="36"/>
                  </a:cxn>
                  <a:cxn ang="0">
                    <a:pos x="4" y="36"/>
                  </a:cxn>
                  <a:cxn ang="0">
                    <a:pos x="16" y="32"/>
                  </a:cxn>
                  <a:cxn ang="0">
                    <a:pos x="16" y="32"/>
                  </a:cxn>
                  <a:cxn ang="0">
                    <a:pos x="20" y="30"/>
                  </a:cxn>
                  <a:cxn ang="0">
                    <a:pos x="22" y="26"/>
                  </a:cxn>
                  <a:cxn ang="0">
                    <a:pos x="26" y="20"/>
                  </a:cxn>
                  <a:cxn ang="0">
                    <a:pos x="32" y="12"/>
                  </a:cxn>
                  <a:cxn ang="0">
                    <a:pos x="32" y="12"/>
                  </a:cxn>
                  <a:cxn ang="0">
                    <a:pos x="36" y="4"/>
                  </a:cxn>
                  <a:cxn ang="0">
                    <a:pos x="38" y="2"/>
                  </a:cxn>
                  <a:cxn ang="0">
                    <a:pos x="36" y="0"/>
                  </a:cxn>
                  <a:cxn ang="0">
                    <a:pos x="32" y="0"/>
                  </a:cxn>
                  <a:cxn ang="0">
                    <a:pos x="28" y="2"/>
                  </a:cxn>
                  <a:cxn ang="0">
                    <a:pos x="28" y="2"/>
                  </a:cxn>
                </a:cxnLst>
                <a:rect l="0" t="0" r="r" b="b"/>
                <a:pathLst>
                  <a:path w="38" h="36">
                    <a:moveTo>
                      <a:pt x="28" y="2"/>
                    </a:moveTo>
                    <a:lnTo>
                      <a:pt x="28" y="2"/>
                    </a:lnTo>
                    <a:lnTo>
                      <a:pt x="18" y="16"/>
                    </a:lnTo>
                    <a:lnTo>
                      <a:pt x="0" y="34"/>
                    </a:lnTo>
                    <a:lnTo>
                      <a:pt x="0" y="34"/>
                    </a:lnTo>
                    <a:lnTo>
                      <a:pt x="0" y="36"/>
                    </a:lnTo>
                    <a:lnTo>
                      <a:pt x="4" y="36"/>
                    </a:lnTo>
                    <a:lnTo>
                      <a:pt x="16" y="32"/>
                    </a:lnTo>
                    <a:lnTo>
                      <a:pt x="16" y="32"/>
                    </a:lnTo>
                    <a:lnTo>
                      <a:pt x="20" y="30"/>
                    </a:lnTo>
                    <a:lnTo>
                      <a:pt x="22" y="26"/>
                    </a:lnTo>
                    <a:lnTo>
                      <a:pt x="26" y="20"/>
                    </a:lnTo>
                    <a:lnTo>
                      <a:pt x="32" y="12"/>
                    </a:lnTo>
                    <a:lnTo>
                      <a:pt x="32" y="12"/>
                    </a:lnTo>
                    <a:lnTo>
                      <a:pt x="36" y="4"/>
                    </a:lnTo>
                    <a:lnTo>
                      <a:pt x="38" y="2"/>
                    </a:lnTo>
                    <a:lnTo>
                      <a:pt x="36" y="0"/>
                    </a:lnTo>
                    <a:lnTo>
                      <a:pt x="32" y="0"/>
                    </a:lnTo>
                    <a:lnTo>
                      <a:pt x="28" y="2"/>
                    </a:lnTo>
                    <a:lnTo>
                      <a:pt x="28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8" name="Freeform 6054">
                <a:extLst>
                  <a:ext uri="{FF2B5EF4-FFF2-40B4-BE49-F238E27FC236}">
                    <a16:creationId xmlns:a16="http://schemas.microsoft.com/office/drawing/2014/main" id="{B4EE5FF2-1F63-48BF-9EA1-90D96040304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95730" y="1058863"/>
                <a:ext cx="317500" cy="121920"/>
              </a:xfrm>
              <a:custGeom>
                <a:avLst/>
                <a:gdLst/>
                <a:ahLst/>
                <a:cxnLst>
                  <a:cxn ang="0">
                    <a:pos x="314" y="78"/>
                  </a:cxn>
                  <a:cxn ang="0">
                    <a:pos x="338" y="86"/>
                  </a:cxn>
                  <a:cxn ang="0">
                    <a:pos x="354" y="100"/>
                  </a:cxn>
                  <a:cxn ang="0">
                    <a:pos x="340" y="106"/>
                  </a:cxn>
                  <a:cxn ang="0">
                    <a:pos x="280" y="102"/>
                  </a:cxn>
                  <a:cxn ang="0">
                    <a:pos x="258" y="102"/>
                  </a:cxn>
                  <a:cxn ang="0">
                    <a:pos x="236" y="72"/>
                  </a:cxn>
                  <a:cxn ang="0">
                    <a:pos x="186" y="46"/>
                  </a:cxn>
                  <a:cxn ang="0">
                    <a:pos x="154" y="54"/>
                  </a:cxn>
                  <a:cxn ang="0">
                    <a:pos x="138" y="36"/>
                  </a:cxn>
                  <a:cxn ang="0">
                    <a:pos x="102" y="32"/>
                  </a:cxn>
                  <a:cxn ang="0">
                    <a:pos x="42" y="58"/>
                  </a:cxn>
                  <a:cxn ang="0">
                    <a:pos x="46" y="66"/>
                  </a:cxn>
                  <a:cxn ang="0">
                    <a:pos x="22" y="88"/>
                  </a:cxn>
                  <a:cxn ang="0">
                    <a:pos x="24" y="98"/>
                  </a:cxn>
                  <a:cxn ang="0">
                    <a:pos x="14" y="110"/>
                  </a:cxn>
                  <a:cxn ang="0">
                    <a:pos x="6" y="132"/>
                  </a:cxn>
                  <a:cxn ang="0">
                    <a:pos x="66" y="146"/>
                  </a:cxn>
                  <a:cxn ang="0">
                    <a:pos x="94" y="138"/>
                  </a:cxn>
                  <a:cxn ang="0">
                    <a:pos x="106" y="146"/>
                  </a:cxn>
                  <a:cxn ang="0">
                    <a:pos x="124" y="148"/>
                  </a:cxn>
                  <a:cxn ang="0">
                    <a:pos x="144" y="126"/>
                  </a:cxn>
                  <a:cxn ang="0">
                    <a:pos x="152" y="130"/>
                  </a:cxn>
                  <a:cxn ang="0">
                    <a:pos x="158" y="140"/>
                  </a:cxn>
                  <a:cxn ang="0">
                    <a:pos x="232" y="132"/>
                  </a:cxn>
                  <a:cxn ang="0">
                    <a:pos x="264" y="134"/>
                  </a:cxn>
                  <a:cxn ang="0">
                    <a:pos x="212" y="148"/>
                  </a:cxn>
                  <a:cxn ang="0">
                    <a:pos x="144" y="160"/>
                  </a:cxn>
                  <a:cxn ang="0">
                    <a:pos x="134" y="176"/>
                  </a:cxn>
                  <a:cxn ang="0">
                    <a:pos x="166" y="190"/>
                  </a:cxn>
                  <a:cxn ang="0">
                    <a:pos x="234" y="184"/>
                  </a:cxn>
                  <a:cxn ang="0">
                    <a:pos x="296" y="164"/>
                  </a:cxn>
                  <a:cxn ang="0">
                    <a:pos x="350" y="146"/>
                  </a:cxn>
                  <a:cxn ang="0">
                    <a:pos x="378" y="152"/>
                  </a:cxn>
                  <a:cxn ang="0">
                    <a:pos x="394" y="144"/>
                  </a:cxn>
                  <a:cxn ang="0">
                    <a:pos x="420" y="150"/>
                  </a:cxn>
                  <a:cxn ang="0">
                    <a:pos x="460" y="138"/>
                  </a:cxn>
                  <a:cxn ang="0">
                    <a:pos x="492" y="106"/>
                  </a:cxn>
                  <a:cxn ang="0">
                    <a:pos x="498" y="84"/>
                  </a:cxn>
                  <a:cxn ang="0">
                    <a:pos x="470" y="68"/>
                  </a:cxn>
                  <a:cxn ang="0">
                    <a:pos x="436" y="70"/>
                  </a:cxn>
                  <a:cxn ang="0">
                    <a:pos x="398" y="80"/>
                  </a:cxn>
                  <a:cxn ang="0">
                    <a:pos x="400" y="68"/>
                  </a:cxn>
                  <a:cxn ang="0">
                    <a:pos x="384" y="60"/>
                  </a:cxn>
                  <a:cxn ang="0">
                    <a:pos x="384" y="52"/>
                  </a:cxn>
                  <a:cxn ang="0">
                    <a:pos x="382" y="40"/>
                  </a:cxn>
                  <a:cxn ang="0">
                    <a:pos x="370" y="18"/>
                  </a:cxn>
                  <a:cxn ang="0">
                    <a:pos x="358" y="0"/>
                  </a:cxn>
                  <a:cxn ang="0">
                    <a:pos x="300" y="28"/>
                  </a:cxn>
                  <a:cxn ang="0">
                    <a:pos x="290" y="40"/>
                  </a:cxn>
                  <a:cxn ang="0">
                    <a:pos x="318" y="54"/>
                  </a:cxn>
                  <a:cxn ang="0">
                    <a:pos x="328" y="66"/>
                  </a:cxn>
                </a:cxnLst>
                <a:rect l="0" t="0" r="r" b="b"/>
                <a:pathLst>
                  <a:path w="500" h="192">
                    <a:moveTo>
                      <a:pt x="322" y="70"/>
                    </a:moveTo>
                    <a:lnTo>
                      <a:pt x="322" y="70"/>
                    </a:lnTo>
                    <a:lnTo>
                      <a:pt x="316" y="76"/>
                    </a:lnTo>
                    <a:lnTo>
                      <a:pt x="314" y="78"/>
                    </a:lnTo>
                    <a:lnTo>
                      <a:pt x="316" y="80"/>
                    </a:lnTo>
                    <a:lnTo>
                      <a:pt x="320" y="82"/>
                    </a:lnTo>
                    <a:lnTo>
                      <a:pt x="330" y="84"/>
                    </a:lnTo>
                    <a:lnTo>
                      <a:pt x="338" y="86"/>
                    </a:lnTo>
                    <a:lnTo>
                      <a:pt x="348" y="90"/>
                    </a:lnTo>
                    <a:lnTo>
                      <a:pt x="354" y="94"/>
                    </a:lnTo>
                    <a:lnTo>
                      <a:pt x="356" y="96"/>
                    </a:lnTo>
                    <a:lnTo>
                      <a:pt x="354" y="100"/>
                    </a:lnTo>
                    <a:lnTo>
                      <a:pt x="354" y="100"/>
                    </a:lnTo>
                    <a:lnTo>
                      <a:pt x="352" y="104"/>
                    </a:lnTo>
                    <a:lnTo>
                      <a:pt x="346" y="108"/>
                    </a:lnTo>
                    <a:lnTo>
                      <a:pt x="340" y="106"/>
                    </a:lnTo>
                    <a:lnTo>
                      <a:pt x="332" y="106"/>
                    </a:lnTo>
                    <a:lnTo>
                      <a:pt x="310" y="102"/>
                    </a:lnTo>
                    <a:lnTo>
                      <a:pt x="296" y="100"/>
                    </a:lnTo>
                    <a:lnTo>
                      <a:pt x="280" y="102"/>
                    </a:lnTo>
                    <a:lnTo>
                      <a:pt x="280" y="102"/>
                    </a:lnTo>
                    <a:lnTo>
                      <a:pt x="268" y="104"/>
                    </a:lnTo>
                    <a:lnTo>
                      <a:pt x="260" y="104"/>
                    </a:lnTo>
                    <a:lnTo>
                      <a:pt x="258" y="102"/>
                    </a:lnTo>
                    <a:lnTo>
                      <a:pt x="256" y="98"/>
                    </a:lnTo>
                    <a:lnTo>
                      <a:pt x="252" y="90"/>
                    </a:lnTo>
                    <a:lnTo>
                      <a:pt x="246" y="82"/>
                    </a:lnTo>
                    <a:lnTo>
                      <a:pt x="236" y="72"/>
                    </a:lnTo>
                    <a:lnTo>
                      <a:pt x="220" y="60"/>
                    </a:lnTo>
                    <a:lnTo>
                      <a:pt x="220" y="60"/>
                    </a:lnTo>
                    <a:lnTo>
                      <a:pt x="200" y="50"/>
                    </a:lnTo>
                    <a:lnTo>
                      <a:pt x="186" y="46"/>
                    </a:lnTo>
                    <a:lnTo>
                      <a:pt x="174" y="46"/>
                    </a:lnTo>
                    <a:lnTo>
                      <a:pt x="166" y="50"/>
                    </a:lnTo>
                    <a:lnTo>
                      <a:pt x="160" y="52"/>
                    </a:lnTo>
                    <a:lnTo>
                      <a:pt x="154" y="54"/>
                    </a:lnTo>
                    <a:lnTo>
                      <a:pt x="150" y="52"/>
                    </a:lnTo>
                    <a:lnTo>
                      <a:pt x="144" y="44"/>
                    </a:lnTo>
                    <a:lnTo>
                      <a:pt x="144" y="44"/>
                    </a:lnTo>
                    <a:lnTo>
                      <a:pt x="138" y="36"/>
                    </a:lnTo>
                    <a:lnTo>
                      <a:pt x="130" y="30"/>
                    </a:lnTo>
                    <a:lnTo>
                      <a:pt x="122" y="30"/>
                    </a:lnTo>
                    <a:lnTo>
                      <a:pt x="112" y="30"/>
                    </a:lnTo>
                    <a:lnTo>
                      <a:pt x="102" y="32"/>
                    </a:lnTo>
                    <a:lnTo>
                      <a:pt x="88" y="38"/>
                    </a:lnTo>
                    <a:lnTo>
                      <a:pt x="60" y="50"/>
                    </a:lnTo>
                    <a:lnTo>
                      <a:pt x="60" y="50"/>
                    </a:lnTo>
                    <a:lnTo>
                      <a:pt x="42" y="58"/>
                    </a:lnTo>
                    <a:lnTo>
                      <a:pt x="40" y="60"/>
                    </a:lnTo>
                    <a:lnTo>
                      <a:pt x="42" y="60"/>
                    </a:lnTo>
                    <a:lnTo>
                      <a:pt x="44" y="64"/>
                    </a:lnTo>
                    <a:lnTo>
                      <a:pt x="46" y="66"/>
                    </a:lnTo>
                    <a:lnTo>
                      <a:pt x="42" y="72"/>
                    </a:lnTo>
                    <a:lnTo>
                      <a:pt x="32" y="80"/>
                    </a:lnTo>
                    <a:lnTo>
                      <a:pt x="32" y="80"/>
                    </a:lnTo>
                    <a:lnTo>
                      <a:pt x="22" y="88"/>
                    </a:lnTo>
                    <a:lnTo>
                      <a:pt x="20" y="94"/>
                    </a:lnTo>
                    <a:lnTo>
                      <a:pt x="20" y="96"/>
                    </a:lnTo>
                    <a:lnTo>
                      <a:pt x="22" y="98"/>
                    </a:lnTo>
                    <a:lnTo>
                      <a:pt x="24" y="98"/>
                    </a:lnTo>
                    <a:lnTo>
                      <a:pt x="26" y="100"/>
                    </a:lnTo>
                    <a:lnTo>
                      <a:pt x="22" y="104"/>
                    </a:lnTo>
                    <a:lnTo>
                      <a:pt x="14" y="110"/>
                    </a:lnTo>
                    <a:lnTo>
                      <a:pt x="14" y="110"/>
                    </a:lnTo>
                    <a:lnTo>
                      <a:pt x="4" y="118"/>
                    </a:lnTo>
                    <a:lnTo>
                      <a:pt x="0" y="124"/>
                    </a:lnTo>
                    <a:lnTo>
                      <a:pt x="2" y="128"/>
                    </a:lnTo>
                    <a:lnTo>
                      <a:pt x="6" y="132"/>
                    </a:lnTo>
                    <a:lnTo>
                      <a:pt x="26" y="138"/>
                    </a:lnTo>
                    <a:lnTo>
                      <a:pt x="54" y="144"/>
                    </a:lnTo>
                    <a:lnTo>
                      <a:pt x="54" y="144"/>
                    </a:lnTo>
                    <a:lnTo>
                      <a:pt x="66" y="146"/>
                    </a:lnTo>
                    <a:lnTo>
                      <a:pt x="76" y="146"/>
                    </a:lnTo>
                    <a:lnTo>
                      <a:pt x="84" y="144"/>
                    </a:lnTo>
                    <a:lnTo>
                      <a:pt x="88" y="142"/>
                    </a:lnTo>
                    <a:lnTo>
                      <a:pt x="94" y="138"/>
                    </a:lnTo>
                    <a:lnTo>
                      <a:pt x="96" y="136"/>
                    </a:lnTo>
                    <a:lnTo>
                      <a:pt x="98" y="140"/>
                    </a:lnTo>
                    <a:lnTo>
                      <a:pt x="98" y="140"/>
                    </a:lnTo>
                    <a:lnTo>
                      <a:pt x="106" y="146"/>
                    </a:lnTo>
                    <a:lnTo>
                      <a:pt x="110" y="148"/>
                    </a:lnTo>
                    <a:lnTo>
                      <a:pt x="114" y="150"/>
                    </a:lnTo>
                    <a:lnTo>
                      <a:pt x="118" y="150"/>
                    </a:lnTo>
                    <a:lnTo>
                      <a:pt x="124" y="148"/>
                    </a:lnTo>
                    <a:lnTo>
                      <a:pt x="128" y="144"/>
                    </a:lnTo>
                    <a:lnTo>
                      <a:pt x="134" y="138"/>
                    </a:lnTo>
                    <a:lnTo>
                      <a:pt x="134" y="138"/>
                    </a:lnTo>
                    <a:lnTo>
                      <a:pt x="144" y="126"/>
                    </a:lnTo>
                    <a:lnTo>
                      <a:pt x="150" y="122"/>
                    </a:lnTo>
                    <a:lnTo>
                      <a:pt x="152" y="122"/>
                    </a:lnTo>
                    <a:lnTo>
                      <a:pt x="154" y="124"/>
                    </a:lnTo>
                    <a:lnTo>
                      <a:pt x="152" y="130"/>
                    </a:lnTo>
                    <a:lnTo>
                      <a:pt x="152" y="130"/>
                    </a:lnTo>
                    <a:lnTo>
                      <a:pt x="150" y="134"/>
                    </a:lnTo>
                    <a:lnTo>
                      <a:pt x="154" y="138"/>
                    </a:lnTo>
                    <a:lnTo>
                      <a:pt x="158" y="140"/>
                    </a:lnTo>
                    <a:lnTo>
                      <a:pt x="166" y="142"/>
                    </a:lnTo>
                    <a:lnTo>
                      <a:pt x="192" y="140"/>
                    </a:lnTo>
                    <a:lnTo>
                      <a:pt x="232" y="132"/>
                    </a:lnTo>
                    <a:lnTo>
                      <a:pt x="232" y="132"/>
                    </a:lnTo>
                    <a:lnTo>
                      <a:pt x="252" y="130"/>
                    </a:lnTo>
                    <a:lnTo>
                      <a:pt x="262" y="130"/>
                    </a:lnTo>
                    <a:lnTo>
                      <a:pt x="266" y="130"/>
                    </a:lnTo>
                    <a:lnTo>
                      <a:pt x="264" y="134"/>
                    </a:lnTo>
                    <a:lnTo>
                      <a:pt x="256" y="138"/>
                    </a:lnTo>
                    <a:lnTo>
                      <a:pt x="244" y="142"/>
                    </a:lnTo>
                    <a:lnTo>
                      <a:pt x="228" y="144"/>
                    </a:lnTo>
                    <a:lnTo>
                      <a:pt x="212" y="148"/>
                    </a:lnTo>
                    <a:lnTo>
                      <a:pt x="212" y="148"/>
                    </a:lnTo>
                    <a:lnTo>
                      <a:pt x="176" y="152"/>
                    </a:lnTo>
                    <a:lnTo>
                      <a:pt x="158" y="156"/>
                    </a:lnTo>
                    <a:lnTo>
                      <a:pt x="144" y="160"/>
                    </a:lnTo>
                    <a:lnTo>
                      <a:pt x="136" y="166"/>
                    </a:lnTo>
                    <a:lnTo>
                      <a:pt x="134" y="168"/>
                    </a:lnTo>
                    <a:lnTo>
                      <a:pt x="134" y="172"/>
                    </a:lnTo>
                    <a:lnTo>
                      <a:pt x="134" y="176"/>
                    </a:lnTo>
                    <a:lnTo>
                      <a:pt x="138" y="178"/>
                    </a:lnTo>
                    <a:lnTo>
                      <a:pt x="152" y="186"/>
                    </a:lnTo>
                    <a:lnTo>
                      <a:pt x="152" y="186"/>
                    </a:lnTo>
                    <a:lnTo>
                      <a:pt x="166" y="190"/>
                    </a:lnTo>
                    <a:lnTo>
                      <a:pt x="178" y="192"/>
                    </a:lnTo>
                    <a:lnTo>
                      <a:pt x="192" y="192"/>
                    </a:lnTo>
                    <a:lnTo>
                      <a:pt x="206" y="190"/>
                    </a:lnTo>
                    <a:lnTo>
                      <a:pt x="234" y="184"/>
                    </a:lnTo>
                    <a:lnTo>
                      <a:pt x="266" y="174"/>
                    </a:lnTo>
                    <a:lnTo>
                      <a:pt x="266" y="174"/>
                    </a:lnTo>
                    <a:lnTo>
                      <a:pt x="282" y="170"/>
                    </a:lnTo>
                    <a:lnTo>
                      <a:pt x="296" y="164"/>
                    </a:lnTo>
                    <a:lnTo>
                      <a:pt x="318" y="154"/>
                    </a:lnTo>
                    <a:lnTo>
                      <a:pt x="328" y="150"/>
                    </a:lnTo>
                    <a:lnTo>
                      <a:pt x="338" y="146"/>
                    </a:lnTo>
                    <a:lnTo>
                      <a:pt x="350" y="146"/>
                    </a:lnTo>
                    <a:lnTo>
                      <a:pt x="360" y="148"/>
                    </a:lnTo>
                    <a:lnTo>
                      <a:pt x="360" y="148"/>
                    </a:lnTo>
                    <a:lnTo>
                      <a:pt x="370" y="150"/>
                    </a:lnTo>
                    <a:lnTo>
                      <a:pt x="378" y="152"/>
                    </a:lnTo>
                    <a:lnTo>
                      <a:pt x="382" y="150"/>
                    </a:lnTo>
                    <a:lnTo>
                      <a:pt x="386" y="148"/>
                    </a:lnTo>
                    <a:lnTo>
                      <a:pt x="388" y="146"/>
                    </a:lnTo>
                    <a:lnTo>
                      <a:pt x="394" y="144"/>
                    </a:lnTo>
                    <a:lnTo>
                      <a:pt x="400" y="144"/>
                    </a:lnTo>
                    <a:lnTo>
                      <a:pt x="410" y="146"/>
                    </a:lnTo>
                    <a:lnTo>
                      <a:pt x="410" y="146"/>
                    </a:lnTo>
                    <a:lnTo>
                      <a:pt x="420" y="150"/>
                    </a:lnTo>
                    <a:lnTo>
                      <a:pt x="430" y="150"/>
                    </a:lnTo>
                    <a:lnTo>
                      <a:pt x="440" y="148"/>
                    </a:lnTo>
                    <a:lnTo>
                      <a:pt x="450" y="144"/>
                    </a:lnTo>
                    <a:lnTo>
                      <a:pt x="460" y="138"/>
                    </a:lnTo>
                    <a:lnTo>
                      <a:pt x="470" y="130"/>
                    </a:lnTo>
                    <a:lnTo>
                      <a:pt x="482" y="120"/>
                    </a:lnTo>
                    <a:lnTo>
                      <a:pt x="492" y="106"/>
                    </a:lnTo>
                    <a:lnTo>
                      <a:pt x="492" y="106"/>
                    </a:lnTo>
                    <a:lnTo>
                      <a:pt x="496" y="100"/>
                    </a:lnTo>
                    <a:lnTo>
                      <a:pt x="500" y="94"/>
                    </a:lnTo>
                    <a:lnTo>
                      <a:pt x="500" y="88"/>
                    </a:lnTo>
                    <a:lnTo>
                      <a:pt x="498" y="84"/>
                    </a:lnTo>
                    <a:lnTo>
                      <a:pt x="496" y="80"/>
                    </a:lnTo>
                    <a:lnTo>
                      <a:pt x="492" y="76"/>
                    </a:lnTo>
                    <a:lnTo>
                      <a:pt x="482" y="70"/>
                    </a:lnTo>
                    <a:lnTo>
                      <a:pt x="470" y="68"/>
                    </a:lnTo>
                    <a:lnTo>
                      <a:pt x="456" y="66"/>
                    </a:lnTo>
                    <a:lnTo>
                      <a:pt x="444" y="68"/>
                    </a:lnTo>
                    <a:lnTo>
                      <a:pt x="436" y="70"/>
                    </a:lnTo>
                    <a:lnTo>
                      <a:pt x="436" y="70"/>
                    </a:lnTo>
                    <a:lnTo>
                      <a:pt x="420" y="76"/>
                    </a:lnTo>
                    <a:lnTo>
                      <a:pt x="406" y="80"/>
                    </a:lnTo>
                    <a:lnTo>
                      <a:pt x="402" y="82"/>
                    </a:lnTo>
                    <a:lnTo>
                      <a:pt x="398" y="80"/>
                    </a:lnTo>
                    <a:lnTo>
                      <a:pt x="398" y="78"/>
                    </a:lnTo>
                    <a:lnTo>
                      <a:pt x="400" y="72"/>
                    </a:lnTo>
                    <a:lnTo>
                      <a:pt x="400" y="72"/>
                    </a:lnTo>
                    <a:lnTo>
                      <a:pt x="400" y="68"/>
                    </a:lnTo>
                    <a:lnTo>
                      <a:pt x="398" y="64"/>
                    </a:lnTo>
                    <a:lnTo>
                      <a:pt x="394" y="62"/>
                    </a:lnTo>
                    <a:lnTo>
                      <a:pt x="390" y="62"/>
                    </a:lnTo>
                    <a:lnTo>
                      <a:pt x="384" y="60"/>
                    </a:lnTo>
                    <a:lnTo>
                      <a:pt x="380" y="60"/>
                    </a:lnTo>
                    <a:lnTo>
                      <a:pt x="380" y="56"/>
                    </a:lnTo>
                    <a:lnTo>
                      <a:pt x="384" y="52"/>
                    </a:lnTo>
                    <a:lnTo>
                      <a:pt x="384" y="52"/>
                    </a:lnTo>
                    <a:lnTo>
                      <a:pt x="388" y="46"/>
                    </a:lnTo>
                    <a:lnTo>
                      <a:pt x="388" y="44"/>
                    </a:lnTo>
                    <a:lnTo>
                      <a:pt x="386" y="42"/>
                    </a:lnTo>
                    <a:lnTo>
                      <a:pt x="382" y="40"/>
                    </a:lnTo>
                    <a:lnTo>
                      <a:pt x="378" y="38"/>
                    </a:lnTo>
                    <a:lnTo>
                      <a:pt x="374" y="34"/>
                    </a:lnTo>
                    <a:lnTo>
                      <a:pt x="372" y="28"/>
                    </a:lnTo>
                    <a:lnTo>
                      <a:pt x="370" y="18"/>
                    </a:lnTo>
                    <a:lnTo>
                      <a:pt x="370" y="18"/>
                    </a:lnTo>
                    <a:lnTo>
                      <a:pt x="368" y="8"/>
                    </a:lnTo>
                    <a:lnTo>
                      <a:pt x="364" y="2"/>
                    </a:lnTo>
                    <a:lnTo>
                      <a:pt x="358" y="0"/>
                    </a:lnTo>
                    <a:lnTo>
                      <a:pt x="350" y="2"/>
                    </a:lnTo>
                    <a:lnTo>
                      <a:pt x="340" y="6"/>
                    </a:lnTo>
                    <a:lnTo>
                      <a:pt x="328" y="12"/>
                    </a:lnTo>
                    <a:lnTo>
                      <a:pt x="300" y="28"/>
                    </a:lnTo>
                    <a:lnTo>
                      <a:pt x="300" y="28"/>
                    </a:lnTo>
                    <a:lnTo>
                      <a:pt x="294" y="32"/>
                    </a:lnTo>
                    <a:lnTo>
                      <a:pt x="292" y="36"/>
                    </a:lnTo>
                    <a:lnTo>
                      <a:pt x="290" y="40"/>
                    </a:lnTo>
                    <a:lnTo>
                      <a:pt x="292" y="42"/>
                    </a:lnTo>
                    <a:lnTo>
                      <a:pt x="298" y="46"/>
                    </a:lnTo>
                    <a:lnTo>
                      <a:pt x="308" y="50"/>
                    </a:lnTo>
                    <a:lnTo>
                      <a:pt x="318" y="54"/>
                    </a:lnTo>
                    <a:lnTo>
                      <a:pt x="326" y="58"/>
                    </a:lnTo>
                    <a:lnTo>
                      <a:pt x="328" y="60"/>
                    </a:lnTo>
                    <a:lnTo>
                      <a:pt x="328" y="64"/>
                    </a:lnTo>
                    <a:lnTo>
                      <a:pt x="328" y="66"/>
                    </a:lnTo>
                    <a:lnTo>
                      <a:pt x="322" y="70"/>
                    </a:lnTo>
                    <a:lnTo>
                      <a:pt x="322" y="7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59" name="Freeform 6074">
                <a:extLst>
                  <a:ext uri="{FF2B5EF4-FFF2-40B4-BE49-F238E27FC236}">
                    <a16:creationId xmlns:a16="http://schemas.microsoft.com/office/drawing/2014/main" id="{CCB3CA67-B218-4EB9-8F12-5AC04ACCA3F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33930" y="3139123"/>
                <a:ext cx="278130" cy="109220"/>
              </a:xfrm>
              <a:custGeom>
                <a:avLst/>
                <a:gdLst/>
                <a:ahLst/>
                <a:cxnLst>
                  <a:cxn ang="0">
                    <a:pos x="416" y="160"/>
                  </a:cxn>
                  <a:cxn ang="0">
                    <a:pos x="436" y="156"/>
                  </a:cxn>
                  <a:cxn ang="0">
                    <a:pos x="428" y="148"/>
                  </a:cxn>
                  <a:cxn ang="0">
                    <a:pos x="414" y="136"/>
                  </a:cxn>
                  <a:cxn ang="0">
                    <a:pos x="384" y="126"/>
                  </a:cxn>
                  <a:cxn ang="0">
                    <a:pos x="374" y="120"/>
                  </a:cxn>
                  <a:cxn ang="0">
                    <a:pos x="376" y="108"/>
                  </a:cxn>
                  <a:cxn ang="0">
                    <a:pos x="358" y="106"/>
                  </a:cxn>
                  <a:cxn ang="0">
                    <a:pos x="350" y="100"/>
                  </a:cxn>
                  <a:cxn ang="0">
                    <a:pos x="338" y="100"/>
                  </a:cxn>
                  <a:cxn ang="0">
                    <a:pos x="326" y="92"/>
                  </a:cxn>
                  <a:cxn ang="0">
                    <a:pos x="300" y="68"/>
                  </a:cxn>
                  <a:cxn ang="0">
                    <a:pos x="300" y="76"/>
                  </a:cxn>
                  <a:cxn ang="0">
                    <a:pos x="292" y="64"/>
                  </a:cxn>
                  <a:cxn ang="0">
                    <a:pos x="286" y="60"/>
                  </a:cxn>
                  <a:cxn ang="0">
                    <a:pos x="260" y="48"/>
                  </a:cxn>
                  <a:cxn ang="0">
                    <a:pos x="230" y="40"/>
                  </a:cxn>
                  <a:cxn ang="0">
                    <a:pos x="216" y="28"/>
                  </a:cxn>
                  <a:cxn ang="0">
                    <a:pos x="194" y="14"/>
                  </a:cxn>
                  <a:cxn ang="0">
                    <a:pos x="180" y="8"/>
                  </a:cxn>
                  <a:cxn ang="0">
                    <a:pos x="164" y="8"/>
                  </a:cxn>
                  <a:cxn ang="0">
                    <a:pos x="150" y="0"/>
                  </a:cxn>
                  <a:cxn ang="0">
                    <a:pos x="136" y="4"/>
                  </a:cxn>
                  <a:cxn ang="0">
                    <a:pos x="112" y="0"/>
                  </a:cxn>
                  <a:cxn ang="0">
                    <a:pos x="92" y="10"/>
                  </a:cxn>
                  <a:cxn ang="0">
                    <a:pos x="56" y="18"/>
                  </a:cxn>
                  <a:cxn ang="0">
                    <a:pos x="24" y="42"/>
                  </a:cxn>
                  <a:cxn ang="0">
                    <a:pos x="24" y="58"/>
                  </a:cxn>
                  <a:cxn ang="0">
                    <a:pos x="2" y="66"/>
                  </a:cxn>
                  <a:cxn ang="0">
                    <a:pos x="4" y="72"/>
                  </a:cxn>
                  <a:cxn ang="0">
                    <a:pos x="18" y="72"/>
                  </a:cxn>
                  <a:cxn ang="0">
                    <a:pos x="24" y="72"/>
                  </a:cxn>
                  <a:cxn ang="0">
                    <a:pos x="40" y="62"/>
                  </a:cxn>
                  <a:cxn ang="0">
                    <a:pos x="70" y="44"/>
                  </a:cxn>
                  <a:cxn ang="0">
                    <a:pos x="92" y="30"/>
                  </a:cxn>
                  <a:cxn ang="0">
                    <a:pos x="132" y="32"/>
                  </a:cxn>
                  <a:cxn ang="0">
                    <a:pos x="124" y="38"/>
                  </a:cxn>
                  <a:cxn ang="0">
                    <a:pos x="118" y="46"/>
                  </a:cxn>
                  <a:cxn ang="0">
                    <a:pos x="164" y="58"/>
                  </a:cxn>
                  <a:cxn ang="0">
                    <a:pos x="186" y="62"/>
                  </a:cxn>
                  <a:cxn ang="0">
                    <a:pos x="214" y="80"/>
                  </a:cxn>
                  <a:cxn ang="0">
                    <a:pos x="242" y="84"/>
                  </a:cxn>
                  <a:cxn ang="0">
                    <a:pos x="256" y="94"/>
                  </a:cxn>
                  <a:cxn ang="0">
                    <a:pos x="268" y="120"/>
                  </a:cxn>
                  <a:cxn ang="0">
                    <a:pos x="288" y="128"/>
                  </a:cxn>
                  <a:cxn ang="0">
                    <a:pos x="318" y="136"/>
                  </a:cxn>
                  <a:cxn ang="0">
                    <a:pos x="310" y="150"/>
                  </a:cxn>
                  <a:cxn ang="0">
                    <a:pos x="290" y="168"/>
                  </a:cxn>
                  <a:cxn ang="0">
                    <a:pos x="348" y="164"/>
                  </a:cxn>
                  <a:cxn ang="0">
                    <a:pos x="382" y="170"/>
                  </a:cxn>
                  <a:cxn ang="0">
                    <a:pos x="400" y="166"/>
                  </a:cxn>
                </a:cxnLst>
                <a:rect l="0" t="0" r="r" b="b"/>
                <a:pathLst>
                  <a:path w="438" h="172">
                    <a:moveTo>
                      <a:pt x="400" y="166"/>
                    </a:moveTo>
                    <a:lnTo>
                      <a:pt x="400" y="166"/>
                    </a:lnTo>
                    <a:lnTo>
                      <a:pt x="410" y="162"/>
                    </a:lnTo>
                    <a:lnTo>
                      <a:pt x="416" y="160"/>
                    </a:lnTo>
                    <a:lnTo>
                      <a:pt x="426" y="160"/>
                    </a:lnTo>
                    <a:lnTo>
                      <a:pt x="432" y="162"/>
                    </a:lnTo>
                    <a:lnTo>
                      <a:pt x="436" y="156"/>
                    </a:lnTo>
                    <a:lnTo>
                      <a:pt x="436" y="156"/>
                    </a:lnTo>
                    <a:lnTo>
                      <a:pt x="438" y="152"/>
                    </a:lnTo>
                    <a:lnTo>
                      <a:pt x="438" y="150"/>
                    </a:lnTo>
                    <a:lnTo>
                      <a:pt x="434" y="150"/>
                    </a:lnTo>
                    <a:lnTo>
                      <a:pt x="428" y="148"/>
                    </a:lnTo>
                    <a:lnTo>
                      <a:pt x="424" y="146"/>
                    </a:lnTo>
                    <a:lnTo>
                      <a:pt x="420" y="144"/>
                    </a:lnTo>
                    <a:lnTo>
                      <a:pt x="420" y="144"/>
                    </a:lnTo>
                    <a:lnTo>
                      <a:pt x="414" y="136"/>
                    </a:lnTo>
                    <a:lnTo>
                      <a:pt x="410" y="132"/>
                    </a:lnTo>
                    <a:lnTo>
                      <a:pt x="400" y="128"/>
                    </a:lnTo>
                    <a:lnTo>
                      <a:pt x="384" y="126"/>
                    </a:lnTo>
                    <a:lnTo>
                      <a:pt x="384" y="126"/>
                    </a:lnTo>
                    <a:lnTo>
                      <a:pt x="372" y="124"/>
                    </a:lnTo>
                    <a:lnTo>
                      <a:pt x="370" y="124"/>
                    </a:lnTo>
                    <a:lnTo>
                      <a:pt x="372" y="122"/>
                    </a:lnTo>
                    <a:lnTo>
                      <a:pt x="374" y="120"/>
                    </a:lnTo>
                    <a:lnTo>
                      <a:pt x="376" y="116"/>
                    </a:lnTo>
                    <a:lnTo>
                      <a:pt x="376" y="112"/>
                    </a:lnTo>
                    <a:lnTo>
                      <a:pt x="376" y="112"/>
                    </a:lnTo>
                    <a:lnTo>
                      <a:pt x="376" y="108"/>
                    </a:lnTo>
                    <a:lnTo>
                      <a:pt x="374" y="108"/>
                    </a:lnTo>
                    <a:lnTo>
                      <a:pt x="368" y="106"/>
                    </a:lnTo>
                    <a:lnTo>
                      <a:pt x="362" y="106"/>
                    </a:lnTo>
                    <a:lnTo>
                      <a:pt x="358" y="106"/>
                    </a:lnTo>
                    <a:lnTo>
                      <a:pt x="356" y="104"/>
                    </a:lnTo>
                    <a:lnTo>
                      <a:pt x="356" y="104"/>
                    </a:lnTo>
                    <a:lnTo>
                      <a:pt x="352" y="102"/>
                    </a:lnTo>
                    <a:lnTo>
                      <a:pt x="350" y="100"/>
                    </a:lnTo>
                    <a:lnTo>
                      <a:pt x="344" y="102"/>
                    </a:lnTo>
                    <a:lnTo>
                      <a:pt x="340" y="102"/>
                    </a:lnTo>
                    <a:lnTo>
                      <a:pt x="338" y="102"/>
                    </a:lnTo>
                    <a:lnTo>
                      <a:pt x="338" y="100"/>
                    </a:lnTo>
                    <a:lnTo>
                      <a:pt x="338" y="100"/>
                    </a:lnTo>
                    <a:lnTo>
                      <a:pt x="334" y="96"/>
                    </a:lnTo>
                    <a:lnTo>
                      <a:pt x="332" y="94"/>
                    </a:lnTo>
                    <a:lnTo>
                      <a:pt x="326" y="92"/>
                    </a:lnTo>
                    <a:lnTo>
                      <a:pt x="320" y="86"/>
                    </a:lnTo>
                    <a:lnTo>
                      <a:pt x="320" y="86"/>
                    </a:lnTo>
                    <a:lnTo>
                      <a:pt x="304" y="70"/>
                    </a:lnTo>
                    <a:lnTo>
                      <a:pt x="300" y="68"/>
                    </a:lnTo>
                    <a:lnTo>
                      <a:pt x="300" y="70"/>
                    </a:lnTo>
                    <a:lnTo>
                      <a:pt x="300" y="72"/>
                    </a:lnTo>
                    <a:lnTo>
                      <a:pt x="300" y="72"/>
                    </a:lnTo>
                    <a:lnTo>
                      <a:pt x="300" y="76"/>
                    </a:lnTo>
                    <a:lnTo>
                      <a:pt x="300" y="76"/>
                    </a:lnTo>
                    <a:lnTo>
                      <a:pt x="296" y="76"/>
                    </a:lnTo>
                    <a:lnTo>
                      <a:pt x="294" y="70"/>
                    </a:lnTo>
                    <a:lnTo>
                      <a:pt x="292" y="64"/>
                    </a:lnTo>
                    <a:lnTo>
                      <a:pt x="292" y="64"/>
                    </a:lnTo>
                    <a:lnTo>
                      <a:pt x="292" y="62"/>
                    </a:lnTo>
                    <a:lnTo>
                      <a:pt x="292" y="60"/>
                    </a:lnTo>
                    <a:lnTo>
                      <a:pt x="286" y="60"/>
                    </a:lnTo>
                    <a:lnTo>
                      <a:pt x="276" y="56"/>
                    </a:lnTo>
                    <a:lnTo>
                      <a:pt x="268" y="54"/>
                    </a:lnTo>
                    <a:lnTo>
                      <a:pt x="260" y="48"/>
                    </a:lnTo>
                    <a:lnTo>
                      <a:pt x="260" y="48"/>
                    </a:lnTo>
                    <a:lnTo>
                      <a:pt x="252" y="42"/>
                    </a:lnTo>
                    <a:lnTo>
                      <a:pt x="244" y="40"/>
                    </a:lnTo>
                    <a:lnTo>
                      <a:pt x="234" y="40"/>
                    </a:lnTo>
                    <a:lnTo>
                      <a:pt x="230" y="40"/>
                    </a:lnTo>
                    <a:lnTo>
                      <a:pt x="226" y="38"/>
                    </a:lnTo>
                    <a:lnTo>
                      <a:pt x="220" y="34"/>
                    </a:lnTo>
                    <a:lnTo>
                      <a:pt x="216" y="28"/>
                    </a:lnTo>
                    <a:lnTo>
                      <a:pt x="216" y="28"/>
                    </a:lnTo>
                    <a:lnTo>
                      <a:pt x="210" y="20"/>
                    </a:lnTo>
                    <a:lnTo>
                      <a:pt x="204" y="16"/>
                    </a:lnTo>
                    <a:lnTo>
                      <a:pt x="200" y="14"/>
                    </a:lnTo>
                    <a:lnTo>
                      <a:pt x="194" y="14"/>
                    </a:lnTo>
                    <a:lnTo>
                      <a:pt x="186" y="14"/>
                    </a:lnTo>
                    <a:lnTo>
                      <a:pt x="182" y="12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76" y="6"/>
                    </a:lnTo>
                    <a:lnTo>
                      <a:pt x="174" y="4"/>
                    </a:lnTo>
                    <a:lnTo>
                      <a:pt x="168" y="6"/>
                    </a:lnTo>
                    <a:lnTo>
                      <a:pt x="164" y="8"/>
                    </a:lnTo>
                    <a:lnTo>
                      <a:pt x="160" y="6"/>
                    </a:lnTo>
                    <a:lnTo>
                      <a:pt x="156" y="4"/>
                    </a:lnTo>
                    <a:lnTo>
                      <a:pt x="156" y="4"/>
                    </a:lnTo>
                    <a:lnTo>
                      <a:pt x="150" y="0"/>
                    </a:lnTo>
                    <a:lnTo>
                      <a:pt x="148" y="2"/>
                    </a:lnTo>
                    <a:lnTo>
                      <a:pt x="146" y="2"/>
                    </a:lnTo>
                    <a:lnTo>
                      <a:pt x="142" y="4"/>
                    </a:lnTo>
                    <a:lnTo>
                      <a:pt x="136" y="4"/>
                    </a:lnTo>
                    <a:lnTo>
                      <a:pt x="126" y="2"/>
                    </a:lnTo>
                    <a:lnTo>
                      <a:pt x="126" y="2"/>
                    </a:lnTo>
                    <a:lnTo>
                      <a:pt x="118" y="0"/>
                    </a:lnTo>
                    <a:lnTo>
                      <a:pt x="112" y="0"/>
                    </a:lnTo>
                    <a:lnTo>
                      <a:pt x="108" y="2"/>
                    </a:lnTo>
                    <a:lnTo>
                      <a:pt x="104" y="4"/>
                    </a:lnTo>
                    <a:lnTo>
                      <a:pt x="98" y="8"/>
                    </a:lnTo>
                    <a:lnTo>
                      <a:pt x="92" y="10"/>
                    </a:lnTo>
                    <a:lnTo>
                      <a:pt x="86" y="10"/>
                    </a:lnTo>
                    <a:lnTo>
                      <a:pt x="86" y="10"/>
                    </a:lnTo>
                    <a:lnTo>
                      <a:pt x="68" y="14"/>
                    </a:lnTo>
                    <a:lnTo>
                      <a:pt x="56" y="18"/>
                    </a:lnTo>
                    <a:lnTo>
                      <a:pt x="44" y="22"/>
                    </a:lnTo>
                    <a:lnTo>
                      <a:pt x="36" y="28"/>
                    </a:lnTo>
                    <a:lnTo>
                      <a:pt x="28" y="34"/>
                    </a:lnTo>
                    <a:lnTo>
                      <a:pt x="24" y="42"/>
                    </a:lnTo>
                    <a:lnTo>
                      <a:pt x="22" y="48"/>
                    </a:lnTo>
                    <a:lnTo>
                      <a:pt x="24" y="54"/>
                    </a:lnTo>
                    <a:lnTo>
                      <a:pt x="24" y="54"/>
                    </a:lnTo>
                    <a:lnTo>
                      <a:pt x="24" y="58"/>
                    </a:lnTo>
                    <a:lnTo>
                      <a:pt x="22" y="60"/>
                    </a:lnTo>
                    <a:lnTo>
                      <a:pt x="14" y="62"/>
                    </a:lnTo>
                    <a:lnTo>
                      <a:pt x="4" y="64"/>
                    </a:lnTo>
                    <a:lnTo>
                      <a:pt x="2" y="66"/>
                    </a:lnTo>
                    <a:lnTo>
                      <a:pt x="0" y="68"/>
                    </a:lnTo>
                    <a:lnTo>
                      <a:pt x="0" y="68"/>
                    </a:lnTo>
                    <a:lnTo>
                      <a:pt x="2" y="70"/>
                    </a:lnTo>
                    <a:lnTo>
                      <a:pt x="4" y="72"/>
                    </a:lnTo>
                    <a:lnTo>
                      <a:pt x="8" y="72"/>
                    </a:lnTo>
                    <a:lnTo>
                      <a:pt x="14" y="72"/>
                    </a:lnTo>
                    <a:lnTo>
                      <a:pt x="16" y="72"/>
                    </a:lnTo>
                    <a:lnTo>
                      <a:pt x="18" y="72"/>
                    </a:lnTo>
                    <a:lnTo>
                      <a:pt x="18" y="72"/>
                    </a:lnTo>
                    <a:lnTo>
                      <a:pt x="18" y="74"/>
                    </a:lnTo>
                    <a:lnTo>
                      <a:pt x="20" y="74"/>
                    </a:lnTo>
                    <a:lnTo>
                      <a:pt x="24" y="72"/>
                    </a:lnTo>
                    <a:lnTo>
                      <a:pt x="30" y="68"/>
                    </a:lnTo>
                    <a:lnTo>
                      <a:pt x="38" y="68"/>
                    </a:lnTo>
                    <a:lnTo>
                      <a:pt x="38" y="68"/>
                    </a:lnTo>
                    <a:lnTo>
                      <a:pt x="40" y="62"/>
                    </a:lnTo>
                    <a:lnTo>
                      <a:pt x="42" y="58"/>
                    </a:lnTo>
                    <a:lnTo>
                      <a:pt x="52" y="54"/>
                    </a:lnTo>
                    <a:lnTo>
                      <a:pt x="62" y="48"/>
                    </a:lnTo>
                    <a:lnTo>
                      <a:pt x="70" y="44"/>
                    </a:lnTo>
                    <a:lnTo>
                      <a:pt x="76" y="40"/>
                    </a:lnTo>
                    <a:lnTo>
                      <a:pt x="76" y="40"/>
                    </a:lnTo>
                    <a:lnTo>
                      <a:pt x="84" y="34"/>
                    </a:lnTo>
                    <a:lnTo>
                      <a:pt x="92" y="30"/>
                    </a:lnTo>
                    <a:lnTo>
                      <a:pt x="100" y="28"/>
                    </a:lnTo>
                    <a:lnTo>
                      <a:pt x="108" y="28"/>
                    </a:lnTo>
                    <a:lnTo>
                      <a:pt x="124" y="28"/>
                    </a:lnTo>
                    <a:lnTo>
                      <a:pt x="132" y="32"/>
                    </a:lnTo>
                    <a:lnTo>
                      <a:pt x="132" y="32"/>
                    </a:lnTo>
                    <a:lnTo>
                      <a:pt x="134" y="34"/>
                    </a:lnTo>
                    <a:lnTo>
                      <a:pt x="132" y="36"/>
                    </a:lnTo>
                    <a:lnTo>
                      <a:pt x="124" y="38"/>
                    </a:lnTo>
                    <a:lnTo>
                      <a:pt x="116" y="42"/>
                    </a:lnTo>
                    <a:lnTo>
                      <a:pt x="116" y="44"/>
                    </a:lnTo>
                    <a:lnTo>
                      <a:pt x="118" y="46"/>
                    </a:lnTo>
                    <a:lnTo>
                      <a:pt x="118" y="46"/>
                    </a:lnTo>
                    <a:lnTo>
                      <a:pt x="126" y="52"/>
                    </a:lnTo>
                    <a:lnTo>
                      <a:pt x="134" y="56"/>
                    </a:lnTo>
                    <a:lnTo>
                      <a:pt x="146" y="58"/>
                    </a:lnTo>
                    <a:lnTo>
                      <a:pt x="164" y="58"/>
                    </a:lnTo>
                    <a:lnTo>
                      <a:pt x="164" y="58"/>
                    </a:lnTo>
                    <a:lnTo>
                      <a:pt x="174" y="58"/>
                    </a:lnTo>
                    <a:lnTo>
                      <a:pt x="180" y="60"/>
                    </a:lnTo>
                    <a:lnTo>
                      <a:pt x="186" y="62"/>
                    </a:lnTo>
                    <a:lnTo>
                      <a:pt x="190" y="66"/>
                    </a:lnTo>
                    <a:lnTo>
                      <a:pt x="200" y="74"/>
                    </a:lnTo>
                    <a:lnTo>
                      <a:pt x="206" y="78"/>
                    </a:lnTo>
                    <a:lnTo>
                      <a:pt x="214" y="80"/>
                    </a:lnTo>
                    <a:lnTo>
                      <a:pt x="214" y="80"/>
                    </a:lnTo>
                    <a:lnTo>
                      <a:pt x="222" y="84"/>
                    </a:lnTo>
                    <a:lnTo>
                      <a:pt x="230" y="84"/>
                    </a:lnTo>
                    <a:lnTo>
                      <a:pt x="242" y="84"/>
                    </a:lnTo>
                    <a:lnTo>
                      <a:pt x="246" y="84"/>
                    </a:lnTo>
                    <a:lnTo>
                      <a:pt x="250" y="86"/>
                    </a:lnTo>
                    <a:lnTo>
                      <a:pt x="252" y="88"/>
                    </a:lnTo>
                    <a:lnTo>
                      <a:pt x="256" y="94"/>
                    </a:lnTo>
                    <a:lnTo>
                      <a:pt x="256" y="94"/>
                    </a:lnTo>
                    <a:lnTo>
                      <a:pt x="260" y="106"/>
                    </a:lnTo>
                    <a:lnTo>
                      <a:pt x="266" y="116"/>
                    </a:lnTo>
                    <a:lnTo>
                      <a:pt x="268" y="120"/>
                    </a:lnTo>
                    <a:lnTo>
                      <a:pt x="274" y="124"/>
                    </a:lnTo>
                    <a:lnTo>
                      <a:pt x="280" y="126"/>
                    </a:lnTo>
                    <a:lnTo>
                      <a:pt x="288" y="128"/>
                    </a:lnTo>
                    <a:lnTo>
                      <a:pt x="288" y="128"/>
                    </a:lnTo>
                    <a:lnTo>
                      <a:pt x="304" y="128"/>
                    </a:lnTo>
                    <a:lnTo>
                      <a:pt x="310" y="130"/>
                    </a:lnTo>
                    <a:lnTo>
                      <a:pt x="316" y="134"/>
                    </a:lnTo>
                    <a:lnTo>
                      <a:pt x="318" y="136"/>
                    </a:lnTo>
                    <a:lnTo>
                      <a:pt x="318" y="140"/>
                    </a:lnTo>
                    <a:lnTo>
                      <a:pt x="316" y="144"/>
                    </a:lnTo>
                    <a:lnTo>
                      <a:pt x="310" y="150"/>
                    </a:lnTo>
                    <a:lnTo>
                      <a:pt x="310" y="150"/>
                    </a:lnTo>
                    <a:lnTo>
                      <a:pt x="298" y="158"/>
                    </a:lnTo>
                    <a:lnTo>
                      <a:pt x="292" y="162"/>
                    </a:lnTo>
                    <a:lnTo>
                      <a:pt x="290" y="166"/>
                    </a:lnTo>
                    <a:lnTo>
                      <a:pt x="290" y="168"/>
                    </a:lnTo>
                    <a:lnTo>
                      <a:pt x="296" y="170"/>
                    </a:lnTo>
                    <a:lnTo>
                      <a:pt x="328" y="166"/>
                    </a:lnTo>
                    <a:lnTo>
                      <a:pt x="328" y="166"/>
                    </a:lnTo>
                    <a:lnTo>
                      <a:pt x="348" y="164"/>
                    </a:lnTo>
                    <a:lnTo>
                      <a:pt x="360" y="166"/>
                    </a:lnTo>
                    <a:lnTo>
                      <a:pt x="370" y="166"/>
                    </a:lnTo>
                    <a:lnTo>
                      <a:pt x="376" y="168"/>
                    </a:lnTo>
                    <a:lnTo>
                      <a:pt x="382" y="170"/>
                    </a:lnTo>
                    <a:lnTo>
                      <a:pt x="386" y="172"/>
                    </a:lnTo>
                    <a:lnTo>
                      <a:pt x="392" y="170"/>
                    </a:lnTo>
                    <a:lnTo>
                      <a:pt x="400" y="166"/>
                    </a:lnTo>
                    <a:lnTo>
                      <a:pt x="400" y="16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0" name="Freeform 6084">
                <a:extLst>
                  <a:ext uri="{FF2B5EF4-FFF2-40B4-BE49-F238E27FC236}">
                    <a16:creationId xmlns:a16="http://schemas.microsoft.com/office/drawing/2014/main" id="{3F489A7D-FB78-4AAD-A7D5-443003708263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91460" y="3296603"/>
                <a:ext cx="5080" cy="5080"/>
              </a:xfrm>
              <a:custGeom>
                <a:avLst/>
                <a:gdLst/>
                <a:ahLst/>
                <a:cxnLst>
                  <a:cxn ang="0">
                    <a:pos x="0" y="6"/>
                  </a:cxn>
                  <a:cxn ang="0">
                    <a:pos x="0" y="6"/>
                  </a:cxn>
                  <a:cxn ang="0">
                    <a:pos x="0" y="8"/>
                  </a:cxn>
                  <a:cxn ang="0">
                    <a:pos x="4" y="6"/>
                  </a:cxn>
                  <a:cxn ang="0">
                    <a:pos x="6" y="4"/>
                  </a:cxn>
                  <a:cxn ang="0">
                    <a:pos x="8" y="2"/>
                  </a:cxn>
                  <a:cxn ang="0">
                    <a:pos x="8" y="2"/>
                  </a:cxn>
                  <a:cxn ang="0">
                    <a:pos x="6" y="0"/>
                  </a:cxn>
                  <a:cxn ang="0">
                    <a:pos x="2" y="2"/>
                  </a:cxn>
                  <a:cxn ang="0">
                    <a:pos x="0" y="4"/>
                  </a:cxn>
                  <a:cxn ang="0">
                    <a:pos x="0" y="6"/>
                  </a:cxn>
                  <a:cxn ang="0">
                    <a:pos x="0" y="6"/>
                  </a:cxn>
                </a:cxnLst>
                <a:rect l="0" t="0" r="r" b="b"/>
                <a:pathLst>
                  <a:path w="8" h="8">
                    <a:moveTo>
                      <a:pt x="0" y="6"/>
                    </a:moveTo>
                    <a:lnTo>
                      <a:pt x="0" y="6"/>
                    </a:lnTo>
                    <a:lnTo>
                      <a:pt x="0" y="8"/>
                    </a:lnTo>
                    <a:lnTo>
                      <a:pt x="4" y="6"/>
                    </a:lnTo>
                    <a:lnTo>
                      <a:pt x="6" y="4"/>
                    </a:lnTo>
                    <a:lnTo>
                      <a:pt x="8" y="2"/>
                    </a:lnTo>
                    <a:lnTo>
                      <a:pt x="8" y="2"/>
                    </a:lnTo>
                    <a:lnTo>
                      <a:pt x="6" y="0"/>
                    </a:lnTo>
                    <a:lnTo>
                      <a:pt x="2" y="2"/>
                    </a:lnTo>
                    <a:lnTo>
                      <a:pt x="0" y="4"/>
                    </a:lnTo>
                    <a:lnTo>
                      <a:pt x="0" y="6"/>
                    </a:lnTo>
                    <a:lnTo>
                      <a:pt x="0" y="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1" name="Freeform 6086">
                <a:extLst>
                  <a:ext uri="{FF2B5EF4-FFF2-40B4-BE49-F238E27FC236}">
                    <a16:creationId xmlns:a16="http://schemas.microsoft.com/office/drawing/2014/main" id="{9EF3FAAE-F909-438E-B740-6D93203EBD23}"/>
                  </a:ext>
                </a:extLst>
              </p:cNvPr>
              <p:cNvSpPr>
                <a:spLocks noEditPoints="1"/>
              </p:cNvSpPr>
              <p:nvPr/>
            </p:nvSpPr>
            <p:spPr bwMode="auto">
              <a:xfrm>
                <a:off x="93979" y="1296353"/>
                <a:ext cx="2874010" cy="2354580"/>
              </a:xfrm>
              <a:custGeom>
                <a:avLst/>
                <a:gdLst/>
                <a:ahLst/>
                <a:cxnLst>
                  <a:cxn ang="0">
                    <a:pos x="3400" y="3516"/>
                  </a:cxn>
                  <a:cxn ang="0">
                    <a:pos x="3292" y="3276"/>
                  </a:cxn>
                  <a:cxn ang="0">
                    <a:pos x="3246" y="3102"/>
                  </a:cxn>
                  <a:cxn ang="0">
                    <a:pos x="3116" y="3080"/>
                  </a:cxn>
                  <a:cxn ang="0">
                    <a:pos x="2830" y="2916"/>
                  </a:cxn>
                  <a:cxn ang="0">
                    <a:pos x="3078" y="2572"/>
                  </a:cxn>
                  <a:cxn ang="0">
                    <a:pos x="3134" y="2554"/>
                  </a:cxn>
                  <a:cxn ang="0">
                    <a:pos x="3436" y="2646"/>
                  </a:cxn>
                  <a:cxn ang="0">
                    <a:pos x="3526" y="2642"/>
                  </a:cxn>
                  <a:cxn ang="0">
                    <a:pos x="3686" y="2282"/>
                  </a:cxn>
                  <a:cxn ang="0">
                    <a:pos x="3698" y="2162"/>
                  </a:cxn>
                  <a:cxn ang="0">
                    <a:pos x="3748" y="2092"/>
                  </a:cxn>
                  <a:cxn ang="0">
                    <a:pos x="3924" y="1928"/>
                  </a:cxn>
                  <a:cxn ang="0">
                    <a:pos x="4006" y="1782"/>
                  </a:cxn>
                  <a:cxn ang="0">
                    <a:pos x="4138" y="1824"/>
                  </a:cxn>
                  <a:cxn ang="0">
                    <a:pos x="4150" y="1496"/>
                  </a:cxn>
                  <a:cxn ang="0">
                    <a:pos x="4522" y="1296"/>
                  </a:cxn>
                  <a:cxn ang="0">
                    <a:pos x="4314" y="1090"/>
                  </a:cxn>
                  <a:cxn ang="0">
                    <a:pos x="4060" y="934"/>
                  </a:cxn>
                  <a:cxn ang="0">
                    <a:pos x="3720" y="680"/>
                  </a:cxn>
                  <a:cxn ang="0">
                    <a:pos x="3570" y="1166"/>
                  </a:cxn>
                  <a:cxn ang="0">
                    <a:pos x="3346" y="1132"/>
                  </a:cxn>
                  <a:cxn ang="0">
                    <a:pos x="3060" y="648"/>
                  </a:cxn>
                  <a:cxn ang="0">
                    <a:pos x="3304" y="420"/>
                  </a:cxn>
                  <a:cxn ang="0">
                    <a:pos x="3452" y="258"/>
                  </a:cxn>
                  <a:cxn ang="0">
                    <a:pos x="3282" y="322"/>
                  </a:cxn>
                  <a:cxn ang="0">
                    <a:pos x="3048" y="164"/>
                  </a:cxn>
                  <a:cxn ang="0">
                    <a:pos x="2954" y="232"/>
                  </a:cxn>
                  <a:cxn ang="0">
                    <a:pos x="2726" y="298"/>
                  </a:cxn>
                  <a:cxn ang="0">
                    <a:pos x="2330" y="286"/>
                  </a:cxn>
                  <a:cxn ang="0">
                    <a:pos x="1732" y="136"/>
                  </a:cxn>
                  <a:cxn ang="0">
                    <a:pos x="1406" y="178"/>
                  </a:cxn>
                  <a:cxn ang="0">
                    <a:pos x="636" y="94"/>
                  </a:cxn>
                  <a:cxn ang="0">
                    <a:pos x="54" y="266"/>
                  </a:cxn>
                  <a:cxn ang="0">
                    <a:pos x="28" y="440"/>
                  </a:cxn>
                  <a:cxn ang="0">
                    <a:pos x="270" y="598"/>
                  </a:cxn>
                  <a:cxn ang="0">
                    <a:pos x="246" y="900"/>
                  </a:cxn>
                  <a:cxn ang="0">
                    <a:pos x="218" y="1124"/>
                  </a:cxn>
                  <a:cxn ang="0">
                    <a:pos x="548" y="956"/>
                  </a:cxn>
                  <a:cxn ang="0">
                    <a:pos x="648" y="882"/>
                  </a:cxn>
                  <a:cxn ang="0">
                    <a:pos x="1136" y="842"/>
                  </a:cxn>
                  <a:cxn ang="0">
                    <a:pos x="1412" y="1020"/>
                  </a:cxn>
                  <a:cxn ang="0">
                    <a:pos x="1524" y="1162"/>
                  </a:cxn>
                  <a:cxn ang="0">
                    <a:pos x="1646" y="1306"/>
                  </a:cxn>
                  <a:cxn ang="0">
                    <a:pos x="1750" y="1434"/>
                  </a:cxn>
                  <a:cxn ang="0">
                    <a:pos x="1840" y="1570"/>
                  </a:cxn>
                  <a:cxn ang="0">
                    <a:pos x="1838" y="2170"/>
                  </a:cxn>
                  <a:cxn ang="0">
                    <a:pos x="2146" y="2682"/>
                  </a:cxn>
                  <a:cxn ang="0">
                    <a:pos x="2168" y="2564"/>
                  </a:cxn>
                  <a:cxn ang="0">
                    <a:pos x="2530" y="2998"/>
                  </a:cxn>
                  <a:cxn ang="0">
                    <a:pos x="3202" y="3400"/>
                  </a:cxn>
                  <a:cxn ang="0">
                    <a:pos x="3330" y="3570"/>
                  </a:cxn>
                  <a:cxn ang="0">
                    <a:pos x="3432" y="3656"/>
                  </a:cxn>
                  <a:cxn ang="0">
                    <a:pos x="3562" y="3616"/>
                  </a:cxn>
                  <a:cxn ang="0">
                    <a:pos x="3408" y="1922"/>
                  </a:cxn>
                  <a:cxn ang="0">
                    <a:pos x="3590" y="1870"/>
                  </a:cxn>
                  <a:cxn ang="0">
                    <a:pos x="3578" y="1812"/>
                  </a:cxn>
                  <a:cxn ang="0">
                    <a:pos x="3344" y="1588"/>
                  </a:cxn>
                  <a:cxn ang="0">
                    <a:pos x="3548" y="1750"/>
                  </a:cxn>
                  <a:cxn ang="0">
                    <a:pos x="3418" y="1798"/>
                  </a:cxn>
                  <a:cxn ang="0">
                    <a:pos x="3294" y="1766"/>
                  </a:cxn>
                  <a:cxn ang="0">
                    <a:pos x="3244" y="1726"/>
                  </a:cxn>
                  <a:cxn ang="0">
                    <a:pos x="3258" y="1654"/>
                  </a:cxn>
                </a:cxnLst>
                <a:rect l="0" t="0" r="r" b="b"/>
                <a:pathLst>
                  <a:path w="4526" h="3708">
                    <a:moveTo>
                      <a:pt x="3654" y="3626"/>
                    </a:move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54" y="3626"/>
                    </a:lnTo>
                    <a:lnTo>
                      <a:pt x="3642" y="3614"/>
                    </a:lnTo>
                    <a:lnTo>
                      <a:pt x="3628" y="3600"/>
                    </a:lnTo>
                    <a:lnTo>
                      <a:pt x="3622" y="3596"/>
                    </a:lnTo>
                    <a:lnTo>
                      <a:pt x="3614" y="3592"/>
                    </a:lnTo>
                    <a:lnTo>
                      <a:pt x="3606" y="3590"/>
                    </a:lnTo>
                    <a:lnTo>
                      <a:pt x="3598" y="3588"/>
                    </a:lnTo>
                    <a:lnTo>
                      <a:pt x="3598" y="3588"/>
                    </a:lnTo>
                    <a:lnTo>
                      <a:pt x="3588" y="3590"/>
                    </a:lnTo>
                    <a:lnTo>
                      <a:pt x="3588" y="3588"/>
                    </a:lnTo>
                    <a:lnTo>
                      <a:pt x="3588" y="3588"/>
                    </a:lnTo>
                    <a:lnTo>
                      <a:pt x="3588" y="3586"/>
                    </a:lnTo>
                    <a:lnTo>
                      <a:pt x="3586" y="3584"/>
                    </a:lnTo>
                    <a:lnTo>
                      <a:pt x="3574" y="3582"/>
                    </a:lnTo>
                    <a:lnTo>
                      <a:pt x="3574" y="3582"/>
                    </a:lnTo>
                    <a:lnTo>
                      <a:pt x="3562" y="3582"/>
                    </a:lnTo>
                    <a:lnTo>
                      <a:pt x="3560" y="3582"/>
                    </a:lnTo>
                    <a:lnTo>
                      <a:pt x="3560" y="3584"/>
                    </a:lnTo>
                    <a:lnTo>
                      <a:pt x="3556" y="3590"/>
                    </a:lnTo>
                    <a:lnTo>
                      <a:pt x="3552" y="3594"/>
                    </a:lnTo>
                    <a:lnTo>
                      <a:pt x="3546" y="3598"/>
                    </a:lnTo>
                    <a:lnTo>
                      <a:pt x="3546" y="3598"/>
                    </a:lnTo>
                    <a:lnTo>
                      <a:pt x="3524" y="3608"/>
                    </a:lnTo>
                    <a:lnTo>
                      <a:pt x="3518" y="3612"/>
                    </a:lnTo>
                    <a:lnTo>
                      <a:pt x="3514" y="3616"/>
                    </a:lnTo>
                    <a:lnTo>
                      <a:pt x="3496" y="3622"/>
                    </a:lnTo>
                    <a:lnTo>
                      <a:pt x="3496" y="3622"/>
                    </a:lnTo>
                    <a:lnTo>
                      <a:pt x="3492" y="3622"/>
                    </a:lnTo>
                    <a:lnTo>
                      <a:pt x="3488" y="3620"/>
                    </a:lnTo>
                    <a:lnTo>
                      <a:pt x="3480" y="3612"/>
                    </a:lnTo>
                    <a:lnTo>
                      <a:pt x="3480" y="3612"/>
                    </a:lnTo>
                    <a:lnTo>
                      <a:pt x="3476" y="3608"/>
                    </a:lnTo>
                    <a:lnTo>
                      <a:pt x="3474" y="3604"/>
                    </a:lnTo>
                    <a:lnTo>
                      <a:pt x="3474" y="3604"/>
                    </a:lnTo>
                    <a:lnTo>
                      <a:pt x="3472" y="3602"/>
                    </a:lnTo>
                    <a:lnTo>
                      <a:pt x="3470" y="3602"/>
                    </a:lnTo>
                    <a:lnTo>
                      <a:pt x="3468" y="3604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70" y="3610"/>
                    </a:lnTo>
                    <a:lnTo>
                      <a:pt x="3468" y="3612"/>
                    </a:lnTo>
                    <a:lnTo>
                      <a:pt x="3464" y="3612"/>
                    </a:lnTo>
                    <a:lnTo>
                      <a:pt x="3460" y="3610"/>
                    </a:lnTo>
                    <a:lnTo>
                      <a:pt x="3456" y="3608"/>
                    </a:lnTo>
                    <a:lnTo>
                      <a:pt x="3456" y="3608"/>
                    </a:lnTo>
                    <a:lnTo>
                      <a:pt x="3458" y="3604"/>
                    </a:lnTo>
                    <a:lnTo>
                      <a:pt x="3460" y="3604"/>
                    </a:lnTo>
                    <a:lnTo>
                      <a:pt x="3460" y="3602"/>
                    </a:lnTo>
                    <a:lnTo>
                      <a:pt x="3460" y="3600"/>
                    </a:lnTo>
                    <a:lnTo>
                      <a:pt x="3460" y="3600"/>
                    </a:lnTo>
                    <a:lnTo>
                      <a:pt x="3458" y="3600"/>
                    </a:lnTo>
                    <a:lnTo>
                      <a:pt x="3454" y="3600"/>
                    </a:lnTo>
                    <a:lnTo>
                      <a:pt x="3452" y="3600"/>
                    </a:lnTo>
                    <a:lnTo>
                      <a:pt x="3452" y="3596"/>
                    </a:lnTo>
                    <a:lnTo>
                      <a:pt x="3452" y="3596"/>
                    </a:lnTo>
                    <a:lnTo>
                      <a:pt x="3452" y="3590"/>
                    </a:lnTo>
                    <a:lnTo>
                      <a:pt x="3450" y="3588"/>
                    </a:lnTo>
                    <a:lnTo>
                      <a:pt x="3444" y="3584"/>
                    </a:lnTo>
                    <a:lnTo>
                      <a:pt x="3444" y="3584"/>
                    </a:lnTo>
                    <a:lnTo>
                      <a:pt x="3440" y="3578"/>
                    </a:lnTo>
                    <a:lnTo>
                      <a:pt x="3432" y="3568"/>
                    </a:lnTo>
                    <a:lnTo>
                      <a:pt x="3422" y="3558"/>
                    </a:lnTo>
                    <a:lnTo>
                      <a:pt x="3412" y="3544"/>
                    </a:lnTo>
                    <a:lnTo>
                      <a:pt x="3412" y="3544"/>
                    </a:lnTo>
                    <a:lnTo>
                      <a:pt x="3406" y="3534"/>
                    </a:lnTo>
                    <a:lnTo>
                      <a:pt x="3404" y="3528"/>
                    </a:lnTo>
                    <a:lnTo>
                      <a:pt x="3404" y="3522"/>
                    </a:lnTo>
                    <a:lnTo>
                      <a:pt x="3400" y="3516"/>
                    </a:lnTo>
                    <a:lnTo>
                      <a:pt x="3400" y="3516"/>
                    </a:lnTo>
                    <a:lnTo>
                      <a:pt x="3396" y="3512"/>
                    </a:lnTo>
                    <a:lnTo>
                      <a:pt x="3392" y="3504"/>
                    </a:lnTo>
                    <a:lnTo>
                      <a:pt x="3392" y="3504"/>
                    </a:lnTo>
                    <a:lnTo>
                      <a:pt x="3392" y="3498"/>
                    </a:lnTo>
                    <a:lnTo>
                      <a:pt x="3392" y="3492"/>
                    </a:lnTo>
                    <a:lnTo>
                      <a:pt x="3396" y="3486"/>
                    </a:lnTo>
                    <a:lnTo>
                      <a:pt x="3398" y="3484"/>
                    </a:lnTo>
                    <a:lnTo>
                      <a:pt x="3398" y="3484"/>
                    </a:lnTo>
                    <a:lnTo>
                      <a:pt x="3400" y="3482"/>
                    </a:lnTo>
                    <a:lnTo>
                      <a:pt x="3400" y="3478"/>
                    </a:lnTo>
                    <a:lnTo>
                      <a:pt x="3398" y="3474"/>
                    </a:lnTo>
                    <a:lnTo>
                      <a:pt x="3396" y="3472"/>
                    </a:lnTo>
                    <a:lnTo>
                      <a:pt x="3396" y="3472"/>
                    </a:lnTo>
                    <a:lnTo>
                      <a:pt x="3396" y="3470"/>
                    </a:lnTo>
                    <a:lnTo>
                      <a:pt x="3394" y="3470"/>
                    </a:lnTo>
                    <a:lnTo>
                      <a:pt x="3396" y="3464"/>
                    </a:lnTo>
                    <a:lnTo>
                      <a:pt x="3400" y="3452"/>
                    </a:lnTo>
                    <a:lnTo>
                      <a:pt x="3400" y="3452"/>
                    </a:lnTo>
                    <a:lnTo>
                      <a:pt x="3400" y="3446"/>
                    </a:lnTo>
                    <a:lnTo>
                      <a:pt x="3402" y="3444"/>
                    </a:lnTo>
                    <a:lnTo>
                      <a:pt x="3404" y="3444"/>
                    </a:lnTo>
                    <a:lnTo>
                      <a:pt x="3404" y="3444"/>
                    </a:lnTo>
                    <a:lnTo>
                      <a:pt x="3408" y="3444"/>
                    </a:lnTo>
                    <a:lnTo>
                      <a:pt x="3406" y="3438"/>
                    </a:lnTo>
                    <a:lnTo>
                      <a:pt x="3406" y="3438"/>
                    </a:lnTo>
                    <a:lnTo>
                      <a:pt x="3406" y="3424"/>
                    </a:lnTo>
                    <a:lnTo>
                      <a:pt x="3404" y="3404"/>
                    </a:lnTo>
                    <a:lnTo>
                      <a:pt x="3404" y="3404"/>
                    </a:lnTo>
                    <a:lnTo>
                      <a:pt x="3402" y="3396"/>
                    </a:lnTo>
                    <a:lnTo>
                      <a:pt x="3404" y="3392"/>
                    </a:lnTo>
                    <a:lnTo>
                      <a:pt x="3406" y="3386"/>
                    </a:lnTo>
                    <a:lnTo>
                      <a:pt x="3408" y="3378"/>
                    </a:lnTo>
                    <a:lnTo>
                      <a:pt x="3408" y="3378"/>
                    </a:lnTo>
                    <a:lnTo>
                      <a:pt x="3410" y="3368"/>
                    </a:lnTo>
                    <a:lnTo>
                      <a:pt x="3414" y="3358"/>
                    </a:lnTo>
                    <a:lnTo>
                      <a:pt x="3418" y="3350"/>
                    </a:lnTo>
                    <a:lnTo>
                      <a:pt x="3418" y="3346"/>
                    </a:lnTo>
                    <a:lnTo>
                      <a:pt x="3418" y="3342"/>
                    </a:lnTo>
                    <a:lnTo>
                      <a:pt x="3418" y="3342"/>
                    </a:lnTo>
                    <a:lnTo>
                      <a:pt x="3416" y="3334"/>
                    </a:lnTo>
                    <a:lnTo>
                      <a:pt x="3416" y="3328"/>
                    </a:lnTo>
                    <a:lnTo>
                      <a:pt x="3418" y="3324"/>
                    </a:lnTo>
                    <a:lnTo>
                      <a:pt x="3420" y="3318"/>
                    </a:lnTo>
                    <a:lnTo>
                      <a:pt x="3420" y="3318"/>
                    </a:lnTo>
                    <a:lnTo>
                      <a:pt x="3420" y="3314"/>
                    </a:lnTo>
                    <a:lnTo>
                      <a:pt x="3418" y="3310"/>
                    </a:lnTo>
                    <a:lnTo>
                      <a:pt x="3412" y="3304"/>
                    </a:lnTo>
                    <a:lnTo>
                      <a:pt x="3406" y="3300"/>
                    </a:lnTo>
                    <a:lnTo>
                      <a:pt x="3406" y="3300"/>
                    </a:lnTo>
                    <a:lnTo>
                      <a:pt x="3388" y="3290"/>
                    </a:lnTo>
                    <a:lnTo>
                      <a:pt x="3380" y="3280"/>
                    </a:lnTo>
                    <a:lnTo>
                      <a:pt x="3380" y="3280"/>
                    </a:lnTo>
                    <a:lnTo>
                      <a:pt x="3372" y="3274"/>
                    </a:lnTo>
                    <a:lnTo>
                      <a:pt x="3360" y="3270"/>
                    </a:lnTo>
                    <a:lnTo>
                      <a:pt x="3350" y="3268"/>
                    </a:lnTo>
                    <a:lnTo>
                      <a:pt x="3344" y="3268"/>
                    </a:lnTo>
                    <a:lnTo>
                      <a:pt x="3344" y="3268"/>
                    </a:lnTo>
                    <a:lnTo>
                      <a:pt x="3340" y="3270"/>
                    </a:lnTo>
                    <a:lnTo>
                      <a:pt x="3334" y="3270"/>
                    </a:lnTo>
                    <a:lnTo>
                      <a:pt x="3326" y="3270"/>
                    </a:lnTo>
                    <a:lnTo>
                      <a:pt x="3320" y="3268"/>
                    </a:lnTo>
                    <a:lnTo>
                      <a:pt x="3320" y="3268"/>
                    </a:lnTo>
                    <a:lnTo>
                      <a:pt x="3308" y="3264"/>
                    </a:lnTo>
                    <a:lnTo>
                      <a:pt x="3306" y="3264"/>
                    </a:lnTo>
                    <a:lnTo>
                      <a:pt x="3308" y="3266"/>
                    </a:lnTo>
                    <a:lnTo>
                      <a:pt x="3308" y="3266"/>
                    </a:lnTo>
                    <a:lnTo>
                      <a:pt x="3308" y="3268"/>
                    </a:lnTo>
                    <a:lnTo>
                      <a:pt x="3308" y="3270"/>
                    </a:lnTo>
                    <a:lnTo>
                      <a:pt x="3304" y="3272"/>
                    </a:lnTo>
                    <a:lnTo>
                      <a:pt x="3292" y="3276"/>
                    </a:lnTo>
                    <a:lnTo>
                      <a:pt x="3292" y="3276"/>
                    </a:lnTo>
                    <a:lnTo>
                      <a:pt x="3278" y="3278"/>
                    </a:lnTo>
                    <a:lnTo>
                      <a:pt x="3266" y="3276"/>
                    </a:lnTo>
                    <a:lnTo>
                      <a:pt x="3258" y="3274"/>
                    </a:lnTo>
                    <a:lnTo>
                      <a:pt x="3248" y="3274"/>
                    </a:lnTo>
                    <a:lnTo>
                      <a:pt x="3248" y="3274"/>
                    </a:lnTo>
                    <a:lnTo>
                      <a:pt x="3244" y="3276"/>
                    </a:lnTo>
                    <a:lnTo>
                      <a:pt x="3242" y="3274"/>
                    </a:lnTo>
                    <a:lnTo>
                      <a:pt x="3240" y="3272"/>
                    </a:lnTo>
                    <a:lnTo>
                      <a:pt x="3238" y="3270"/>
                    </a:lnTo>
                    <a:lnTo>
                      <a:pt x="3238" y="3270"/>
                    </a:lnTo>
                    <a:lnTo>
                      <a:pt x="3236" y="3270"/>
                    </a:lnTo>
                    <a:lnTo>
                      <a:pt x="3232" y="3272"/>
                    </a:lnTo>
                    <a:lnTo>
                      <a:pt x="3226" y="3276"/>
                    </a:lnTo>
                    <a:lnTo>
                      <a:pt x="3222" y="3282"/>
                    </a:lnTo>
                    <a:lnTo>
                      <a:pt x="3218" y="3282"/>
                    </a:lnTo>
                    <a:lnTo>
                      <a:pt x="3216" y="3280"/>
                    </a:lnTo>
                    <a:lnTo>
                      <a:pt x="3216" y="3280"/>
                    </a:lnTo>
                    <a:lnTo>
                      <a:pt x="3206" y="3272"/>
                    </a:lnTo>
                    <a:lnTo>
                      <a:pt x="3202" y="3268"/>
                    </a:lnTo>
                    <a:lnTo>
                      <a:pt x="3200" y="3268"/>
                    </a:lnTo>
                    <a:lnTo>
                      <a:pt x="3202" y="3270"/>
                    </a:lnTo>
                    <a:lnTo>
                      <a:pt x="3202" y="3270"/>
                    </a:lnTo>
                    <a:lnTo>
                      <a:pt x="3204" y="3274"/>
                    </a:lnTo>
                    <a:lnTo>
                      <a:pt x="3202" y="3280"/>
                    </a:lnTo>
                    <a:lnTo>
                      <a:pt x="3202" y="3280"/>
                    </a:lnTo>
                    <a:lnTo>
                      <a:pt x="3200" y="3282"/>
                    </a:lnTo>
                    <a:lnTo>
                      <a:pt x="3198" y="3280"/>
                    </a:lnTo>
                    <a:lnTo>
                      <a:pt x="3194" y="3274"/>
                    </a:lnTo>
                    <a:lnTo>
                      <a:pt x="3188" y="3270"/>
                    </a:lnTo>
                    <a:lnTo>
                      <a:pt x="3188" y="3270"/>
                    </a:lnTo>
                    <a:lnTo>
                      <a:pt x="3188" y="3268"/>
                    </a:lnTo>
                    <a:lnTo>
                      <a:pt x="3190" y="3264"/>
                    </a:lnTo>
                    <a:lnTo>
                      <a:pt x="3196" y="3256"/>
                    </a:lnTo>
                    <a:lnTo>
                      <a:pt x="3202" y="3250"/>
                    </a:lnTo>
                    <a:lnTo>
                      <a:pt x="3208" y="3242"/>
                    </a:lnTo>
                    <a:lnTo>
                      <a:pt x="3208" y="3242"/>
                    </a:lnTo>
                    <a:lnTo>
                      <a:pt x="3212" y="3236"/>
                    </a:lnTo>
                    <a:lnTo>
                      <a:pt x="3214" y="3228"/>
                    </a:lnTo>
                    <a:lnTo>
                      <a:pt x="3216" y="3206"/>
                    </a:lnTo>
                    <a:lnTo>
                      <a:pt x="3218" y="3182"/>
                    </a:lnTo>
                    <a:lnTo>
                      <a:pt x="3222" y="3160"/>
                    </a:lnTo>
                    <a:lnTo>
                      <a:pt x="3222" y="3160"/>
                    </a:lnTo>
                    <a:lnTo>
                      <a:pt x="3222" y="3154"/>
                    </a:lnTo>
                    <a:lnTo>
                      <a:pt x="3220" y="3150"/>
                    </a:lnTo>
                    <a:lnTo>
                      <a:pt x="3218" y="3148"/>
                    </a:lnTo>
                    <a:lnTo>
                      <a:pt x="3216" y="3148"/>
                    </a:lnTo>
                    <a:lnTo>
                      <a:pt x="3216" y="3148"/>
                    </a:lnTo>
                    <a:lnTo>
                      <a:pt x="3214" y="3150"/>
                    </a:lnTo>
                    <a:lnTo>
                      <a:pt x="3212" y="3150"/>
                    </a:lnTo>
                    <a:lnTo>
                      <a:pt x="3212" y="3144"/>
                    </a:lnTo>
                    <a:lnTo>
                      <a:pt x="3212" y="3144"/>
                    </a:lnTo>
                    <a:lnTo>
                      <a:pt x="3220" y="3128"/>
                    </a:lnTo>
                    <a:lnTo>
                      <a:pt x="3220" y="3128"/>
                    </a:lnTo>
                    <a:lnTo>
                      <a:pt x="3222" y="3124"/>
                    </a:lnTo>
                    <a:lnTo>
                      <a:pt x="3224" y="3124"/>
                    </a:lnTo>
                    <a:lnTo>
                      <a:pt x="3224" y="3128"/>
                    </a:lnTo>
                    <a:lnTo>
                      <a:pt x="3222" y="3134"/>
                    </a:lnTo>
                    <a:lnTo>
                      <a:pt x="3222" y="3134"/>
                    </a:lnTo>
                    <a:lnTo>
                      <a:pt x="3222" y="3140"/>
                    </a:lnTo>
                    <a:lnTo>
                      <a:pt x="3224" y="3144"/>
                    </a:lnTo>
                    <a:lnTo>
                      <a:pt x="3226" y="3148"/>
                    </a:lnTo>
                    <a:lnTo>
                      <a:pt x="3230" y="3154"/>
                    </a:lnTo>
                    <a:lnTo>
                      <a:pt x="3230" y="3154"/>
                    </a:lnTo>
                    <a:lnTo>
                      <a:pt x="3232" y="3156"/>
                    </a:lnTo>
                    <a:lnTo>
                      <a:pt x="3232" y="3152"/>
                    </a:lnTo>
                    <a:lnTo>
                      <a:pt x="3236" y="3138"/>
                    </a:lnTo>
                    <a:lnTo>
                      <a:pt x="3242" y="3118"/>
                    </a:lnTo>
                    <a:lnTo>
                      <a:pt x="3244" y="3104"/>
                    </a:lnTo>
                    <a:lnTo>
                      <a:pt x="3244" y="3104"/>
                    </a:lnTo>
                    <a:lnTo>
                      <a:pt x="3246" y="3102"/>
                    </a:lnTo>
                    <a:lnTo>
                      <a:pt x="3244" y="3102"/>
                    </a:lnTo>
                    <a:lnTo>
                      <a:pt x="3240" y="3102"/>
                    </a:lnTo>
                    <a:lnTo>
                      <a:pt x="3238" y="3102"/>
                    </a:lnTo>
                    <a:lnTo>
                      <a:pt x="3242" y="3098"/>
                    </a:lnTo>
                    <a:lnTo>
                      <a:pt x="3242" y="3098"/>
                    </a:lnTo>
                    <a:lnTo>
                      <a:pt x="3250" y="3088"/>
                    </a:lnTo>
                    <a:lnTo>
                      <a:pt x="3248" y="3086"/>
                    </a:lnTo>
                    <a:lnTo>
                      <a:pt x="3244" y="3088"/>
                    </a:lnTo>
                    <a:lnTo>
                      <a:pt x="3244" y="3088"/>
                    </a:lnTo>
                    <a:lnTo>
                      <a:pt x="3238" y="3090"/>
                    </a:lnTo>
                    <a:lnTo>
                      <a:pt x="3236" y="3088"/>
                    </a:lnTo>
                    <a:lnTo>
                      <a:pt x="3236" y="3084"/>
                    </a:lnTo>
                    <a:lnTo>
                      <a:pt x="3242" y="3078"/>
                    </a:lnTo>
                    <a:lnTo>
                      <a:pt x="3242" y="3078"/>
                    </a:lnTo>
                    <a:lnTo>
                      <a:pt x="3246" y="3076"/>
                    </a:lnTo>
                    <a:lnTo>
                      <a:pt x="3248" y="3072"/>
                    </a:lnTo>
                    <a:lnTo>
                      <a:pt x="3248" y="3064"/>
                    </a:lnTo>
                    <a:lnTo>
                      <a:pt x="3252" y="3050"/>
                    </a:lnTo>
                    <a:lnTo>
                      <a:pt x="3256" y="3040"/>
                    </a:lnTo>
                    <a:lnTo>
                      <a:pt x="3264" y="3030"/>
                    </a:lnTo>
                    <a:lnTo>
                      <a:pt x="3264" y="3030"/>
                    </a:lnTo>
                    <a:lnTo>
                      <a:pt x="3274" y="3016"/>
                    </a:lnTo>
                    <a:lnTo>
                      <a:pt x="3276" y="3010"/>
                    </a:lnTo>
                    <a:lnTo>
                      <a:pt x="3274" y="3006"/>
                    </a:lnTo>
                    <a:lnTo>
                      <a:pt x="3272" y="3002"/>
                    </a:lnTo>
                    <a:lnTo>
                      <a:pt x="3272" y="3002"/>
                    </a:lnTo>
                    <a:lnTo>
                      <a:pt x="3272" y="2996"/>
                    </a:lnTo>
                    <a:lnTo>
                      <a:pt x="3272" y="2994"/>
                    </a:lnTo>
                    <a:lnTo>
                      <a:pt x="3268" y="2992"/>
                    </a:lnTo>
                    <a:lnTo>
                      <a:pt x="3266" y="2988"/>
                    </a:lnTo>
                    <a:lnTo>
                      <a:pt x="3266" y="2988"/>
                    </a:lnTo>
                    <a:lnTo>
                      <a:pt x="3264" y="2986"/>
                    </a:lnTo>
                    <a:lnTo>
                      <a:pt x="3260" y="2986"/>
                    </a:lnTo>
                    <a:lnTo>
                      <a:pt x="3256" y="2986"/>
                    </a:lnTo>
                    <a:lnTo>
                      <a:pt x="3252" y="2988"/>
                    </a:lnTo>
                    <a:lnTo>
                      <a:pt x="3252" y="2988"/>
                    </a:lnTo>
                    <a:lnTo>
                      <a:pt x="3254" y="2990"/>
                    </a:lnTo>
                    <a:lnTo>
                      <a:pt x="3254" y="2990"/>
                    </a:lnTo>
                    <a:lnTo>
                      <a:pt x="3260" y="2990"/>
                    </a:lnTo>
                    <a:lnTo>
                      <a:pt x="3260" y="2992"/>
                    </a:lnTo>
                    <a:lnTo>
                      <a:pt x="3256" y="2994"/>
                    </a:lnTo>
                    <a:lnTo>
                      <a:pt x="3256" y="2994"/>
                    </a:lnTo>
                    <a:lnTo>
                      <a:pt x="3254" y="2994"/>
                    </a:lnTo>
                    <a:lnTo>
                      <a:pt x="3250" y="2994"/>
                    </a:lnTo>
                    <a:lnTo>
                      <a:pt x="3242" y="2990"/>
                    </a:lnTo>
                    <a:lnTo>
                      <a:pt x="3230" y="2988"/>
                    </a:lnTo>
                    <a:lnTo>
                      <a:pt x="3222" y="2986"/>
                    </a:lnTo>
                    <a:lnTo>
                      <a:pt x="3214" y="2986"/>
                    </a:lnTo>
                    <a:lnTo>
                      <a:pt x="3214" y="2986"/>
                    </a:lnTo>
                    <a:lnTo>
                      <a:pt x="3202" y="2990"/>
                    </a:lnTo>
                    <a:lnTo>
                      <a:pt x="3196" y="2992"/>
                    </a:lnTo>
                    <a:lnTo>
                      <a:pt x="3190" y="2996"/>
                    </a:lnTo>
                    <a:lnTo>
                      <a:pt x="3180" y="2998"/>
                    </a:lnTo>
                    <a:lnTo>
                      <a:pt x="3180" y="2998"/>
                    </a:lnTo>
                    <a:lnTo>
                      <a:pt x="3162" y="3000"/>
                    </a:lnTo>
                    <a:lnTo>
                      <a:pt x="3146" y="3004"/>
                    </a:lnTo>
                    <a:lnTo>
                      <a:pt x="3140" y="3008"/>
                    </a:lnTo>
                    <a:lnTo>
                      <a:pt x="3134" y="3012"/>
                    </a:lnTo>
                    <a:lnTo>
                      <a:pt x="3130" y="3016"/>
                    </a:lnTo>
                    <a:lnTo>
                      <a:pt x="3130" y="3020"/>
                    </a:lnTo>
                    <a:lnTo>
                      <a:pt x="3130" y="3020"/>
                    </a:lnTo>
                    <a:lnTo>
                      <a:pt x="3128" y="3028"/>
                    </a:lnTo>
                    <a:lnTo>
                      <a:pt x="3126" y="3034"/>
                    </a:lnTo>
                    <a:lnTo>
                      <a:pt x="3124" y="3040"/>
                    </a:lnTo>
                    <a:lnTo>
                      <a:pt x="3124" y="3056"/>
                    </a:lnTo>
                    <a:lnTo>
                      <a:pt x="3124" y="3056"/>
                    </a:lnTo>
                    <a:lnTo>
                      <a:pt x="3126" y="3068"/>
                    </a:lnTo>
                    <a:lnTo>
                      <a:pt x="3124" y="3070"/>
                    </a:lnTo>
                    <a:lnTo>
                      <a:pt x="3122" y="3072"/>
                    </a:lnTo>
                    <a:lnTo>
                      <a:pt x="3118" y="3076"/>
                    </a:lnTo>
                    <a:lnTo>
                      <a:pt x="3116" y="3080"/>
                    </a:lnTo>
                    <a:lnTo>
                      <a:pt x="3116" y="3088"/>
                    </a:lnTo>
                    <a:lnTo>
                      <a:pt x="3116" y="3088"/>
                    </a:lnTo>
                    <a:lnTo>
                      <a:pt x="3114" y="3096"/>
                    </a:lnTo>
                    <a:lnTo>
                      <a:pt x="3112" y="3102"/>
                    </a:lnTo>
                    <a:lnTo>
                      <a:pt x="3108" y="3108"/>
                    </a:lnTo>
                    <a:lnTo>
                      <a:pt x="3104" y="3112"/>
                    </a:lnTo>
                    <a:lnTo>
                      <a:pt x="3094" y="3118"/>
                    </a:lnTo>
                    <a:lnTo>
                      <a:pt x="3086" y="3122"/>
                    </a:lnTo>
                    <a:lnTo>
                      <a:pt x="3086" y="3122"/>
                    </a:lnTo>
                    <a:lnTo>
                      <a:pt x="3084" y="3126"/>
                    </a:lnTo>
                    <a:lnTo>
                      <a:pt x="3084" y="3126"/>
                    </a:lnTo>
                    <a:lnTo>
                      <a:pt x="3088" y="3128"/>
                    </a:lnTo>
                    <a:lnTo>
                      <a:pt x="3092" y="3132"/>
                    </a:lnTo>
                    <a:lnTo>
                      <a:pt x="3092" y="3134"/>
                    </a:lnTo>
                    <a:lnTo>
                      <a:pt x="3090" y="3138"/>
                    </a:lnTo>
                    <a:lnTo>
                      <a:pt x="3090" y="3138"/>
                    </a:lnTo>
                    <a:lnTo>
                      <a:pt x="3086" y="3142"/>
                    </a:lnTo>
                    <a:lnTo>
                      <a:pt x="3078" y="3144"/>
                    </a:lnTo>
                    <a:lnTo>
                      <a:pt x="3072" y="3144"/>
                    </a:lnTo>
                    <a:lnTo>
                      <a:pt x="3070" y="3142"/>
                    </a:lnTo>
                    <a:lnTo>
                      <a:pt x="3070" y="3140"/>
                    </a:lnTo>
                    <a:lnTo>
                      <a:pt x="3070" y="3140"/>
                    </a:lnTo>
                    <a:lnTo>
                      <a:pt x="3068" y="3134"/>
                    </a:lnTo>
                    <a:lnTo>
                      <a:pt x="3066" y="3132"/>
                    </a:lnTo>
                    <a:lnTo>
                      <a:pt x="3058" y="3132"/>
                    </a:lnTo>
                    <a:lnTo>
                      <a:pt x="3046" y="3132"/>
                    </a:lnTo>
                    <a:lnTo>
                      <a:pt x="3046" y="3132"/>
                    </a:lnTo>
                    <a:lnTo>
                      <a:pt x="3038" y="3134"/>
                    </a:lnTo>
                    <a:lnTo>
                      <a:pt x="3034" y="3138"/>
                    </a:lnTo>
                    <a:lnTo>
                      <a:pt x="3028" y="3142"/>
                    </a:lnTo>
                    <a:lnTo>
                      <a:pt x="3010" y="3144"/>
                    </a:lnTo>
                    <a:lnTo>
                      <a:pt x="3010" y="3144"/>
                    </a:lnTo>
                    <a:lnTo>
                      <a:pt x="2996" y="3146"/>
                    </a:lnTo>
                    <a:lnTo>
                      <a:pt x="2986" y="3152"/>
                    </a:lnTo>
                    <a:lnTo>
                      <a:pt x="2978" y="3156"/>
                    </a:lnTo>
                    <a:lnTo>
                      <a:pt x="2968" y="3160"/>
                    </a:lnTo>
                    <a:lnTo>
                      <a:pt x="2968" y="3160"/>
                    </a:lnTo>
                    <a:lnTo>
                      <a:pt x="2964" y="3160"/>
                    </a:lnTo>
                    <a:lnTo>
                      <a:pt x="2960" y="3158"/>
                    </a:lnTo>
                    <a:lnTo>
                      <a:pt x="2956" y="3148"/>
                    </a:lnTo>
                    <a:lnTo>
                      <a:pt x="2952" y="3144"/>
                    </a:lnTo>
                    <a:lnTo>
                      <a:pt x="2946" y="3138"/>
                    </a:lnTo>
                    <a:lnTo>
                      <a:pt x="2938" y="3134"/>
                    </a:lnTo>
                    <a:lnTo>
                      <a:pt x="2924" y="3130"/>
                    </a:lnTo>
                    <a:lnTo>
                      <a:pt x="2924" y="3130"/>
                    </a:lnTo>
                    <a:lnTo>
                      <a:pt x="2912" y="3126"/>
                    </a:lnTo>
                    <a:lnTo>
                      <a:pt x="2904" y="3120"/>
                    </a:lnTo>
                    <a:lnTo>
                      <a:pt x="2898" y="3112"/>
                    </a:lnTo>
                    <a:lnTo>
                      <a:pt x="2894" y="3102"/>
                    </a:lnTo>
                    <a:lnTo>
                      <a:pt x="2884" y="3076"/>
                    </a:lnTo>
                    <a:lnTo>
                      <a:pt x="2876" y="3062"/>
                    </a:lnTo>
                    <a:lnTo>
                      <a:pt x="2864" y="3046"/>
                    </a:lnTo>
                    <a:lnTo>
                      <a:pt x="2864" y="3046"/>
                    </a:lnTo>
                    <a:lnTo>
                      <a:pt x="2858" y="3036"/>
                    </a:lnTo>
                    <a:lnTo>
                      <a:pt x="2852" y="3028"/>
                    </a:lnTo>
                    <a:lnTo>
                      <a:pt x="2848" y="3010"/>
                    </a:lnTo>
                    <a:lnTo>
                      <a:pt x="2844" y="2998"/>
                    </a:lnTo>
                    <a:lnTo>
                      <a:pt x="2844" y="2994"/>
                    </a:lnTo>
                    <a:lnTo>
                      <a:pt x="2842" y="2992"/>
                    </a:lnTo>
                    <a:lnTo>
                      <a:pt x="2842" y="2992"/>
                    </a:lnTo>
                    <a:lnTo>
                      <a:pt x="2838" y="2990"/>
                    </a:lnTo>
                    <a:lnTo>
                      <a:pt x="2836" y="2988"/>
                    </a:lnTo>
                    <a:lnTo>
                      <a:pt x="2834" y="2976"/>
                    </a:lnTo>
                    <a:lnTo>
                      <a:pt x="2830" y="2948"/>
                    </a:lnTo>
                    <a:lnTo>
                      <a:pt x="2830" y="2948"/>
                    </a:lnTo>
                    <a:lnTo>
                      <a:pt x="2830" y="2938"/>
                    </a:lnTo>
                    <a:lnTo>
                      <a:pt x="2828" y="2934"/>
                    </a:lnTo>
                    <a:lnTo>
                      <a:pt x="2828" y="2932"/>
                    </a:lnTo>
                    <a:lnTo>
                      <a:pt x="2830" y="2926"/>
                    </a:lnTo>
                    <a:lnTo>
                      <a:pt x="2830" y="2926"/>
                    </a:lnTo>
                    <a:lnTo>
                      <a:pt x="2830" y="2916"/>
                    </a:lnTo>
                    <a:lnTo>
                      <a:pt x="2830" y="2906"/>
                    </a:lnTo>
                    <a:lnTo>
                      <a:pt x="2830" y="2886"/>
                    </a:lnTo>
                    <a:lnTo>
                      <a:pt x="2834" y="2854"/>
                    </a:lnTo>
                    <a:lnTo>
                      <a:pt x="2834" y="2854"/>
                    </a:lnTo>
                    <a:lnTo>
                      <a:pt x="2840" y="2820"/>
                    </a:lnTo>
                    <a:lnTo>
                      <a:pt x="2846" y="2800"/>
                    </a:lnTo>
                    <a:lnTo>
                      <a:pt x="2852" y="2784"/>
                    </a:lnTo>
                    <a:lnTo>
                      <a:pt x="2856" y="2766"/>
                    </a:lnTo>
                    <a:lnTo>
                      <a:pt x="2856" y="2766"/>
                    </a:lnTo>
                    <a:lnTo>
                      <a:pt x="2854" y="2748"/>
                    </a:lnTo>
                    <a:lnTo>
                      <a:pt x="2850" y="2728"/>
                    </a:lnTo>
                    <a:lnTo>
                      <a:pt x="2846" y="2710"/>
                    </a:lnTo>
                    <a:lnTo>
                      <a:pt x="2846" y="2696"/>
                    </a:lnTo>
                    <a:lnTo>
                      <a:pt x="2846" y="2696"/>
                    </a:lnTo>
                    <a:lnTo>
                      <a:pt x="2850" y="2686"/>
                    </a:lnTo>
                    <a:lnTo>
                      <a:pt x="2854" y="2678"/>
                    </a:lnTo>
                    <a:lnTo>
                      <a:pt x="2858" y="2672"/>
                    </a:lnTo>
                    <a:lnTo>
                      <a:pt x="2864" y="2662"/>
                    </a:lnTo>
                    <a:lnTo>
                      <a:pt x="2864" y="2662"/>
                    </a:lnTo>
                    <a:lnTo>
                      <a:pt x="2866" y="2658"/>
                    </a:lnTo>
                    <a:lnTo>
                      <a:pt x="2870" y="2654"/>
                    </a:lnTo>
                    <a:lnTo>
                      <a:pt x="2880" y="2646"/>
                    </a:lnTo>
                    <a:lnTo>
                      <a:pt x="2886" y="2642"/>
                    </a:lnTo>
                    <a:lnTo>
                      <a:pt x="2888" y="2640"/>
                    </a:lnTo>
                    <a:lnTo>
                      <a:pt x="2886" y="2638"/>
                    </a:lnTo>
                    <a:lnTo>
                      <a:pt x="2886" y="2638"/>
                    </a:lnTo>
                    <a:lnTo>
                      <a:pt x="2880" y="2628"/>
                    </a:lnTo>
                    <a:lnTo>
                      <a:pt x="2878" y="2626"/>
                    </a:lnTo>
                    <a:lnTo>
                      <a:pt x="2882" y="2628"/>
                    </a:lnTo>
                    <a:lnTo>
                      <a:pt x="2882" y="2628"/>
                    </a:lnTo>
                    <a:lnTo>
                      <a:pt x="2886" y="2628"/>
                    </a:lnTo>
                    <a:lnTo>
                      <a:pt x="2890" y="2628"/>
                    </a:lnTo>
                    <a:lnTo>
                      <a:pt x="2892" y="2626"/>
                    </a:lnTo>
                    <a:lnTo>
                      <a:pt x="2894" y="2628"/>
                    </a:lnTo>
                    <a:lnTo>
                      <a:pt x="2894" y="2628"/>
                    </a:lnTo>
                    <a:lnTo>
                      <a:pt x="2896" y="2628"/>
                    </a:lnTo>
                    <a:lnTo>
                      <a:pt x="2902" y="2628"/>
                    </a:lnTo>
                    <a:lnTo>
                      <a:pt x="2912" y="2624"/>
                    </a:lnTo>
                    <a:lnTo>
                      <a:pt x="2926" y="2616"/>
                    </a:lnTo>
                    <a:lnTo>
                      <a:pt x="2936" y="2606"/>
                    </a:lnTo>
                    <a:lnTo>
                      <a:pt x="2936" y="2606"/>
                    </a:lnTo>
                    <a:lnTo>
                      <a:pt x="2942" y="2600"/>
                    </a:lnTo>
                    <a:lnTo>
                      <a:pt x="2948" y="2594"/>
                    </a:lnTo>
                    <a:lnTo>
                      <a:pt x="2964" y="2584"/>
                    </a:lnTo>
                    <a:lnTo>
                      <a:pt x="2964" y="2584"/>
                    </a:lnTo>
                    <a:lnTo>
                      <a:pt x="2980" y="2572"/>
                    </a:lnTo>
                    <a:lnTo>
                      <a:pt x="2990" y="2570"/>
                    </a:lnTo>
                    <a:lnTo>
                      <a:pt x="3006" y="2568"/>
                    </a:lnTo>
                    <a:lnTo>
                      <a:pt x="3006" y="2568"/>
                    </a:lnTo>
                    <a:lnTo>
                      <a:pt x="3014" y="2568"/>
                    </a:lnTo>
                    <a:lnTo>
                      <a:pt x="3020" y="2570"/>
                    </a:lnTo>
                    <a:lnTo>
                      <a:pt x="3032" y="2574"/>
                    </a:lnTo>
                    <a:lnTo>
                      <a:pt x="3040" y="2580"/>
                    </a:lnTo>
                    <a:lnTo>
                      <a:pt x="3046" y="2580"/>
                    </a:lnTo>
                    <a:lnTo>
                      <a:pt x="3050" y="2580"/>
                    </a:lnTo>
                    <a:lnTo>
                      <a:pt x="3050" y="2580"/>
                    </a:lnTo>
                    <a:lnTo>
                      <a:pt x="3060" y="2578"/>
                    </a:lnTo>
                    <a:lnTo>
                      <a:pt x="3064" y="2580"/>
                    </a:lnTo>
                    <a:lnTo>
                      <a:pt x="3068" y="2582"/>
                    </a:lnTo>
                    <a:lnTo>
                      <a:pt x="3072" y="2580"/>
                    </a:lnTo>
                    <a:lnTo>
                      <a:pt x="3072" y="2580"/>
                    </a:lnTo>
                    <a:lnTo>
                      <a:pt x="3074" y="2578"/>
                    </a:lnTo>
                    <a:lnTo>
                      <a:pt x="3072" y="2578"/>
                    </a:lnTo>
                    <a:lnTo>
                      <a:pt x="3066" y="2576"/>
                    </a:lnTo>
                    <a:lnTo>
                      <a:pt x="3058" y="2572"/>
                    </a:lnTo>
                    <a:lnTo>
                      <a:pt x="3058" y="2572"/>
                    </a:lnTo>
                    <a:lnTo>
                      <a:pt x="3060" y="2568"/>
                    </a:lnTo>
                    <a:lnTo>
                      <a:pt x="3060" y="2568"/>
                    </a:lnTo>
                    <a:lnTo>
                      <a:pt x="3068" y="2566"/>
                    </a:lnTo>
                    <a:lnTo>
                      <a:pt x="3074" y="2568"/>
                    </a:lnTo>
                    <a:lnTo>
                      <a:pt x="3078" y="2572"/>
                    </a:lnTo>
                    <a:lnTo>
                      <a:pt x="3082" y="2578"/>
                    </a:lnTo>
                    <a:lnTo>
                      <a:pt x="3082" y="2578"/>
                    </a:lnTo>
                    <a:lnTo>
                      <a:pt x="3084" y="2580"/>
                    </a:lnTo>
                    <a:lnTo>
                      <a:pt x="3086" y="2582"/>
                    </a:lnTo>
                    <a:lnTo>
                      <a:pt x="3092" y="2584"/>
                    </a:lnTo>
                    <a:lnTo>
                      <a:pt x="3096" y="2586"/>
                    </a:lnTo>
                    <a:lnTo>
                      <a:pt x="3094" y="2588"/>
                    </a:lnTo>
                    <a:lnTo>
                      <a:pt x="3092" y="2590"/>
                    </a:lnTo>
                    <a:lnTo>
                      <a:pt x="3092" y="2590"/>
                    </a:lnTo>
                    <a:lnTo>
                      <a:pt x="3092" y="2594"/>
                    </a:lnTo>
                    <a:lnTo>
                      <a:pt x="3094" y="2596"/>
                    </a:lnTo>
                    <a:lnTo>
                      <a:pt x="3102" y="2600"/>
                    </a:lnTo>
                    <a:lnTo>
                      <a:pt x="3112" y="2600"/>
                    </a:lnTo>
                    <a:lnTo>
                      <a:pt x="3118" y="2600"/>
                    </a:lnTo>
                    <a:lnTo>
                      <a:pt x="3118" y="2600"/>
                    </a:lnTo>
                    <a:lnTo>
                      <a:pt x="3120" y="2596"/>
                    </a:lnTo>
                    <a:lnTo>
                      <a:pt x="3126" y="2594"/>
                    </a:lnTo>
                    <a:lnTo>
                      <a:pt x="3130" y="2594"/>
                    </a:lnTo>
                    <a:lnTo>
                      <a:pt x="3134" y="2600"/>
                    </a:lnTo>
                    <a:lnTo>
                      <a:pt x="3134" y="2600"/>
                    </a:lnTo>
                    <a:lnTo>
                      <a:pt x="3136" y="2602"/>
                    </a:lnTo>
                    <a:lnTo>
                      <a:pt x="3138" y="2604"/>
                    </a:lnTo>
                    <a:lnTo>
                      <a:pt x="3142" y="2602"/>
                    </a:lnTo>
                    <a:lnTo>
                      <a:pt x="3144" y="2596"/>
                    </a:lnTo>
                    <a:lnTo>
                      <a:pt x="3144" y="2592"/>
                    </a:lnTo>
                    <a:lnTo>
                      <a:pt x="3142" y="2588"/>
                    </a:lnTo>
                    <a:lnTo>
                      <a:pt x="3142" y="2588"/>
                    </a:lnTo>
                    <a:lnTo>
                      <a:pt x="3142" y="2584"/>
                    </a:lnTo>
                    <a:lnTo>
                      <a:pt x="3146" y="2584"/>
                    </a:lnTo>
                    <a:lnTo>
                      <a:pt x="3152" y="2586"/>
                    </a:lnTo>
                    <a:lnTo>
                      <a:pt x="3160" y="2594"/>
                    </a:lnTo>
                    <a:lnTo>
                      <a:pt x="3160" y="2594"/>
                    </a:lnTo>
                    <a:lnTo>
                      <a:pt x="3166" y="2602"/>
                    </a:lnTo>
                    <a:lnTo>
                      <a:pt x="3168" y="2608"/>
                    </a:lnTo>
                    <a:lnTo>
                      <a:pt x="3168" y="2610"/>
                    </a:lnTo>
                    <a:lnTo>
                      <a:pt x="3170" y="2610"/>
                    </a:lnTo>
                    <a:lnTo>
                      <a:pt x="3176" y="2606"/>
                    </a:lnTo>
                    <a:lnTo>
                      <a:pt x="3176" y="2606"/>
                    </a:lnTo>
                    <a:lnTo>
                      <a:pt x="3180" y="2602"/>
                    </a:lnTo>
                    <a:lnTo>
                      <a:pt x="3182" y="2600"/>
                    </a:lnTo>
                    <a:lnTo>
                      <a:pt x="3182" y="2596"/>
                    </a:lnTo>
                    <a:lnTo>
                      <a:pt x="3180" y="2594"/>
                    </a:lnTo>
                    <a:lnTo>
                      <a:pt x="3174" y="2590"/>
                    </a:lnTo>
                    <a:lnTo>
                      <a:pt x="3162" y="2584"/>
                    </a:lnTo>
                    <a:lnTo>
                      <a:pt x="3162" y="2584"/>
                    </a:lnTo>
                    <a:lnTo>
                      <a:pt x="3158" y="2580"/>
                    </a:lnTo>
                    <a:lnTo>
                      <a:pt x="3158" y="2578"/>
                    </a:lnTo>
                    <a:lnTo>
                      <a:pt x="3160" y="2576"/>
                    </a:lnTo>
                    <a:lnTo>
                      <a:pt x="3164" y="2574"/>
                    </a:lnTo>
                    <a:lnTo>
                      <a:pt x="3170" y="2568"/>
                    </a:lnTo>
                    <a:lnTo>
                      <a:pt x="3172" y="2564"/>
                    </a:lnTo>
                    <a:lnTo>
                      <a:pt x="3172" y="2560"/>
                    </a:lnTo>
                    <a:lnTo>
                      <a:pt x="3172" y="2560"/>
                    </a:lnTo>
                    <a:lnTo>
                      <a:pt x="3170" y="2556"/>
                    </a:lnTo>
                    <a:lnTo>
                      <a:pt x="3168" y="2556"/>
                    </a:lnTo>
                    <a:lnTo>
                      <a:pt x="3164" y="2558"/>
                    </a:lnTo>
                    <a:lnTo>
                      <a:pt x="3160" y="2562"/>
                    </a:lnTo>
                    <a:lnTo>
                      <a:pt x="3158" y="2562"/>
                    </a:lnTo>
                    <a:lnTo>
                      <a:pt x="3156" y="2562"/>
                    </a:lnTo>
                    <a:lnTo>
                      <a:pt x="3156" y="2562"/>
                    </a:lnTo>
                    <a:lnTo>
                      <a:pt x="3154" y="2560"/>
                    </a:lnTo>
                    <a:lnTo>
                      <a:pt x="3154" y="2558"/>
                    </a:lnTo>
                    <a:lnTo>
                      <a:pt x="3156" y="2556"/>
                    </a:lnTo>
                    <a:lnTo>
                      <a:pt x="3158" y="2552"/>
                    </a:lnTo>
                    <a:lnTo>
                      <a:pt x="3154" y="2550"/>
                    </a:lnTo>
                    <a:lnTo>
                      <a:pt x="3154" y="2550"/>
                    </a:lnTo>
                    <a:lnTo>
                      <a:pt x="3148" y="2550"/>
                    </a:lnTo>
                    <a:lnTo>
                      <a:pt x="3144" y="2554"/>
                    </a:lnTo>
                    <a:lnTo>
                      <a:pt x="3142" y="2556"/>
                    </a:lnTo>
                    <a:lnTo>
                      <a:pt x="3134" y="2554"/>
                    </a:lnTo>
                    <a:lnTo>
                      <a:pt x="3134" y="2554"/>
                    </a:lnTo>
                    <a:lnTo>
                      <a:pt x="3130" y="2550"/>
                    </a:lnTo>
                    <a:lnTo>
                      <a:pt x="3128" y="2548"/>
                    </a:lnTo>
                    <a:lnTo>
                      <a:pt x="3128" y="2544"/>
                    </a:lnTo>
                    <a:lnTo>
                      <a:pt x="3130" y="2540"/>
                    </a:lnTo>
                    <a:lnTo>
                      <a:pt x="3132" y="2538"/>
                    </a:lnTo>
                    <a:lnTo>
                      <a:pt x="3136" y="2536"/>
                    </a:lnTo>
                    <a:lnTo>
                      <a:pt x="3142" y="2536"/>
                    </a:lnTo>
                    <a:lnTo>
                      <a:pt x="3148" y="2538"/>
                    </a:lnTo>
                    <a:lnTo>
                      <a:pt x="3148" y="2538"/>
                    </a:lnTo>
                    <a:lnTo>
                      <a:pt x="3156" y="2544"/>
                    </a:lnTo>
                    <a:lnTo>
                      <a:pt x="3164" y="2546"/>
                    </a:lnTo>
                    <a:lnTo>
                      <a:pt x="3170" y="2544"/>
                    </a:lnTo>
                    <a:lnTo>
                      <a:pt x="3178" y="2538"/>
                    </a:lnTo>
                    <a:lnTo>
                      <a:pt x="3178" y="2538"/>
                    </a:lnTo>
                    <a:lnTo>
                      <a:pt x="3182" y="2536"/>
                    </a:lnTo>
                    <a:lnTo>
                      <a:pt x="3190" y="2536"/>
                    </a:lnTo>
                    <a:lnTo>
                      <a:pt x="3202" y="2536"/>
                    </a:lnTo>
                    <a:lnTo>
                      <a:pt x="3214" y="2538"/>
                    </a:lnTo>
                    <a:lnTo>
                      <a:pt x="3218" y="2538"/>
                    </a:lnTo>
                    <a:lnTo>
                      <a:pt x="3220" y="2536"/>
                    </a:lnTo>
                    <a:lnTo>
                      <a:pt x="3220" y="2536"/>
                    </a:lnTo>
                    <a:lnTo>
                      <a:pt x="3222" y="2522"/>
                    </a:lnTo>
                    <a:lnTo>
                      <a:pt x="3224" y="2520"/>
                    </a:lnTo>
                    <a:lnTo>
                      <a:pt x="3226" y="2522"/>
                    </a:lnTo>
                    <a:lnTo>
                      <a:pt x="3232" y="2534"/>
                    </a:lnTo>
                    <a:lnTo>
                      <a:pt x="3232" y="2534"/>
                    </a:lnTo>
                    <a:lnTo>
                      <a:pt x="3232" y="2538"/>
                    </a:lnTo>
                    <a:lnTo>
                      <a:pt x="3230" y="2540"/>
                    </a:lnTo>
                    <a:lnTo>
                      <a:pt x="3226" y="2544"/>
                    </a:lnTo>
                    <a:lnTo>
                      <a:pt x="3224" y="2546"/>
                    </a:lnTo>
                    <a:lnTo>
                      <a:pt x="3234" y="2544"/>
                    </a:lnTo>
                    <a:lnTo>
                      <a:pt x="3234" y="2544"/>
                    </a:lnTo>
                    <a:lnTo>
                      <a:pt x="3268" y="2536"/>
                    </a:lnTo>
                    <a:lnTo>
                      <a:pt x="3282" y="2536"/>
                    </a:lnTo>
                    <a:lnTo>
                      <a:pt x="3296" y="2538"/>
                    </a:lnTo>
                    <a:lnTo>
                      <a:pt x="3296" y="2538"/>
                    </a:lnTo>
                    <a:lnTo>
                      <a:pt x="3312" y="2544"/>
                    </a:lnTo>
                    <a:lnTo>
                      <a:pt x="3318" y="2546"/>
                    </a:lnTo>
                    <a:lnTo>
                      <a:pt x="3320" y="2552"/>
                    </a:lnTo>
                    <a:lnTo>
                      <a:pt x="3320" y="2552"/>
                    </a:lnTo>
                    <a:lnTo>
                      <a:pt x="3324" y="2556"/>
                    </a:lnTo>
                    <a:lnTo>
                      <a:pt x="3326" y="2556"/>
                    </a:lnTo>
                    <a:lnTo>
                      <a:pt x="3330" y="2560"/>
                    </a:lnTo>
                    <a:lnTo>
                      <a:pt x="3330" y="2566"/>
                    </a:lnTo>
                    <a:lnTo>
                      <a:pt x="3330" y="2566"/>
                    </a:lnTo>
                    <a:lnTo>
                      <a:pt x="3332" y="2570"/>
                    </a:lnTo>
                    <a:lnTo>
                      <a:pt x="3336" y="2572"/>
                    </a:lnTo>
                    <a:lnTo>
                      <a:pt x="3340" y="2570"/>
                    </a:lnTo>
                    <a:lnTo>
                      <a:pt x="3346" y="2570"/>
                    </a:lnTo>
                    <a:lnTo>
                      <a:pt x="3360" y="2564"/>
                    </a:lnTo>
                    <a:lnTo>
                      <a:pt x="3368" y="2562"/>
                    </a:lnTo>
                    <a:lnTo>
                      <a:pt x="3368" y="2562"/>
                    </a:lnTo>
                    <a:lnTo>
                      <a:pt x="3370" y="2560"/>
                    </a:lnTo>
                    <a:lnTo>
                      <a:pt x="3372" y="2560"/>
                    </a:lnTo>
                    <a:lnTo>
                      <a:pt x="3372" y="2556"/>
                    </a:lnTo>
                    <a:lnTo>
                      <a:pt x="3376" y="2552"/>
                    </a:lnTo>
                    <a:lnTo>
                      <a:pt x="3382" y="2552"/>
                    </a:lnTo>
                    <a:lnTo>
                      <a:pt x="3382" y="2552"/>
                    </a:lnTo>
                    <a:lnTo>
                      <a:pt x="3388" y="2554"/>
                    </a:lnTo>
                    <a:lnTo>
                      <a:pt x="3394" y="2558"/>
                    </a:lnTo>
                    <a:lnTo>
                      <a:pt x="3406" y="2574"/>
                    </a:lnTo>
                    <a:lnTo>
                      <a:pt x="3418" y="2592"/>
                    </a:lnTo>
                    <a:lnTo>
                      <a:pt x="3424" y="2596"/>
                    </a:lnTo>
                    <a:lnTo>
                      <a:pt x="3428" y="2598"/>
                    </a:lnTo>
                    <a:lnTo>
                      <a:pt x="3428" y="2598"/>
                    </a:lnTo>
                    <a:lnTo>
                      <a:pt x="3432" y="2600"/>
                    </a:lnTo>
                    <a:lnTo>
                      <a:pt x="3434" y="2604"/>
                    </a:lnTo>
                    <a:lnTo>
                      <a:pt x="3438" y="2616"/>
                    </a:lnTo>
                    <a:lnTo>
                      <a:pt x="3440" y="2630"/>
                    </a:lnTo>
                    <a:lnTo>
                      <a:pt x="3436" y="2646"/>
                    </a:lnTo>
                    <a:lnTo>
                      <a:pt x="3436" y="2646"/>
                    </a:lnTo>
                    <a:lnTo>
                      <a:pt x="3434" y="2658"/>
                    </a:lnTo>
                    <a:lnTo>
                      <a:pt x="3434" y="2670"/>
                    </a:lnTo>
                    <a:lnTo>
                      <a:pt x="3436" y="2676"/>
                    </a:lnTo>
                    <a:lnTo>
                      <a:pt x="3438" y="2678"/>
                    </a:lnTo>
                    <a:lnTo>
                      <a:pt x="3440" y="2676"/>
                    </a:lnTo>
                    <a:lnTo>
                      <a:pt x="3440" y="2676"/>
                    </a:lnTo>
                    <a:lnTo>
                      <a:pt x="3446" y="2672"/>
                    </a:lnTo>
                    <a:lnTo>
                      <a:pt x="3450" y="2670"/>
                    </a:lnTo>
                    <a:lnTo>
                      <a:pt x="3450" y="2670"/>
                    </a:lnTo>
                    <a:lnTo>
                      <a:pt x="3452" y="2672"/>
                    </a:lnTo>
                    <a:lnTo>
                      <a:pt x="3448" y="2678"/>
                    </a:lnTo>
                    <a:lnTo>
                      <a:pt x="3448" y="2678"/>
                    </a:lnTo>
                    <a:lnTo>
                      <a:pt x="3444" y="2682"/>
                    </a:lnTo>
                    <a:lnTo>
                      <a:pt x="3444" y="2688"/>
                    </a:lnTo>
                    <a:lnTo>
                      <a:pt x="3446" y="2698"/>
                    </a:lnTo>
                    <a:lnTo>
                      <a:pt x="3450" y="2710"/>
                    </a:lnTo>
                    <a:lnTo>
                      <a:pt x="3456" y="2718"/>
                    </a:lnTo>
                    <a:lnTo>
                      <a:pt x="3456" y="2718"/>
                    </a:lnTo>
                    <a:lnTo>
                      <a:pt x="3458" y="2720"/>
                    </a:lnTo>
                    <a:lnTo>
                      <a:pt x="3460" y="2720"/>
                    </a:lnTo>
                    <a:lnTo>
                      <a:pt x="3462" y="2720"/>
                    </a:lnTo>
                    <a:lnTo>
                      <a:pt x="3462" y="2718"/>
                    </a:lnTo>
                    <a:lnTo>
                      <a:pt x="3462" y="2720"/>
                    </a:lnTo>
                    <a:lnTo>
                      <a:pt x="3464" y="2726"/>
                    </a:lnTo>
                    <a:lnTo>
                      <a:pt x="3464" y="2726"/>
                    </a:lnTo>
                    <a:lnTo>
                      <a:pt x="3466" y="2734"/>
                    </a:lnTo>
                    <a:lnTo>
                      <a:pt x="3470" y="2738"/>
                    </a:lnTo>
                    <a:lnTo>
                      <a:pt x="3474" y="2742"/>
                    </a:lnTo>
                    <a:lnTo>
                      <a:pt x="3476" y="2754"/>
                    </a:lnTo>
                    <a:lnTo>
                      <a:pt x="3476" y="2754"/>
                    </a:lnTo>
                    <a:lnTo>
                      <a:pt x="3478" y="2760"/>
                    </a:lnTo>
                    <a:lnTo>
                      <a:pt x="3480" y="2764"/>
                    </a:lnTo>
                    <a:lnTo>
                      <a:pt x="3484" y="2768"/>
                    </a:lnTo>
                    <a:lnTo>
                      <a:pt x="3486" y="2768"/>
                    </a:lnTo>
                    <a:lnTo>
                      <a:pt x="3492" y="2772"/>
                    </a:lnTo>
                    <a:lnTo>
                      <a:pt x="3496" y="2776"/>
                    </a:lnTo>
                    <a:lnTo>
                      <a:pt x="3498" y="2782"/>
                    </a:lnTo>
                    <a:lnTo>
                      <a:pt x="3498" y="2782"/>
                    </a:lnTo>
                    <a:lnTo>
                      <a:pt x="3500" y="2792"/>
                    </a:lnTo>
                    <a:lnTo>
                      <a:pt x="3504" y="2796"/>
                    </a:lnTo>
                    <a:lnTo>
                      <a:pt x="3506" y="2796"/>
                    </a:lnTo>
                    <a:lnTo>
                      <a:pt x="3504" y="2798"/>
                    </a:lnTo>
                    <a:lnTo>
                      <a:pt x="3504" y="2798"/>
                    </a:lnTo>
                    <a:lnTo>
                      <a:pt x="3502" y="2804"/>
                    </a:lnTo>
                    <a:lnTo>
                      <a:pt x="3504" y="2808"/>
                    </a:lnTo>
                    <a:lnTo>
                      <a:pt x="3508" y="2808"/>
                    </a:lnTo>
                    <a:lnTo>
                      <a:pt x="3518" y="2806"/>
                    </a:lnTo>
                    <a:lnTo>
                      <a:pt x="3518" y="2806"/>
                    </a:lnTo>
                    <a:lnTo>
                      <a:pt x="3522" y="2806"/>
                    </a:lnTo>
                    <a:lnTo>
                      <a:pt x="3524" y="2806"/>
                    </a:lnTo>
                    <a:lnTo>
                      <a:pt x="3526" y="2810"/>
                    </a:lnTo>
                    <a:lnTo>
                      <a:pt x="3526" y="2810"/>
                    </a:lnTo>
                    <a:lnTo>
                      <a:pt x="3530" y="2804"/>
                    </a:lnTo>
                    <a:lnTo>
                      <a:pt x="3530" y="2804"/>
                    </a:lnTo>
                    <a:lnTo>
                      <a:pt x="3534" y="2796"/>
                    </a:lnTo>
                    <a:lnTo>
                      <a:pt x="3536" y="2790"/>
                    </a:lnTo>
                    <a:lnTo>
                      <a:pt x="3536" y="2786"/>
                    </a:lnTo>
                    <a:lnTo>
                      <a:pt x="3540" y="2778"/>
                    </a:lnTo>
                    <a:lnTo>
                      <a:pt x="3540" y="2778"/>
                    </a:lnTo>
                    <a:lnTo>
                      <a:pt x="3544" y="2768"/>
                    </a:lnTo>
                    <a:lnTo>
                      <a:pt x="3544" y="2758"/>
                    </a:lnTo>
                    <a:lnTo>
                      <a:pt x="3544" y="2746"/>
                    </a:lnTo>
                    <a:lnTo>
                      <a:pt x="3546" y="2732"/>
                    </a:lnTo>
                    <a:lnTo>
                      <a:pt x="3546" y="2732"/>
                    </a:lnTo>
                    <a:lnTo>
                      <a:pt x="3546" y="2722"/>
                    </a:lnTo>
                    <a:lnTo>
                      <a:pt x="3544" y="2712"/>
                    </a:lnTo>
                    <a:lnTo>
                      <a:pt x="3536" y="2686"/>
                    </a:lnTo>
                    <a:lnTo>
                      <a:pt x="3526" y="2662"/>
                    </a:lnTo>
                    <a:lnTo>
                      <a:pt x="3526" y="2650"/>
                    </a:lnTo>
                    <a:lnTo>
                      <a:pt x="3526" y="2642"/>
                    </a:lnTo>
                    <a:lnTo>
                      <a:pt x="3526" y="2642"/>
                    </a:lnTo>
                    <a:lnTo>
                      <a:pt x="3526" y="2636"/>
                    </a:lnTo>
                    <a:lnTo>
                      <a:pt x="3524" y="2630"/>
                    </a:lnTo>
                    <a:lnTo>
                      <a:pt x="3514" y="2610"/>
                    </a:lnTo>
                    <a:lnTo>
                      <a:pt x="3506" y="2598"/>
                    </a:lnTo>
                    <a:lnTo>
                      <a:pt x="3500" y="2582"/>
                    </a:lnTo>
                    <a:lnTo>
                      <a:pt x="3496" y="2564"/>
                    </a:lnTo>
                    <a:lnTo>
                      <a:pt x="3492" y="2542"/>
                    </a:lnTo>
                    <a:lnTo>
                      <a:pt x="3492" y="2542"/>
                    </a:lnTo>
                    <a:lnTo>
                      <a:pt x="3490" y="2520"/>
                    </a:lnTo>
                    <a:lnTo>
                      <a:pt x="3492" y="2500"/>
                    </a:lnTo>
                    <a:lnTo>
                      <a:pt x="3496" y="2484"/>
                    </a:lnTo>
                    <a:lnTo>
                      <a:pt x="3502" y="2470"/>
                    </a:lnTo>
                    <a:lnTo>
                      <a:pt x="3508" y="2458"/>
                    </a:lnTo>
                    <a:lnTo>
                      <a:pt x="3514" y="2448"/>
                    </a:lnTo>
                    <a:lnTo>
                      <a:pt x="3524" y="2438"/>
                    </a:lnTo>
                    <a:lnTo>
                      <a:pt x="3524" y="2438"/>
                    </a:lnTo>
                    <a:lnTo>
                      <a:pt x="3528" y="2434"/>
                    </a:lnTo>
                    <a:lnTo>
                      <a:pt x="3528" y="2432"/>
                    </a:lnTo>
                    <a:lnTo>
                      <a:pt x="3528" y="2428"/>
                    </a:lnTo>
                    <a:lnTo>
                      <a:pt x="3528" y="2426"/>
                    </a:lnTo>
                    <a:lnTo>
                      <a:pt x="3528" y="2426"/>
                    </a:lnTo>
                    <a:lnTo>
                      <a:pt x="3536" y="2424"/>
                    </a:lnTo>
                    <a:lnTo>
                      <a:pt x="3536" y="2424"/>
                    </a:lnTo>
                    <a:lnTo>
                      <a:pt x="3542" y="2424"/>
                    </a:lnTo>
                    <a:lnTo>
                      <a:pt x="3548" y="2420"/>
                    </a:lnTo>
                    <a:lnTo>
                      <a:pt x="3556" y="2412"/>
                    </a:lnTo>
                    <a:lnTo>
                      <a:pt x="3564" y="2402"/>
                    </a:lnTo>
                    <a:lnTo>
                      <a:pt x="3568" y="2400"/>
                    </a:lnTo>
                    <a:lnTo>
                      <a:pt x="3570" y="2398"/>
                    </a:lnTo>
                    <a:lnTo>
                      <a:pt x="3570" y="2398"/>
                    </a:lnTo>
                    <a:lnTo>
                      <a:pt x="3574" y="2398"/>
                    </a:lnTo>
                    <a:lnTo>
                      <a:pt x="3576" y="2394"/>
                    </a:lnTo>
                    <a:lnTo>
                      <a:pt x="3580" y="2384"/>
                    </a:lnTo>
                    <a:lnTo>
                      <a:pt x="3588" y="2370"/>
                    </a:lnTo>
                    <a:lnTo>
                      <a:pt x="3592" y="2362"/>
                    </a:lnTo>
                    <a:lnTo>
                      <a:pt x="3600" y="2356"/>
                    </a:lnTo>
                    <a:lnTo>
                      <a:pt x="3600" y="2356"/>
                    </a:lnTo>
                    <a:lnTo>
                      <a:pt x="3606" y="2352"/>
                    </a:lnTo>
                    <a:lnTo>
                      <a:pt x="3612" y="2350"/>
                    </a:lnTo>
                    <a:lnTo>
                      <a:pt x="3624" y="2350"/>
                    </a:lnTo>
                    <a:lnTo>
                      <a:pt x="3628" y="2350"/>
                    </a:lnTo>
                    <a:lnTo>
                      <a:pt x="3630" y="2350"/>
                    </a:lnTo>
                    <a:lnTo>
                      <a:pt x="3634" y="2346"/>
                    </a:lnTo>
                    <a:lnTo>
                      <a:pt x="3636" y="2342"/>
                    </a:lnTo>
                    <a:lnTo>
                      <a:pt x="3636" y="2342"/>
                    </a:lnTo>
                    <a:lnTo>
                      <a:pt x="3638" y="2334"/>
                    </a:lnTo>
                    <a:lnTo>
                      <a:pt x="3642" y="2328"/>
                    </a:lnTo>
                    <a:lnTo>
                      <a:pt x="3654" y="2318"/>
                    </a:lnTo>
                    <a:lnTo>
                      <a:pt x="3666" y="2310"/>
                    </a:lnTo>
                    <a:lnTo>
                      <a:pt x="3680" y="2306"/>
                    </a:lnTo>
                    <a:lnTo>
                      <a:pt x="3680" y="2306"/>
                    </a:lnTo>
                    <a:lnTo>
                      <a:pt x="3690" y="2304"/>
                    </a:lnTo>
                    <a:lnTo>
                      <a:pt x="3696" y="2300"/>
                    </a:lnTo>
                    <a:lnTo>
                      <a:pt x="3698" y="2294"/>
                    </a:lnTo>
                    <a:lnTo>
                      <a:pt x="3698" y="2292"/>
                    </a:lnTo>
                    <a:lnTo>
                      <a:pt x="3696" y="2290"/>
                    </a:lnTo>
                    <a:lnTo>
                      <a:pt x="3696" y="2290"/>
                    </a:lnTo>
                    <a:lnTo>
                      <a:pt x="3694" y="2290"/>
                    </a:lnTo>
                    <a:lnTo>
                      <a:pt x="3690" y="2290"/>
                    </a:lnTo>
                    <a:lnTo>
                      <a:pt x="3686" y="2294"/>
                    </a:lnTo>
                    <a:lnTo>
                      <a:pt x="3680" y="2296"/>
                    </a:lnTo>
                    <a:lnTo>
                      <a:pt x="3676" y="2298"/>
                    </a:lnTo>
                    <a:lnTo>
                      <a:pt x="3674" y="2296"/>
                    </a:lnTo>
                    <a:lnTo>
                      <a:pt x="3674" y="2296"/>
                    </a:lnTo>
                    <a:lnTo>
                      <a:pt x="3672" y="2294"/>
                    </a:lnTo>
                    <a:lnTo>
                      <a:pt x="3674" y="2292"/>
                    </a:lnTo>
                    <a:lnTo>
                      <a:pt x="3680" y="2290"/>
                    </a:lnTo>
                    <a:lnTo>
                      <a:pt x="3682" y="2288"/>
                    </a:lnTo>
                    <a:lnTo>
                      <a:pt x="3684" y="2286"/>
                    </a:lnTo>
                    <a:lnTo>
                      <a:pt x="3684" y="2286"/>
                    </a:lnTo>
                    <a:lnTo>
                      <a:pt x="3686" y="2282"/>
                    </a:lnTo>
                    <a:lnTo>
                      <a:pt x="3684" y="2278"/>
                    </a:lnTo>
                    <a:lnTo>
                      <a:pt x="3678" y="2272"/>
                    </a:lnTo>
                    <a:lnTo>
                      <a:pt x="3676" y="2268"/>
                    </a:lnTo>
                    <a:lnTo>
                      <a:pt x="3682" y="2268"/>
                    </a:lnTo>
                    <a:lnTo>
                      <a:pt x="3682" y="2268"/>
                    </a:lnTo>
                    <a:lnTo>
                      <a:pt x="3692" y="2272"/>
                    </a:lnTo>
                    <a:lnTo>
                      <a:pt x="3696" y="2274"/>
                    </a:lnTo>
                    <a:lnTo>
                      <a:pt x="3698" y="2276"/>
                    </a:lnTo>
                    <a:lnTo>
                      <a:pt x="3700" y="2274"/>
                    </a:lnTo>
                    <a:lnTo>
                      <a:pt x="3706" y="2270"/>
                    </a:lnTo>
                    <a:lnTo>
                      <a:pt x="3706" y="2270"/>
                    </a:lnTo>
                    <a:lnTo>
                      <a:pt x="3710" y="2264"/>
                    </a:lnTo>
                    <a:lnTo>
                      <a:pt x="3714" y="2262"/>
                    </a:lnTo>
                    <a:lnTo>
                      <a:pt x="3716" y="2260"/>
                    </a:lnTo>
                    <a:lnTo>
                      <a:pt x="3718" y="2254"/>
                    </a:lnTo>
                    <a:lnTo>
                      <a:pt x="3718" y="2254"/>
                    </a:lnTo>
                    <a:lnTo>
                      <a:pt x="3720" y="2246"/>
                    </a:lnTo>
                    <a:lnTo>
                      <a:pt x="3718" y="2242"/>
                    </a:lnTo>
                    <a:lnTo>
                      <a:pt x="3714" y="2240"/>
                    </a:lnTo>
                    <a:lnTo>
                      <a:pt x="3710" y="2244"/>
                    </a:lnTo>
                    <a:lnTo>
                      <a:pt x="3710" y="2244"/>
                    </a:lnTo>
                    <a:lnTo>
                      <a:pt x="3708" y="2244"/>
                    </a:lnTo>
                    <a:lnTo>
                      <a:pt x="3708" y="2242"/>
                    </a:lnTo>
                    <a:lnTo>
                      <a:pt x="3704" y="2240"/>
                    </a:lnTo>
                    <a:lnTo>
                      <a:pt x="3694" y="2240"/>
                    </a:lnTo>
                    <a:lnTo>
                      <a:pt x="3694" y="2240"/>
                    </a:lnTo>
                    <a:lnTo>
                      <a:pt x="3684" y="2242"/>
                    </a:lnTo>
                    <a:lnTo>
                      <a:pt x="3678" y="2240"/>
                    </a:lnTo>
                    <a:lnTo>
                      <a:pt x="3678" y="2236"/>
                    </a:lnTo>
                    <a:lnTo>
                      <a:pt x="3678" y="2230"/>
                    </a:lnTo>
                    <a:lnTo>
                      <a:pt x="3678" y="2230"/>
                    </a:lnTo>
                    <a:lnTo>
                      <a:pt x="3678" y="2228"/>
                    </a:lnTo>
                    <a:lnTo>
                      <a:pt x="3678" y="2228"/>
                    </a:lnTo>
                    <a:lnTo>
                      <a:pt x="3680" y="2232"/>
                    </a:lnTo>
                    <a:lnTo>
                      <a:pt x="3684" y="2236"/>
                    </a:lnTo>
                    <a:lnTo>
                      <a:pt x="3686" y="2236"/>
                    </a:lnTo>
                    <a:lnTo>
                      <a:pt x="3690" y="2236"/>
                    </a:lnTo>
                    <a:lnTo>
                      <a:pt x="3696" y="2234"/>
                    </a:lnTo>
                    <a:lnTo>
                      <a:pt x="3696" y="2234"/>
                    </a:lnTo>
                    <a:lnTo>
                      <a:pt x="3704" y="2230"/>
                    </a:lnTo>
                    <a:lnTo>
                      <a:pt x="3708" y="2230"/>
                    </a:lnTo>
                    <a:lnTo>
                      <a:pt x="3714" y="2232"/>
                    </a:lnTo>
                    <a:lnTo>
                      <a:pt x="3718" y="2236"/>
                    </a:lnTo>
                    <a:lnTo>
                      <a:pt x="3724" y="2244"/>
                    </a:lnTo>
                    <a:lnTo>
                      <a:pt x="3726" y="2248"/>
                    </a:lnTo>
                    <a:lnTo>
                      <a:pt x="3728" y="2248"/>
                    </a:lnTo>
                    <a:lnTo>
                      <a:pt x="3728" y="2248"/>
                    </a:lnTo>
                    <a:lnTo>
                      <a:pt x="3728" y="2246"/>
                    </a:lnTo>
                    <a:lnTo>
                      <a:pt x="3728" y="2244"/>
                    </a:lnTo>
                    <a:lnTo>
                      <a:pt x="3724" y="2236"/>
                    </a:lnTo>
                    <a:lnTo>
                      <a:pt x="3718" y="2222"/>
                    </a:lnTo>
                    <a:lnTo>
                      <a:pt x="3712" y="2198"/>
                    </a:lnTo>
                    <a:lnTo>
                      <a:pt x="3712" y="2198"/>
                    </a:lnTo>
                    <a:lnTo>
                      <a:pt x="3708" y="2188"/>
                    </a:lnTo>
                    <a:lnTo>
                      <a:pt x="3706" y="2186"/>
                    </a:lnTo>
                    <a:lnTo>
                      <a:pt x="3704" y="2186"/>
                    </a:lnTo>
                    <a:lnTo>
                      <a:pt x="3700" y="2188"/>
                    </a:lnTo>
                    <a:lnTo>
                      <a:pt x="3694" y="2190"/>
                    </a:lnTo>
                    <a:lnTo>
                      <a:pt x="3694" y="2190"/>
                    </a:lnTo>
                    <a:lnTo>
                      <a:pt x="3692" y="2190"/>
                    </a:lnTo>
                    <a:lnTo>
                      <a:pt x="3692" y="2190"/>
                    </a:lnTo>
                    <a:lnTo>
                      <a:pt x="3696" y="2186"/>
                    </a:lnTo>
                    <a:lnTo>
                      <a:pt x="3698" y="2180"/>
                    </a:lnTo>
                    <a:lnTo>
                      <a:pt x="3698" y="2176"/>
                    </a:lnTo>
                    <a:lnTo>
                      <a:pt x="3694" y="2174"/>
                    </a:lnTo>
                    <a:lnTo>
                      <a:pt x="3694" y="2174"/>
                    </a:lnTo>
                    <a:lnTo>
                      <a:pt x="3690" y="2170"/>
                    </a:lnTo>
                    <a:lnTo>
                      <a:pt x="3692" y="2170"/>
                    </a:lnTo>
                    <a:lnTo>
                      <a:pt x="3696" y="2168"/>
                    </a:lnTo>
                    <a:lnTo>
                      <a:pt x="3698" y="2166"/>
                    </a:lnTo>
                    <a:lnTo>
                      <a:pt x="3698" y="2162"/>
                    </a:lnTo>
                    <a:lnTo>
                      <a:pt x="3698" y="2156"/>
                    </a:lnTo>
                    <a:lnTo>
                      <a:pt x="3698" y="2156"/>
                    </a:lnTo>
                    <a:lnTo>
                      <a:pt x="3696" y="2144"/>
                    </a:lnTo>
                    <a:lnTo>
                      <a:pt x="3696" y="2140"/>
                    </a:lnTo>
                    <a:lnTo>
                      <a:pt x="3696" y="2136"/>
                    </a:lnTo>
                    <a:lnTo>
                      <a:pt x="3690" y="2130"/>
                    </a:lnTo>
                    <a:lnTo>
                      <a:pt x="3690" y="2130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78" y="2118"/>
                    </a:lnTo>
                    <a:lnTo>
                      <a:pt x="3686" y="2122"/>
                    </a:lnTo>
                    <a:lnTo>
                      <a:pt x="3686" y="2122"/>
                    </a:lnTo>
                    <a:lnTo>
                      <a:pt x="3694" y="2126"/>
                    </a:lnTo>
                    <a:lnTo>
                      <a:pt x="3696" y="2124"/>
                    </a:lnTo>
                    <a:lnTo>
                      <a:pt x="3696" y="2124"/>
                    </a:lnTo>
                    <a:lnTo>
                      <a:pt x="3692" y="2108"/>
                    </a:lnTo>
                    <a:lnTo>
                      <a:pt x="3692" y="2108"/>
                    </a:lnTo>
                    <a:lnTo>
                      <a:pt x="3688" y="2092"/>
                    </a:lnTo>
                    <a:lnTo>
                      <a:pt x="3690" y="2076"/>
                    </a:lnTo>
                    <a:lnTo>
                      <a:pt x="3690" y="2076"/>
                    </a:lnTo>
                    <a:lnTo>
                      <a:pt x="3692" y="2064"/>
                    </a:lnTo>
                    <a:lnTo>
                      <a:pt x="3696" y="2058"/>
                    </a:lnTo>
                    <a:lnTo>
                      <a:pt x="3702" y="2054"/>
                    </a:lnTo>
                    <a:lnTo>
                      <a:pt x="3702" y="2054"/>
                    </a:lnTo>
                    <a:lnTo>
                      <a:pt x="3704" y="2050"/>
                    </a:lnTo>
                    <a:lnTo>
                      <a:pt x="3704" y="2052"/>
                    </a:lnTo>
                    <a:lnTo>
                      <a:pt x="3700" y="2058"/>
                    </a:lnTo>
                    <a:lnTo>
                      <a:pt x="3698" y="2064"/>
                    </a:lnTo>
                    <a:lnTo>
                      <a:pt x="3698" y="2064"/>
                    </a:lnTo>
                    <a:lnTo>
                      <a:pt x="3694" y="2076"/>
                    </a:lnTo>
                    <a:lnTo>
                      <a:pt x="3694" y="2082"/>
                    </a:lnTo>
                    <a:lnTo>
                      <a:pt x="3696" y="2086"/>
                    </a:lnTo>
                    <a:lnTo>
                      <a:pt x="3696" y="2086"/>
                    </a:lnTo>
                    <a:lnTo>
                      <a:pt x="3696" y="2088"/>
                    </a:lnTo>
                    <a:lnTo>
                      <a:pt x="3696" y="2090"/>
                    </a:lnTo>
                    <a:lnTo>
                      <a:pt x="3694" y="2094"/>
                    </a:lnTo>
                    <a:lnTo>
                      <a:pt x="3696" y="2098"/>
                    </a:lnTo>
                    <a:lnTo>
                      <a:pt x="3696" y="2098"/>
                    </a:lnTo>
                    <a:lnTo>
                      <a:pt x="3698" y="2104"/>
                    </a:lnTo>
                    <a:lnTo>
                      <a:pt x="3696" y="2106"/>
                    </a:lnTo>
                    <a:lnTo>
                      <a:pt x="3696" y="2110"/>
                    </a:lnTo>
                    <a:lnTo>
                      <a:pt x="3700" y="2114"/>
                    </a:lnTo>
                    <a:lnTo>
                      <a:pt x="3700" y="2114"/>
                    </a:lnTo>
                    <a:lnTo>
                      <a:pt x="3706" y="2116"/>
                    </a:lnTo>
                    <a:lnTo>
                      <a:pt x="3708" y="2116"/>
                    </a:lnTo>
                    <a:lnTo>
                      <a:pt x="3710" y="2116"/>
                    </a:lnTo>
                    <a:lnTo>
                      <a:pt x="3712" y="2120"/>
                    </a:lnTo>
                    <a:lnTo>
                      <a:pt x="3712" y="2120"/>
                    </a:lnTo>
                    <a:lnTo>
                      <a:pt x="3712" y="2126"/>
                    </a:lnTo>
                    <a:lnTo>
                      <a:pt x="3712" y="2130"/>
                    </a:lnTo>
                    <a:lnTo>
                      <a:pt x="3712" y="2134"/>
                    </a:lnTo>
                    <a:lnTo>
                      <a:pt x="3716" y="2136"/>
                    </a:lnTo>
                    <a:lnTo>
                      <a:pt x="3716" y="2136"/>
                    </a:lnTo>
                    <a:lnTo>
                      <a:pt x="3718" y="2138"/>
                    </a:lnTo>
                    <a:lnTo>
                      <a:pt x="3716" y="2142"/>
                    </a:lnTo>
                    <a:lnTo>
                      <a:pt x="3710" y="2154"/>
                    </a:lnTo>
                    <a:lnTo>
                      <a:pt x="3706" y="2166"/>
                    </a:lnTo>
                    <a:lnTo>
                      <a:pt x="3706" y="2172"/>
                    </a:lnTo>
                    <a:lnTo>
                      <a:pt x="3710" y="2176"/>
                    </a:lnTo>
                    <a:lnTo>
                      <a:pt x="3710" y="2176"/>
                    </a:lnTo>
                    <a:lnTo>
                      <a:pt x="3712" y="2176"/>
                    </a:lnTo>
                    <a:lnTo>
                      <a:pt x="3714" y="2172"/>
                    </a:lnTo>
                    <a:lnTo>
                      <a:pt x="3720" y="2158"/>
                    </a:lnTo>
                    <a:lnTo>
                      <a:pt x="3728" y="2138"/>
                    </a:lnTo>
                    <a:lnTo>
                      <a:pt x="3738" y="2122"/>
                    </a:lnTo>
                    <a:lnTo>
                      <a:pt x="3738" y="2122"/>
                    </a:lnTo>
                    <a:lnTo>
                      <a:pt x="3744" y="2114"/>
                    </a:lnTo>
                    <a:lnTo>
                      <a:pt x="3746" y="2108"/>
                    </a:lnTo>
                    <a:lnTo>
                      <a:pt x="3748" y="2102"/>
                    </a:lnTo>
                    <a:lnTo>
                      <a:pt x="3748" y="2096"/>
                    </a:lnTo>
                    <a:lnTo>
                      <a:pt x="3748" y="2092"/>
                    </a:lnTo>
                    <a:lnTo>
                      <a:pt x="3746" y="2088"/>
                    </a:lnTo>
                    <a:lnTo>
                      <a:pt x="3744" y="2086"/>
                    </a:lnTo>
                    <a:lnTo>
                      <a:pt x="3740" y="2086"/>
                    </a:lnTo>
                    <a:lnTo>
                      <a:pt x="3740" y="2086"/>
                    </a:lnTo>
                    <a:lnTo>
                      <a:pt x="3738" y="2084"/>
                    </a:lnTo>
                    <a:lnTo>
                      <a:pt x="3736" y="2082"/>
                    </a:lnTo>
                    <a:lnTo>
                      <a:pt x="3732" y="2074"/>
                    </a:lnTo>
                    <a:lnTo>
                      <a:pt x="3726" y="2054"/>
                    </a:lnTo>
                    <a:lnTo>
                      <a:pt x="3726" y="2054"/>
                    </a:lnTo>
                    <a:lnTo>
                      <a:pt x="3724" y="2044"/>
                    </a:lnTo>
                    <a:lnTo>
                      <a:pt x="3726" y="2036"/>
                    </a:lnTo>
                    <a:lnTo>
                      <a:pt x="3730" y="2030"/>
                    </a:lnTo>
                    <a:lnTo>
                      <a:pt x="3738" y="2024"/>
                    </a:lnTo>
                    <a:lnTo>
                      <a:pt x="3738" y="2024"/>
                    </a:lnTo>
                    <a:lnTo>
                      <a:pt x="3742" y="2024"/>
                    </a:lnTo>
                    <a:lnTo>
                      <a:pt x="3736" y="2030"/>
                    </a:lnTo>
                    <a:lnTo>
                      <a:pt x="3732" y="2034"/>
                    </a:lnTo>
                    <a:lnTo>
                      <a:pt x="3730" y="2040"/>
                    </a:lnTo>
                    <a:lnTo>
                      <a:pt x="3730" y="2046"/>
                    </a:lnTo>
                    <a:lnTo>
                      <a:pt x="3732" y="2054"/>
                    </a:lnTo>
                    <a:lnTo>
                      <a:pt x="3732" y="2054"/>
                    </a:lnTo>
                    <a:lnTo>
                      <a:pt x="3738" y="2060"/>
                    </a:lnTo>
                    <a:lnTo>
                      <a:pt x="3742" y="2062"/>
                    </a:lnTo>
                    <a:lnTo>
                      <a:pt x="3748" y="2064"/>
                    </a:lnTo>
                    <a:lnTo>
                      <a:pt x="3750" y="2066"/>
                    </a:lnTo>
                    <a:lnTo>
                      <a:pt x="3750" y="2072"/>
                    </a:lnTo>
                    <a:lnTo>
                      <a:pt x="3750" y="2072"/>
                    </a:lnTo>
                    <a:lnTo>
                      <a:pt x="3750" y="2078"/>
                    </a:lnTo>
                    <a:lnTo>
                      <a:pt x="3752" y="2078"/>
                    </a:lnTo>
                    <a:lnTo>
                      <a:pt x="3754" y="2078"/>
                    </a:lnTo>
                    <a:lnTo>
                      <a:pt x="3758" y="2074"/>
                    </a:lnTo>
                    <a:lnTo>
                      <a:pt x="3766" y="2062"/>
                    </a:lnTo>
                    <a:lnTo>
                      <a:pt x="3774" y="2048"/>
                    </a:lnTo>
                    <a:lnTo>
                      <a:pt x="3774" y="2048"/>
                    </a:lnTo>
                    <a:lnTo>
                      <a:pt x="3784" y="2030"/>
                    </a:lnTo>
                    <a:lnTo>
                      <a:pt x="3790" y="2014"/>
                    </a:lnTo>
                    <a:lnTo>
                      <a:pt x="3790" y="2008"/>
                    </a:lnTo>
                    <a:lnTo>
                      <a:pt x="3790" y="2002"/>
                    </a:lnTo>
                    <a:lnTo>
                      <a:pt x="3790" y="2000"/>
                    </a:lnTo>
                    <a:lnTo>
                      <a:pt x="3786" y="1998"/>
                    </a:lnTo>
                    <a:lnTo>
                      <a:pt x="3786" y="1998"/>
                    </a:lnTo>
                    <a:lnTo>
                      <a:pt x="3778" y="1996"/>
                    </a:lnTo>
                    <a:lnTo>
                      <a:pt x="3776" y="1996"/>
                    </a:lnTo>
                    <a:lnTo>
                      <a:pt x="3776" y="1994"/>
                    </a:lnTo>
                    <a:lnTo>
                      <a:pt x="3778" y="1988"/>
                    </a:lnTo>
                    <a:lnTo>
                      <a:pt x="3784" y="1980"/>
                    </a:lnTo>
                    <a:lnTo>
                      <a:pt x="3784" y="1980"/>
                    </a:lnTo>
                    <a:lnTo>
                      <a:pt x="3796" y="1972"/>
                    </a:lnTo>
                    <a:lnTo>
                      <a:pt x="3808" y="1962"/>
                    </a:lnTo>
                    <a:lnTo>
                      <a:pt x="3824" y="1956"/>
                    </a:lnTo>
                    <a:lnTo>
                      <a:pt x="3838" y="1950"/>
                    </a:lnTo>
                    <a:lnTo>
                      <a:pt x="3838" y="1950"/>
                    </a:lnTo>
                    <a:lnTo>
                      <a:pt x="3854" y="1948"/>
                    </a:lnTo>
                    <a:lnTo>
                      <a:pt x="3870" y="1946"/>
                    </a:lnTo>
                    <a:lnTo>
                      <a:pt x="3886" y="1944"/>
                    </a:lnTo>
                    <a:lnTo>
                      <a:pt x="3890" y="1944"/>
                    </a:lnTo>
                    <a:lnTo>
                      <a:pt x="3892" y="1940"/>
                    </a:lnTo>
                    <a:lnTo>
                      <a:pt x="3892" y="1940"/>
                    </a:lnTo>
                    <a:lnTo>
                      <a:pt x="3894" y="1926"/>
                    </a:lnTo>
                    <a:lnTo>
                      <a:pt x="3896" y="1924"/>
                    </a:lnTo>
                    <a:lnTo>
                      <a:pt x="3898" y="1928"/>
                    </a:lnTo>
                    <a:lnTo>
                      <a:pt x="3898" y="1928"/>
                    </a:lnTo>
                    <a:lnTo>
                      <a:pt x="3900" y="1936"/>
                    </a:lnTo>
                    <a:lnTo>
                      <a:pt x="3904" y="1940"/>
                    </a:lnTo>
                    <a:lnTo>
                      <a:pt x="3906" y="1940"/>
                    </a:lnTo>
                    <a:lnTo>
                      <a:pt x="3908" y="1940"/>
                    </a:lnTo>
                    <a:lnTo>
                      <a:pt x="3914" y="1932"/>
                    </a:lnTo>
                    <a:lnTo>
                      <a:pt x="3914" y="1932"/>
                    </a:lnTo>
                    <a:lnTo>
                      <a:pt x="3920" y="1928"/>
                    </a:lnTo>
                    <a:lnTo>
                      <a:pt x="3922" y="1926"/>
                    </a:lnTo>
                    <a:lnTo>
                      <a:pt x="3924" y="1928"/>
                    </a:lnTo>
                    <a:lnTo>
                      <a:pt x="3924" y="1930"/>
                    </a:lnTo>
                    <a:lnTo>
                      <a:pt x="3924" y="1936"/>
                    </a:lnTo>
                    <a:lnTo>
                      <a:pt x="3926" y="1936"/>
                    </a:lnTo>
                    <a:lnTo>
                      <a:pt x="3928" y="1934"/>
                    </a:lnTo>
                    <a:lnTo>
                      <a:pt x="3928" y="1934"/>
                    </a:lnTo>
                    <a:lnTo>
                      <a:pt x="3932" y="1932"/>
                    </a:lnTo>
                    <a:lnTo>
                      <a:pt x="3936" y="1930"/>
                    </a:lnTo>
                    <a:lnTo>
                      <a:pt x="3946" y="1930"/>
                    </a:lnTo>
                    <a:lnTo>
                      <a:pt x="3952" y="1928"/>
                    </a:lnTo>
                    <a:lnTo>
                      <a:pt x="3952" y="1924"/>
                    </a:lnTo>
                    <a:lnTo>
                      <a:pt x="3952" y="1920"/>
                    </a:lnTo>
                    <a:lnTo>
                      <a:pt x="3952" y="1920"/>
                    </a:lnTo>
                    <a:lnTo>
                      <a:pt x="3948" y="1906"/>
                    </a:lnTo>
                    <a:lnTo>
                      <a:pt x="3946" y="1904"/>
                    </a:lnTo>
                    <a:lnTo>
                      <a:pt x="3942" y="1904"/>
                    </a:lnTo>
                    <a:lnTo>
                      <a:pt x="3942" y="1904"/>
                    </a:lnTo>
                    <a:lnTo>
                      <a:pt x="3940" y="1904"/>
                    </a:lnTo>
                    <a:lnTo>
                      <a:pt x="3942" y="1906"/>
                    </a:lnTo>
                    <a:lnTo>
                      <a:pt x="3946" y="1908"/>
                    </a:lnTo>
                    <a:lnTo>
                      <a:pt x="3948" y="1914"/>
                    </a:lnTo>
                    <a:lnTo>
                      <a:pt x="3948" y="1914"/>
                    </a:lnTo>
                    <a:lnTo>
                      <a:pt x="3944" y="1920"/>
                    </a:lnTo>
                    <a:lnTo>
                      <a:pt x="3940" y="1924"/>
                    </a:lnTo>
                    <a:lnTo>
                      <a:pt x="3936" y="1926"/>
                    </a:lnTo>
                    <a:lnTo>
                      <a:pt x="3932" y="1926"/>
                    </a:lnTo>
                    <a:lnTo>
                      <a:pt x="3930" y="1922"/>
                    </a:lnTo>
                    <a:lnTo>
                      <a:pt x="3928" y="1918"/>
                    </a:lnTo>
                    <a:lnTo>
                      <a:pt x="3928" y="1918"/>
                    </a:lnTo>
                    <a:lnTo>
                      <a:pt x="3924" y="1908"/>
                    </a:lnTo>
                    <a:lnTo>
                      <a:pt x="3924" y="1902"/>
                    </a:lnTo>
                    <a:lnTo>
                      <a:pt x="3920" y="1896"/>
                    </a:lnTo>
                    <a:lnTo>
                      <a:pt x="3912" y="1894"/>
                    </a:lnTo>
                    <a:lnTo>
                      <a:pt x="3912" y="1894"/>
                    </a:lnTo>
                    <a:lnTo>
                      <a:pt x="3910" y="1894"/>
                    </a:lnTo>
                    <a:lnTo>
                      <a:pt x="3910" y="1892"/>
                    </a:lnTo>
                    <a:lnTo>
                      <a:pt x="3918" y="1884"/>
                    </a:lnTo>
                    <a:lnTo>
                      <a:pt x="3926" y="1876"/>
                    </a:lnTo>
                    <a:lnTo>
                      <a:pt x="3926" y="1874"/>
                    </a:lnTo>
                    <a:lnTo>
                      <a:pt x="3924" y="1872"/>
                    </a:lnTo>
                    <a:lnTo>
                      <a:pt x="3924" y="1872"/>
                    </a:lnTo>
                    <a:lnTo>
                      <a:pt x="3922" y="1868"/>
                    </a:lnTo>
                    <a:lnTo>
                      <a:pt x="3920" y="1864"/>
                    </a:lnTo>
                    <a:lnTo>
                      <a:pt x="3922" y="1850"/>
                    </a:lnTo>
                    <a:lnTo>
                      <a:pt x="3928" y="1836"/>
                    </a:lnTo>
                    <a:lnTo>
                      <a:pt x="3936" y="1826"/>
                    </a:lnTo>
                    <a:lnTo>
                      <a:pt x="3936" y="1826"/>
                    </a:lnTo>
                    <a:lnTo>
                      <a:pt x="3940" y="1820"/>
                    </a:lnTo>
                    <a:lnTo>
                      <a:pt x="3940" y="1816"/>
                    </a:lnTo>
                    <a:lnTo>
                      <a:pt x="3940" y="1814"/>
                    </a:lnTo>
                    <a:lnTo>
                      <a:pt x="3942" y="1810"/>
                    </a:lnTo>
                    <a:lnTo>
                      <a:pt x="3942" y="1810"/>
                    </a:lnTo>
                    <a:lnTo>
                      <a:pt x="3944" y="1808"/>
                    </a:lnTo>
                    <a:lnTo>
                      <a:pt x="3946" y="1808"/>
                    </a:lnTo>
                    <a:lnTo>
                      <a:pt x="3948" y="1812"/>
                    </a:lnTo>
                    <a:lnTo>
                      <a:pt x="3952" y="1814"/>
                    </a:lnTo>
                    <a:lnTo>
                      <a:pt x="3954" y="1814"/>
                    </a:lnTo>
                    <a:lnTo>
                      <a:pt x="3958" y="1812"/>
                    </a:lnTo>
                    <a:lnTo>
                      <a:pt x="3958" y="1812"/>
                    </a:lnTo>
                    <a:lnTo>
                      <a:pt x="3966" y="1806"/>
                    </a:lnTo>
                    <a:lnTo>
                      <a:pt x="3970" y="1802"/>
                    </a:lnTo>
                    <a:lnTo>
                      <a:pt x="3974" y="1800"/>
                    </a:lnTo>
                    <a:lnTo>
                      <a:pt x="3976" y="1800"/>
                    </a:lnTo>
                    <a:lnTo>
                      <a:pt x="3976" y="1800"/>
                    </a:lnTo>
                    <a:lnTo>
                      <a:pt x="3982" y="1798"/>
                    </a:lnTo>
                    <a:lnTo>
                      <a:pt x="3984" y="1796"/>
                    </a:lnTo>
                    <a:lnTo>
                      <a:pt x="3988" y="1786"/>
                    </a:lnTo>
                    <a:lnTo>
                      <a:pt x="3992" y="1778"/>
                    </a:lnTo>
                    <a:lnTo>
                      <a:pt x="3996" y="1776"/>
                    </a:lnTo>
                    <a:lnTo>
                      <a:pt x="4000" y="1778"/>
                    </a:lnTo>
                    <a:lnTo>
                      <a:pt x="4000" y="1778"/>
                    </a:lnTo>
                    <a:lnTo>
                      <a:pt x="4006" y="1782"/>
                    </a:lnTo>
                    <a:lnTo>
                      <a:pt x="4008" y="1780"/>
                    </a:lnTo>
                    <a:lnTo>
                      <a:pt x="4010" y="1780"/>
                    </a:lnTo>
                    <a:lnTo>
                      <a:pt x="4012" y="1776"/>
                    </a:lnTo>
                    <a:lnTo>
                      <a:pt x="4016" y="1772"/>
                    </a:lnTo>
                    <a:lnTo>
                      <a:pt x="4016" y="1772"/>
                    </a:lnTo>
                    <a:lnTo>
                      <a:pt x="4022" y="1772"/>
                    </a:lnTo>
                    <a:lnTo>
                      <a:pt x="4024" y="1774"/>
                    </a:lnTo>
                    <a:lnTo>
                      <a:pt x="4028" y="1776"/>
                    </a:lnTo>
                    <a:lnTo>
                      <a:pt x="4036" y="1772"/>
                    </a:lnTo>
                    <a:lnTo>
                      <a:pt x="4036" y="1772"/>
                    </a:lnTo>
                    <a:lnTo>
                      <a:pt x="4044" y="1766"/>
                    </a:lnTo>
                    <a:lnTo>
                      <a:pt x="4052" y="1764"/>
                    </a:lnTo>
                    <a:lnTo>
                      <a:pt x="4060" y="1762"/>
                    </a:lnTo>
                    <a:lnTo>
                      <a:pt x="4066" y="1756"/>
                    </a:lnTo>
                    <a:lnTo>
                      <a:pt x="4066" y="1756"/>
                    </a:lnTo>
                    <a:lnTo>
                      <a:pt x="4070" y="1752"/>
                    </a:lnTo>
                    <a:lnTo>
                      <a:pt x="4070" y="1748"/>
                    </a:lnTo>
                    <a:lnTo>
                      <a:pt x="4068" y="1746"/>
                    </a:lnTo>
                    <a:lnTo>
                      <a:pt x="4066" y="1742"/>
                    </a:lnTo>
                    <a:lnTo>
                      <a:pt x="4066" y="1742"/>
                    </a:lnTo>
                    <a:lnTo>
                      <a:pt x="4064" y="1736"/>
                    </a:lnTo>
                    <a:lnTo>
                      <a:pt x="4062" y="1734"/>
                    </a:lnTo>
                    <a:lnTo>
                      <a:pt x="4054" y="1730"/>
                    </a:lnTo>
                    <a:lnTo>
                      <a:pt x="4054" y="1730"/>
                    </a:lnTo>
                    <a:lnTo>
                      <a:pt x="4052" y="1726"/>
                    </a:lnTo>
                    <a:lnTo>
                      <a:pt x="4050" y="1718"/>
                    </a:lnTo>
                    <a:lnTo>
                      <a:pt x="4050" y="1704"/>
                    </a:lnTo>
                    <a:lnTo>
                      <a:pt x="4050" y="1704"/>
                    </a:lnTo>
                    <a:lnTo>
                      <a:pt x="4052" y="1706"/>
                    </a:lnTo>
                    <a:lnTo>
                      <a:pt x="4054" y="1708"/>
                    </a:lnTo>
                    <a:lnTo>
                      <a:pt x="4054" y="1716"/>
                    </a:lnTo>
                    <a:lnTo>
                      <a:pt x="4054" y="1716"/>
                    </a:lnTo>
                    <a:lnTo>
                      <a:pt x="4054" y="1720"/>
                    </a:lnTo>
                    <a:lnTo>
                      <a:pt x="4056" y="1724"/>
                    </a:lnTo>
                    <a:lnTo>
                      <a:pt x="4060" y="1728"/>
                    </a:lnTo>
                    <a:lnTo>
                      <a:pt x="4066" y="1730"/>
                    </a:lnTo>
                    <a:lnTo>
                      <a:pt x="4066" y="1730"/>
                    </a:lnTo>
                    <a:lnTo>
                      <a:pt x="4078" y="1734"/>
                    </a:lnTo>
                    <a:lnTo>
                      <a:pt x="4088" y="1734"/>
                    </a:lnTo>
                    <a:lnTo>
                      <a:pt x="4096" y="1734"/>
                    </a:lnTo>
                    <a:lnTo>
                      <a:pt x="4106" y="1732"/>
                    </a:lnTo>
                    <a:lnTo>
                      <a:pt x="4122" y="1724"/>
                    </a:lnTo>
                    <a:lnTo>
                      <a:pt x="4144" y="1714"/>
                    </a:lnTo>
                    <a:lnTo>
                      <a:pt x="4144" y="1714"/>
                    </a:lnTo>
                    <a:lnTo>
                      <a:pt x="4152" y="1708"/>
                    </a:lnTo>
                    <a:lnTo>
                      <a:pt x="4156" y="1708"/>
                    </a:lnTo>
                    <a:lnTo>
                      <a:pt x="4156" y="1708"/>
                    </a:lnTo>
                    <a:lnTo>
                      <a:pt x="4158" y="1712"/>
                    </a:lnTo>
                    <a:lnTo>
                      <a:pt x="4160" y="1714"/>
                    </a:lnTo>
                    <a:lnTo>
                      <a:pt x="4164" y="1718"/>
                    </a:lnTo>
                    <a:lnTo>
                      <a:pt x="4172" y="1718"/>
                    </a:lnTo>
                    <a:lnTo>
                      <a:pt x="4188" y="1716"/>
                    </a:lnTo>
                    <a:lnTo>
                      <a:pt x="4188" y="1716"/>
                    </a:lnTo>
                    <a:lnTo>
                      <a:pt x="4202" y="1716"/>
                    </a:lnTo>
                    <a:lnTo>
                      <a:pt x="4194" y="1720"/>
                    </a:lnTo>
                    <a:lnTo>
                      <a:pt x="4172" y="1728"/>
                    </a:lnTo>
                    <a:lnTo>
                      <a:pt x="4148" y="1740"/>
                    </a:lnTo>
                    <a:lnTo>
                      <a:pt x="4148" y="1740"/>
                    </a:lnTo>
                    <a:lnTo>
                      <a:pt x="4136" y="1746"/>
                    </a:lnTo>
                    <a:lnTo>
                      <a:pt x="4126" y="1754"/>
                    </a:lnTo>
                    <a:lnTo>
                      <a:pt x="4118" y="1762"/>
                    </a:lnTo>
                    <a:lnTo>
                      <a:pt x="4110" y="1770"/>
                    </a:lnTo>
                    <a:lnTo>
                      <a:pt x="4106" y="1780"/>
                    </a:lnTo>
                    <a:lnTo>
                      <a:pt x="4104" y="1790"/>
                    </a:lnTo>
                    <a:lnTo>
                      <a:pt x="4106" y="1802"/>
                    </a:lnTo>
                    <a:lnTo>
                      <a:pt x="4110" y="1812"/>
                    </a:lnTo>
                    <a:lnTo>
                      <a:pt x="4110" y="1812"/>
                    </a:lnTo>
                    <a:lnTo>
                      <a:pt x="4116" y="1822"/>
                    </a:lnTo>
                    <a:lnTo>
                      <a:pt x="4124" y="1826"/>
                    </a:lnTo>
                    <a:lnTo>
                      <a:pt x="4130" y="1828"/>
                    </a:lnTo>
                    <a:lnTo>
                      <a:pt x="4138" y="1824"/>
                    </a:lnTo>
                    <a:lnTo>
                      <a:pt x="4146" y="1818"/>
                    </a:lnTo>
                    <a:lnTo>
                      <a:pt x="4154" y="1810"/>
                    </a:lnTo>
                    <a:lnTo>
                      <a:pt x="4174" y="1786"/>
                    </a:lnTo>
                    <a:lnTo>
                      <a:pt x="4174" y="1786"/>
                    </a:lnTo>
                    <a:lnTo>
                      <a:pt x="4182" y="1776"/>
                    </a:lnTo>
                    <a:lnTo>
                      <a:pt x="4190" y="1770"/>
                    </a:lnTo>
                    <a:lnTo>
                      <a:pt x="4196" y="1768"/>
                    </a:lnTo>
                    <a:lnTo>
                      <a:pt x="4202" y="1768"/>
                    </a:lnTo>
                    <a:lnTo>
                      <a:pt x="4208" y="1768"/>
                    </a:lnTo>
                    <a:lnTo>
                      <a:pt x="4216" y="1766"/>
                    </a:lnTo>
                    <a:lnTo>
                      <a:pt x="4224" y="1764"/>
                    </a:lnTo>
                    <a:lnTo>
                      <a:pt x="4238" y="1756"/>
                    </a:lnTo>
                    <a:lnTo>
                      <a:pt x="4238" y="1756"/>
                    </a:lnTo>
                    <a:lnTo>
                      <a:pt x="4252" y="1748"/>
                    </a:lnTo>
                    <a:lnTo>
                      <a:pt x="4266" y="1742"/>
                    </a:lnTo>
                    <a:lnTo>
                      <a:pt x="4290" y="1734"/>
                    </a:lnTo>
                    <a:lnTo>
                      <a:pt x="4300" y="1730"/>
                    </a:lnTo>
                    <a:lnTo>
                      <a:pt x="4306" y="1728"/>
                    </a:lnTo>
                    <a:lnTo>
                      <a:pt x="4308" y="1724"/>
                    </a:lnTo>
                    <a:lnTo>
                      <a:pt x="4304" y="1720"/>
                    </a:lnTo>
                    <a:lnTo>
                      <a:pt x="4304" y="1720"/>
                    </a:lnTo>
                    <a:lnTo>
                      <a:pt x="4284" y="1700"/>
                    </a:lnTo>
                    <a:lnTo>
                      <a:pt x="4280" y="1698"/>
                    </a:lnTo>
                    <a:lnTo>
                      <a:pt x="4276" y="1696"/>
                    </a:lnTo>
                    <a:lnTo>
                      <a:pt x="4270" y="1696"/>
                    </a:lnTo>
                    <a:lnTo>
                      <a:pt x="4264" y="1698"/>
                    </a:lnTo>
                    <a:lnTo>
                      <a:pt x="4264" y="1698"/>
                    </a:lnTo>
                    <a:lnTo>
                      <a:pt x="4258" y="1700"/>
                    </a:lnTo>
                    <a:lnTo>
                      <a:pt x="4246" y="1700"/>
                    </a:lnTo>
                    <a:lnTo>
                      <a:pt x="4236" y="1700"/>
                    </a:lnTo>
                    <a:lnTo>
                      <a:pt x="4224" y="1696"/>
                    </a:lnTo>
                    <a:lnTo>
                      <a:pt x="4212" y="1694"/>
                    </a:lnTo>
                    <a:lnTo>
                      <a:pt x="4204" y="1690"/>
                    </a:lnTo>
                    <a:lnTo>
                      <a:pt x="4198" y="1684"/>
                    </a:lnTo>
                    <a:lnTo>
                      <a:pt x="4196" y="1682"/>
                    </a:lnTo>
                    <a:lnTo>
                      <a:pt x="4196" y="1680"/>
                    </a:lnTo>
                    <a:lnTo>
                      <a:pt x="4196" y="1680"/>
                    </a:lnTo>
                    <a:lnTo>
                      <a:pt x="4196" y="1676"/>
                    </a:lnTo>
                    <a:lnTo>
                      <a:pt x="4194" y="1674"/>
                    </a:lnTo>
                    <a:lnTo>
                      <a:pt x="4186" y="1672"/>
                    </a:lnTo>
                    <a:lnTo>
                      <a:pt x="4178" y="1668"/>
                    </a:lnTo>
                    <a:lnTo>
                      <a:pt x="4172" y="1664"/>
                    </a:lnTo>
                    <a:lnTo>
                      <a:pt x="4166" y="1654"/>
                    </a:lnTo>
                    <a:lnTo>
                      <a:pt x="4160" y="1640"/>
                    </a:lnTo>
                    <a:lnTo>
                      <a:pt x="4160" y="1640"/>
                    </a:lnTo>
                    <a:lnTo>
                      <a:pt x="4156" y="1624"/>
                    </a:lnTo>
                    <a:lnTo>
                      <a:pt x="4156" y="1610"/>
                    </a:lnTo>
                    <a:lnTo>
                      <a:pt x="4158" y="1598"/>
                    </a:lnTo>
                    <a:lnTo>
                      <a:pt x="4160" y="1588"/>
                    </a:lnTo>
                    <a:lnTo>
                      <a:pt x="4162" y="1580"/>
                    </a:lnTo>
                    <a:lnTo>
                      <a:pt x="4162" y="1576"/>
                    </a:lnTo>
                    <a:lnTo>
                      <a:pt x="4158" y="1574"/>
                    </a:lnTo>
                    <a:lnTo>
                      <a:pt x="4148" y="1576"/>
                    </a:lnTo>
                    <a:lnTo>
                      <a:pt x="4148" y="1576"/>
                    </a:lnTo>
                    <a:lnTo>
                      <a:pt x="4134" y="1578"/>
                    </a:lnTo>
                    <a:lnTo>
                      <a:pt x="4126" y="1580"/>
                    </a:lnTo>
                    <a:lnTo>
                      <a:pt x="4124" y="1578"/>
                    </a:lnTo>
                    <a:lnTo>
                      <a:pt x="4126" y="1574"/>
                    </a:lnTo>
                    <a:lnTo>
                      <a:pt x="4140" y="1564"/>
                    </a:lnTo>
                    <a:lnTo>
                      <a:pt x="4164" y="1550"/>
                    </a:lnTo>
                    <a:lnTo>
                      <a:pt x="4164" y="1550"/>
                    </a:lnTo>
                    <a:lnTo>
                      <a:pt x="4178" y="1538"/>
                    </a:lnTo>
                    <a:lnTo>
                      <a:pt x="4182" y="1532"/>
                    </a:lnTo>
                    <a:lnTo>
                      <a:pt x="4184" y="1528"/>
                    </a:lnTo>
                    <a:lnTo>
                      <a:pt x="4184" y="1522"/>
                    </a:lnTo>
                    <a:lnTo>
                      <a:pt x="4180" y="1516"/>
                    </a:lnTo>
                    <a:lnTo>
                      <a:pt x="4174" y="1508"/>
                    </a:lnTo>
                    <a:lnTo>
                      <a:pt x="4166" y="1502"/>
                    </a:lnTo>
                    <a:lnTo>
                      <a:pt x="4166" y="1502"/>
                    </a:lnTo>
                    <a:lnTo>
                      <a:pt x="4160" y="1498"/>
                    </a:lnTo>
                    <a:lnTo>
                      <a:pt x="4150" y="1496"/>
                    </a:lnTo>
                    <a:lnTo>
                      <a:pt x="4140" y="1496"/>
                    </a:lnTo>
                    <a:lnTo>
                      <a:pt x="4130" y="1496"/>
                    </a:lnTo>
                    <a:lnTo>
                      <a:pt x="4102" y="1500"/>
                    </a:lnTo>
                    <a:lnTo>
                      <a:pt x="4074" y="1508"/>
                    </a:lnTo>
                    <a:lnTo>
                      <a:pt x="4044" y="1518"/>
                    </a:lnTo>
                    <a:lnTo>
                      <a:pt x="4018" y="1532"/>
                    </a:lnTo>
                    <a:lnTo>
                      <a:pt x="3996" y="1546"/>
                    </a:lnTo>
                    <a:lnTo>
                      <a:pt x="3988" y="1554"/>
                    </a:lnTo>
                    <a:lnTo>
                      <a:pt x="3982" y="1560"/>
                    </a:lnTo>
                    <a:lnTo>
                      <a:pt x="3982" y="1560"/>
                    </a:lnTo>
                    <a:lnTo>
                      <a:pt x="3964" y="1584"/>
                    </a:lnTo>
                    <a:lnTo>
                      <a:pt x="3948" y="1602"/>
                    </a:lnTo>
                    <a:lnTo>
                      <a:pt x="3934" y="1616"/>
                    </a:lnTo>
                    <a:lnTo>
                      <a:pt x="3922" y="1626"/>
                    </a:lnTo>
                    <a:lnTo>
                      <a:pt x="3914" y="1634"/>
                    </a:lnTo>
                    <a:lnTo>
                      <a:pt x="3908" y="1636"/>
                    </a:lnTo>
                    <a:lnTo>
                      <a:pt x="3908" y="1636"/>
                    </a:lnTo>
                    <a:lnTo>
                      <a:pt x="3908" y="1634"/>
                    </a:lnTo>
                    <a:lnTo>
                      <a:pt x="3914" y="1628"/>
                    </a:lnTo>
                    <a:lnTo>
                      <a:pt x="3914" y="1628"/>
                    </a:lnTo>
                    <a:lnTo>
                      <a:pt x="3924" y="1616"/>
                    </a:lnTo>
                    <a:lnTo>
                      <a:pt x="3936" y="1600"/>
                    </a:lnTo>
                    <a:lnTo>
                      <a:pt x="3964" y="1560"/>
                    </a:lnTo>
                    <a:lnTo>
                      <a:pt x="3978" y="1542"/>
                    </a:lnTo>
                    <a:lnTo>
                      <a:pt x="3994" y="1524"/>
                    </a:lnTo>
                    <a:lnTo>
                      <a:pt x="4010" y="1510"/>
                    </a:lnTo>
                    <a:lnTo>
                      <a:pt x="4020" y="1504"/>
                    </a:lnTo>
                    <a:lnTo>
                      <a:pt x="4030" y="1500"/>
                    </a:lnTo>
                    <a:lnTo>
                      <a:pt x="4030" y="1500"/>
                    </a:lnTo>
                    <a:lnTo>
                      <a:pt x="4040" y="1496"/>
                    </a:lnTo>
                    <a:lnTo>
                      <a:pt x="4050" y="1490"/>
                    </a:lnTo>
                    <a:lnTo>
                      <a:pt x="4056" y="1486"/>
                    </a:lnTo>
                    <a:lnTo>
                      <a:pt x="4060" y="1482"/>
                    </a:lnTo>
                    <a:lnTo>
                      <a:pt x="4066" y="1472"/>
                    </a:lnTo>
                    <a:lnTo>
                      <a:pt x="4068" y="1464"/>
                    </a:lnTo>
                    <a:lnTo>
                      <a:pt x="4072" y="1456"/>
                    </a:lnTo>
                    <a:lnTo>
                      <a:pt x="4076" y="1452"/>
                    </a:lnTo>
                    <a:lnTo>
                      <a:pt x="4082" y="1448"/>
                    </a:lnTo>
                    <a:lnTo>
                      <a:pt x="4090" y="1444"/>
                    </a:lnTo>
                    <a:lnTo>
                      <a:pt x="4102" y="1440"/>
                    </a:lnTo>
                    <a:lnTo>
                      <a:pt x="4136" y="1432"/>
                    </a:lnTo>
                    <a:lnTo>
                      <a:pt x="4136" y="1432"/>
                    </a:lnTo>
                    <a:lnTo>
                      <a:pt x="4160" y="1430"/>
                    </a:lnTo>
                    <a:lnTo>
                      <a:pt x="4182" y="1428"/>
                    </a:lnTo>
                    <a:lnTo>
                      <a:pt x="4202" y="1430"/>
                    </a:lnTo>
                    <a:lnTo>
                      <a:pt x="4220" y="1432"/>
                    </a:lnTo>
                    <a:lnTo>
                      <a:pt x="4252" y="1436"/>
                    </a:lnTo>
                    <a:lnTo>
                      <a:pt x="4278" y="1442"/>
                    </a:lnTo>
                    <a:lnTo>
                      <a:pt x="4304" y="1446"/>
                    </a:lnTo>
                    <a:lnTo>
                      <a:pt x="4316" y="1444"/>
                    </a:lnTo>
                    <a:lnTo>
                      <a:pt x="4330" y="1442"/>
                    </a:lnTo>
                    <a:lnTo>
                      <a:pt x="4342" y="1438"/>
                    </a:lnTo>
                    <a:lnTo>
                      <a:pt x="4356" y="1430"/>
                    </a:lnTo>
                    <a:lnTo>
                      <a:pt x="4370" y="1420"/>
                    </a:lnTo>
                    <a:lnTo>
                      <a:pt x="4386" y="1406"/>
                    </a:lnTo>
                    <a:lnTo>
                      <a:pt x="4386" y="1406"/>
                    </a:lnTo>
                    <a:lnTo>
                      <a:pt x="4414" y="1382"/>
                    </a:lnTo>
                    <a:lnTo>
                      <a:pt x="4434" y="1368"/>
                    </a:lnTo>
                    <a:lnTo>
                      <a:pt x="4448" y="1362"/>
                    </a:lnTo>
                    <a:lnTo>
                      <a:pt x="4458" y="1362"/>
                    </a:lnTo>
                    <a:lnTo>
                      <a:pt x="4470" y="1366"/>
                    </a:lnTo>
                    <a:lnTo>
                      <a:pt x="4474" y="1366"/>
                    </a:lnTo>
                    <a:lnTo>
                      <a:pt x="4482" y="1358"/>
                    </a:lnTo>
                    <a:lnTo>
                      <a:pt x="4482" y="1358"/>
                    </a:lnTo>
                    <a:lnTo>
                      <a:pt x="4492" y="1348"/>
                    </a:lnTo>
                    <a:lnTo>
                      <a:pt x="4502" y="1342"/>
                    </a:lnTo>
                    <a:lnTo>
                      <a:pt x="4518" y="1330"/>
                    </a:lnTo>
                    <a:lnTo>
                      <a:pt x="4524" y="1324"/>
                    </a:lnTo>
                    <a:lnTo>
                      <a:pt x="4526" y="1316"/>
                    </a:lnTo>
                    <a:lnTo>
                      <a:pt x="4526" y="1308"/>
                    </a:lnTo>
                    <a:lnTo>
                      <a:pt x="4522" y="1296"/>
                    </a:lnTo>
                    <a:lnTo>
                      <a:pt x="4522" y="1296"/>
                    </a:lnTo>
                    <a:lnTo>
                      <a:pt x="4518" y="1284"/>
                    </a:lnTo>
                    <a:lnTo>
                      <a:pt x="4518" y="1278"/>
                    </a:lnTo>
                    <a:lnTo>
                      <a:pt x="4518" y="1274"/>
                    </a:lnTo>
                    <a:lnTo>
                      <a:pt x="4522" y="1270"/>
                    </a:lnTo>
                    <a:lnTo>
                      <a:pt x="4524" y="1268"/>
                    </a:lnTo>
                    <a:lnTo>
                      <a:pt x="4526" y="1264"/>
                    </a:lnTo>
                    <a:lnTo>
                      <a:pt x="4524" y="1258"/>
                    </a:lnTo>
                    <a:lnTo>
                      <a:pt x="4522" y="1248"/>
                    </a:lnTo>
                    <a:lnTo>
                      <a:pt x="4522" y="1248"/>
                    </a:lnTo>
                    <a:lnTo>
                      <a:pt x="4516" y="1238"/>
                    </a:lnTo>
                    <a:lnTo>
                      <a:pt x="4510" y="1234"/>
                    </a:lnTo>
                    <a:lnTo>
                      <a:pt x="4502" y="1232"/>
                    </a:lnTo>
                    <a:lnTo>
                      <a:pt x="4496" y="1230"/>
                    </a:lnTo>
                    <a:lnTo>
                      <a:pt x="4488" y="1230"/>
                    </a:lnTo>
                    <a:lnTo>
                      <a:pt x="4480" y="1228"/>
                    </a:lnTo>
                    <a:lnTo>
                      <a:pt x="4472" y="1222"/>
                    </a:lnTo>
                    <a:lnTo>
                      <a:pt x="4464" y="1214"/>
                    </a:lnTo>
                    <a:lnTo>
                      <a:pt x="4464" y="1214"/>
                    </a:lnTo>
                    <a:lnTo>
                      <a:pt x="4454" y="1204"/>
                    </a:lnTo>
                    <a:lnTo>
                      <a:pt x="4446" y="1198"/>
                    </a:lnTo>
                    <a:lnTo>
                      <a:pt x="4436" y="1198"/>
                    </a:lnTo>
                    <a:lnTo>
                      <a:pt x="4428" y="1200"/>
                    </a:lnTo>
                    <a:lnTo>
                      <a:pt x="4416" y="1204"/>
                    </a:lnTo>
                    <a:lnTo>
                      <a:pt x="4406" y="1212"/>
                    </a:lnTo>
                    <a:lnTo>
                      <a:pt x="4376" y="1234"/>
                    </a:lnTo>
                    <a:lnTo>
                      <a:pt x="4376" y="1234"/>
                    </a:lnTo>
                    <a:lnTo>
                      <a:pt x="4362" y="1242"/>
                    </a:lnTo>
                    <a:lnTo>
                      <a:pt x="4352" y="1246"/>
                    </a:lnTo>
                    <a:lnTo>
                      <a:pt x="4344" y="1246"/>
                    </a:lnTo>
                    <a:lnTo>
                      <a:pt x="4342" y="1242"/>
                    </a:lnTo>
                    <a:lnTo>
                      <a:pt x="4342" y="1238"/>
                    </a:lnTo>
                    <a:lnTo>
                      <a:pt x="4346" y="1230"/>
                    </a:lnTo>
                    <a:lnTo>
                      <a:pt x="4354" y="1226"/>
                    </a:lnTo>
                    <a:lnTo>
                      <a:pt x="4364" y="1220"/>
                    </a:lnTo>
                    <a:lnTo>
                      <a:pt x="4364" y="1220"/>
                    </a:lnTo>
                    <a:lnTo>
                      <a:pt x="4376" y="1218"/>
                    </a:lnTo>
                    <a:lnTo>
                      <a:pt x="4386" y="1214"/>
                    </a:lnTo>
                    <a:lnTo>
                      <a:pt x="4400" y="1204"/>
                    </a:lnTo>
                    <a:lnTo>
                      <a:pt x="4414" y="1196"/>
                    </a:lnTo>
                    <a:lnTo>
                      <a:pt x="4424" y="1192"/>
                    </a:lnTo>
                    <a:lnTo>
                      <a:pt x="4438" y="1190"/>
                    </a:lnTo>
                    <a:lnTo>
                      <a:pt x="4438" y="1190"/>
                    </a:lnTo>
                    <a:lnTo>
                      <a:pt x="4450" y="1186"/>
                    </a:lnTo>
                    <a:lnTo>
                      <a:pt x="4456" y="1184"/>
                    </a:lnTo>
                    <a:lnTo>
                      <a:pt x="4458" y="1178"/>
                    </a:lnTo>
                    <a:lnTo>
                      <a:pt x="4456" y="1174"/>
                    </a:lnTo>
                    <a:lnTo>
                      <a:pt x="4450" y="1170"/>
                    </a:lnTo>
                    <a:lnTo>
                      <a:pt x="4442" y="1166"/>
                    </a:lnTo>
                    <a:lnTo>
                      <a:pt x="4432" y="1162"/>
                    </a:lnTo>
                    <a:lnTo>
                      <a:pt x="4418" y="1160"/>
                    </a:lnTo>
                    <a:lnTo>
                      <a:pt x="4418" y="1160"/>
                    </a:lnTo>
                    <a:lnTo>
                      <a:pt x="4406" y="1158"/>
                    </a:lnTo>
                    <a:lnTo>
                      <a:pt x="4400" y="1154"/>
                    </a:lnTo>
                    <a:lnTo>
                      <a:pt x="4396" y="1150"/>
                    </a:lnTo>
                    <a:lnTo>
                      <a:pt x="4394" y="1146"/>
                    </a:lnTo>
                    <a:lnTo>
                      <a:pt x="4392" y="1142"/>
                    </a:lnTo>
                    <a:lnTo>
                      <a:pt x="4388" y="1138"/>
                    </a:lnTo>
                    <a:lnTo>
                      <a:pt x="4378" y="1136"/>
                    </a:lnTo>
                    <a:lnTo>
                      <a:pt x="4364" y="1132"/>
                    </a:lnTo>
                    <a:lnTo>
                      <a:pt x="4364" y="1132"/>
                    </a:lnTo>
                    <a:lnTo>
                      <a:pt x="4350" y="1130"/>
                    </a:lnTo>
                    <a:lnTo>
                      <a:pt x="4342" y="1126"/>
                    </a:lnTo>
                    <a:lnTo>
                      <a:pt x="4340" y="1122"/>
                    </a:lnTo>
                    <a:lnTo>
                      <a:pt x="4338" y="1116"/>
                    </a:lnTo>
                    <a:lnTo>
                      <a:pt x="4340" y="1112"/>
                    </a:lnTo>
                    <a:lnTo>
                      <a:pt x="4338" y="1106"/>
                    </a:lnTo>
                    <a:lnTo>
                      <a:pt x="4334" y="1102"/>
                    </a:lnTo>
                    <a:lnTo>
                      <a:pt x="4324" y="1096"/>
                    </a:lnTo>
                    <a:lnTo>
                      <a:pt x="4324" y="1096"/>
                    </a:lnTo>
                    <a:lnTo>
                      <a:pt x="4314" y="1090"/>
                    </a:lnTo>
                    <a:lnTo>
                      <a:pt x="4304" y="1084"/>
                    </a:lnTo>
                    <a:lnTo>
                      <a:pt x="4296" y="1078"/>
                    </a:lnTo>
                    <a:lnTo>
                      <a:pt x="4290" y="1070"/>
                    </a:lnTo>
                    <a:lnTo>
                      <a:pt x="4286" y="1062"/>
                    </a:lnTo>
                    <a:lnTo>
                      <a:pt x="4286" y="1052"/>
                    </a:lnTo>
                    <a:lnTo>
                      <a:pt x="4288" y="1042"/>
                    </a:lnTo>
                    <a:lnTo>
                      <a:pt x="4294" y="1030"/>
                    </a:lnTo>
                    <a:lnTo>
                      <a:pt x="4294" y="1030"/>
                    </a:lnTo>
                    <a:lnTo>
                      <a:pt x="4298" y="1024"/>
                    </a:lnTo>
                    <a:lnTo>
                      <a:pt x="4298" y="1020"/>
                    </a:lnTo>
                    <a:lnTo>
                      <a:pt x="4298" y="1016"/>
                    </a:lnTo>
                    <a:lnTo>
                      <a:pt x="4296" y="1012"/>
                    </a:lnTo>
                    <a:lnTo>
                      <a:pt x="4290" y="1008"/>
                    </a:lnTo>
                    <a:lnTo>
                      <a:pt x="4282" y="1004"/>
                    </a:lnTo>
                    <a:lnTo>
                      <a:pt x="4274" y="1002"/>
                    </a:lnTo>
                    <a:lnTo>
                      <a:pt x="4268" y="998"/>
                    </a:lnTo>
                    <a:lnTo>
                      <a:pt x="4266" y="996"/>
                    </a:lnTo>
                    <a:lnTo>
                      <a:pt x="4266" y="994"/>
                    </a:lnTo>
                    <a:lnTo>
                      <a:pt x="4266" y="990"/>
                    </a:lnTo>
                    <a:lnTo>
                      <a:pt x="4270" y="986"/>
                    </a:lnTo>
                    <a:lnTo>
                      <a:pt x="4270" y="986"/>
                    </a:lnTo>
                    <a:lnTo>
                      <a:pt x="4274" y="978"/>
                    </a:lnTo>
                    <a:lnTo>
                      <a:pt x="4274" y="970"/>
                    </a:lnTo>
                    <a:lnTo>
                      <a:pt x="4270" y="966"/>
                    </a:lnTo>
                    <a:lnTo>
                      <a:pt x="4264" y="960"/>
                    </a:lnTo>
                    <a:lnTo>
                      <a:pt x="4258" y="954"/>
                    </a:lnTo>
                    <a:lnTo>
                      <a:pt x="4252" y="948"/>
                    </a:lnTo>
                    <a:lnTo>
                      <a:pt x="4246" y="940"/>
                    </a:lnTo>
                    <a:lnTo>
                      <a:pt x="4244" y="928"/>
                    </a:lnTo>
                    <a:lnTo>
                      <a:pt x="4244" y="928"/>
                    </a:lnTo>
                    <a:lnTo>
                      <a:pt x="4240" y="912"/>
                    </a:lnTo>
                    <a:lnTo>
                      <a:pt x="4238" y="908"/>
                    </a:lnTo>
                    <a:lnTo>
                      <a:pt x="4236" y="906"/>
                    </a:lnTo>
                    <a:lnTo>
                      <a:pt x="4230" y="902"/>
                    </a:lnTo>
                    <a:lnTo>
                      <a:pt x="4228" y="898"/>
                    </a:lnTo>
                    <a:lnTo>
                      <a:pt x="4226" y="890"/>
                    </a:lnTo>
                    <a:lnTo>
                      <a:pt x="4226" y="890"/>
                    </a:lnTo>
                    <a:lnTo>
                      <a:pt x="4222" y="882"/>
                    </a:lnTo>
                    <a:lnTo>
                      <a:pt x="4218" y="878"/>
                    </a:lnTo>
                    <a:lnTo>
                      <a:pt x="4210" y="872"/>
                    </a:lnTo>
                    <a:lnTo>
                      <a:pt x="4206" y="868"/>
                    </a:lnTo>
                    <a:lnTo>
                      <a:pt x="4200" y="862"/>
                    </a:lnTo>
                    <a:lnTo>
                      <a:pt x="4194" y="852"/>
                    </a:lnTo>
                    <a:lnTo>
                      <a:pt x="4186" y="838"/>
                    </a:lnTo>
                    <a:lnTo>
                      <a:pt x="4186" y="838"/>
                    </a:lnTo>
                    <a:lnTo>
                      <a:pt x="4180" y="824"/>
                    </a:lnTo>
                    <a:lnTo>
                      <a:pt x="4174" y="816"/>
                    </a:lnTo>
                    <a:lnTo>
                      <a:pt x="4168" y="812"/>
                    </a:lnTo>
                    <a:lnTo>
                      <a:pt x="4164" y="812"/>
                    </a:lnTo>
                    <a:lnTo>
                      <a:pt x="4158" y="814"/>
                    </a:lnTo>
                    <a:lnTo>
                      <a:pt x="4154" y="820"/>
                    </a:lnTo>
                    <a:lnTo>
                      <a:pt x="4140" y="836"/>
                    </a:lnTo>
                    <a:lnTo>
                      <a:pt x="4140" y="836"/>
                    </a:lnTo>
                    <a:lnTo>
                      <a:pt x="4132" y="848"/>
                    </a:lnTo>
                    <a:lnTo>
                      <a:pt x="4128" y="860"/>
                    </a:lnTo>
                    <a:lnTo>
                      <a:pt x="4124" y="884"/>
                    </a:lnTo>
                    <a:lnTo>
                      <a:pt x="4120" y="896"/>
                    </a:lnTo>
                    <a:lnTo>
                      <a:pt x="4116" y="904"/>
                    </a:lnTo>
                    <a:lnTo>
                      <a:pt x="4114" y="906"/>
                    </a:lnTo>
                    <a:lnTo>
                      <a:pt x="4110" y="908"/>
                    </a:lnTo>
                    <a:lnTo>
                      <a:pt x="4106" y="908"/>
                    </a:lnTo>
                    <a:lnTo>
                      <a:pt x="4100" y="906"/>
                    </a:lnTo>
                    <a:lnTo>
                      <a:pt x="4100" y="906"/>
                    </a:lnTo>
                    <a:lnTo>
                      <a:pt x="4090" y="904"/>
                    </a:lnTo>
                    <a:lnTo>
                      <a:pt x="4086" y="906"/>
                    </a:lnTo>
                    <a:lnTo>
                      <a:pt x="4084" y="908"/>
                    </a:lnTo>
                    <a:lnTo>
                      <a:pt x="4084" y="912"/>
                    </a:lnTo>
                    <a:lnTo>
                      <a:pt x="4082" y="916"/>
                    </a:lnTo>
                    <a:lnTo>
                      <a:pt x="4080" y="922"/>
                    </a:lnTo>
                    <a:lnTo>
                      <a:pt x="4074" y="928"/>
                    </a:lnTo>
                    <a:lnTo>
                      <a:pt x="4060" y="934"/>
                    </a:lnTo>
                    <a:lnTo>
                      <a:pt x="4060" y="934"/>
                    </a:lnTo>
                    <a:lnTo>
                      <a:pt x="4048" y="936"/>
                    </a:lnTo>
                    <a:lnTo>
                      <a:pt x="4038" y="934"/>
                    </a:lnTo>
                    <a:lnTo>
                      <a:pt x="4030" y="930"/>
                    </a:lnTo>
                    <a:lnTo>
                      <a:pt x="4024" y="922"/>
                    </a:lnTo>
                    <a:lnTo>
                      <a:pt x="4018" y="914"/>
                    </a:lnTo>
                    <a:lnTo>
                      <a:pt x="4010" y="908"/>
                    </a:lnTo>
                    <a:lnTo>
                      <a:pt x="4002" y="902"/>
                    </a:lnTo>
                    <a:lnTo>
                      <a:pt x="3988" y="900"/>
                    </a:lnTo>
                    <a:lnTo>
                      <a:pt x="3988" y="900"/>
                    </a:lnTo>
                    <a:lnTo>
                      <a:pt x="3976" y="900"/>
                    </a:lnTo>
                    <a:lnTo>
                      <a:pt x="3972" y="900"/>
                    </a:lnTo>
                    <a:lnTo>
                      <a:pt x="3970" y="896"/>
                    </a:lnTo>
                    <a:lnTo>
                      <a:pt x="3972" y="892"/>
                    </a:lnTo>
                    <a:lnTo>
                      <a:pt x="3974" y="888"/>
                    </a:lnTo>
                    <a:lnTo>
                      <a:pt x="3976" y="884"/>
                    </a:lnTo>
                    <a:lnTo>
                      <a:pt x="3974" y="880"/>
                    </a:lnTo>
                    <a:lnTo>
                      <a:pt x="3968" y="874"/>
                    </a:lnTo>
                    <a:lnTo>
                      <a:pt x="3968" y="874"/>
                    </a:lnTo>
                    <a:lnTo>
                      <a:pt x="3962" y="870"/>
                    </a:lnTo>
                    <a:lnTo>
                      <a:pt x="3960" y="866"/>
                    </a:lnTo>
                    <a:lnTo>
                      <a:pt x="3962" y="864"/>
                    </a:lnTo>
                    <a:lnTo>
                      <a:pt x="3964" y="860"/>
                    </a:lnTo>
                    <a:lnTo>
                      <a:pt x="3966" y="856"/>
                    </a:lnTo>
                    <a:lnTo>
                      <a:pt x="3968" y="850"/>
                    </a:lnTo>
                    <a:lnTo>
                      <a:pt x="3968" y="844"/>
                    </a:lnTo>
                    <a:lnTo>
                      <a:pt x="3964" y="836"/>
                    </a:lnTo>
                    <a:lnTo>
                      <a:pt x="3964" y="836"/>
                    </a:lnTo>
                    <a:lnTo>
                      <a:pt x="3960" y="824"/>
                    </a:lnTo>
                    <a:lnTo>
                      <a:pt x="3958" y="814"/>
                    </a:lnTo>
                    <a:lnTo>
                      <a:pt x="3962" y="802"/>
                    </a:lnTo>
                    <a:lnTo>
                      <a:pt x="3966" y="794"/>
                    </a:lnTo>
                    <a:lnTo>
                      <a:pt x="3974" y="776"/>
                    </a:lnTo>
                    <a:lnTo>
                      <a:pt x="3974" y="770"/>
                    </a:lnTo>
                    <a:lnTo>
                      <a:pt x="3972" y="764"/>
                    </a:lnTo>
                    <a:lnTo>
                      <a:pt x="3972" y="764"/>
                    </a:lnTo>
                    <a:lnTo>
                      <a:pt x="3968" y="758"/>
                    </a:lnTo>
                    <a:lnTo>
                      <a:pt x="3964" y="758"/>
                    </a:lnTo>
                    <a:lnTo>
                      <a:pt x="3960" y="760"/>
                    </a:lnTo>
                    <a:lnTo>
                      <a:pt x="3958" y="764"/>
                    </a:lnTo>
                    <a:lnTo>
                      <a:pt x="3954" y="770"/>
                    </a:lnTo>
                    <a:lnTo>
                      <a:pt x="3952" y="772"/>
                    </a:lnTo>
                    <a:lnTo>
                      <a:pt x="3950" y="770"/>
                    </a:lnTo>
                    <a:lnTo>
                      <a:pt x="3950" y="770"/>
                    </a:lnTo>
                    <a:lnTo>
                      <a:pt x="3944" y="766"/>
                    </a:lnTo>
                    <a:lnTo>
                      <a:pt x="3936" y="762"/>
                    </a:lnTo>
                    <a:lnTo>
                      <a:pt x="3914" y="756"/>
                    </a:lnTo>
                    <a:lnTo>
                      <a:pt x="3902" y="752"/>
                    </a:lnTo>
                    <a:lnTo>
                      <a:pt x="3894" y="748"/>
                    </a:lnTo>
                    <a:lnTo>
                      <a:pt x="3888" y="742"/>
                    </a:lnTo>
                    <a:lnTo>
                      <a:pt x="3886" y="740"/>
                    </a:lnTo>
                    <a:lnTo>
                      <a:pt x="3886" y="736"/>
                    </a:lnTo>
                    <a:lnTo>
                      <a:pt x="3886" y="736"/>
                    </a:lnTo>
                    <a:lnTo>
                      <a:pt x="3886" y="728"/>
                    </a:lnTo>
                    <a:lnTo>
                      <a:pt x="3882" y="722"/>
                    </a:lnTo>
                    <a:lnTo>
                      <a:pt x="3878" y="716"/>
                    </a:lnTo>
                    <a:lnTo>
                      <a:pt x="3870" y="710"/>
                    </a:lnTo>
                    <a:lnTo>
                      <a:pt x="3826" y="680"/>
                    </a:lnTo>
                    <a:lnTo>
                      <a:pt x="3826" y="680"/>
                    </a:lnTo>
                    <a:lnTo>
                      <a:pt x="3806" y="668"/>
                    </a:lnTo>
                    <a:lnTo>
                      <a:pt x="3800" y="668"/>
                    </a:lnTo>
                    <a:lnTo>
                      <a:pt x="3796" y="666"/>
                    </a:lnTo>
                    <a:lnTo>
                      <a:pt x="3790" y="668"/>
                    </a:lnTo>
                    <a:lnTo>
                      <a:pt x="3788" y="670"/>
                    </a:lnTo>
                    <a:lnTo>
                      <a:pt x="3780" y="678"/>
                    </a:lnTo>
                    <a:lnTo>
                      <a:pt x="3774" y="680"/>
                    </a:lnTo>
                    <a:lnTo>
                      <a:pt x="3768" y="684"/>
                    </a:lnTo>
                    <a:lnTo>
                      <a:pt x="3760" y="684"/>
                    </a:lnTo>
                    <a:lnTo>
                      <a:pt x="3750" y="686"/>
                    </a:lnTo>
                    <a:lnTo>
                      <a:pt x="3736" y="684"/>
                    </a:lnTo>
                    <a:lnTo>
                      <a:pt x="3720" y="680"/>
                    </a:lnTo>
                    <a:lnTo>
                      <a:pt x="3700" y="674"/>
                    </a:lnTo>
                    <a:lnTo>
                      <a:pt x="3676" y="664"/>
                    </a:lnTo>
                    <a:lnTo>
                      <a:pt x="3676" y="664"/>
                    </a:lnTo>
                    <a:lnTo>
                      <a:pt x="3666" y="662"/>
                    </a:lnTo>
                    <a:lnTo>
                      <a:pt x="3656" y="660"/>
                    </a:lnTo>
                    <a:lnTo>
                      <a:pt x="3648" y="660"/>
                    </a:lnTo>
                    <a:lnTo>
                      <a:pt x="3642" y="662"/>
                    </a:lnTo>
                    <a:lnTo>
                      <a:pt x="3636" y="664"/>
                    </a:lnTo>
                    <a:lnTo>
                      <a:pt x="3632" y="668"/>
                    </a:lnTo>
                    <a:lnTo>
                      <a:pt x="3626" y="678"/>
                    </a:lnTo>
                    <a:lnTo>
                      <a:pt x="3622" y="690"/>
                    </a:lnTo>
                    <a:lnTo>
                      <a:pt x="3622" y="702"/>
                    </a:lnTo>
                    <a:lnTo>
                      <a:pt x="3626" y="712"/>
                    </a:lnTo>
                    <a:lnTo>
                      <a:pt x="3630" y="720"/>
                    </a:lnTo>
                    <a:lnTo>
                      <a:pt x="3630" y="720"/>
                    </a:lnTo>
                    <a:lnTo>
                      <a:pt x="3634" y="726"/>
                    </a:lnTo>
                    <a:lnTo>
                      <a:pt x="3636" y="732"/>
                    </a:lnTo>
                    <a:lnTo>
                      <a:pt x="3638" y="738"/>
                    </a:lnTo>
                    <a:lnTo>
                      <a:pt x="3638" y="746"/>
                    </a:lnTo>
                    <a:lnTo>
                      <a:pt x="3634" y="760"/>
                    </a:lnTo>
                    <a:lnTo>
                      <a:pt x="3626" y="772"/>
                    </a:lnTo>
                    <a:lnTo>
                      <a:pt x="3626" y="772"/>
                    </a:lnTo>
                    <a:lnTo>
                      <a:pt x="3622" y="776"/>
                    </a:lnTo>
                    <a:lnTo>
                      <a:pt x="3622" y="780"/>
                    </a:lnTo>
                    <a:lnTo>
                      <a:pt x="3624" y="782"/>
                    </a:lnTo>
                    <a:lnTo>
                      <a:pt x="3626" y="786"/>
                    </a:lnTo>
                    <a:lnTo>
                      <a:pt x="3634" y="794"/>
                    </a:lnTo>
                    <a:lnTo>
                      <a:pt x="3640" y="802"/>
                    </a:lnTo>
                    <a:lnTo>
                      <a:pt x="3644" y="814"/>
                    </a:lnTo>
                    <a:lnTo>
                      <a:pt x="3644" y="814"/>
                    </a:lnTo>
                    <a:lnTo>
                      <a:pt x="3648" y="824"/>
                    </a:lnTo>
                    <a:lnTo>
                      <a:pt x="3650" y="832"/>
                    </a:lnTo>
                    <a:lnTo>
                      <a:pt x="3650" y="840"/>
                    </a:lnTo>
                    <a:lnTo>
                      <a:pt x="3648" y="844"/>
                    </a:lnTo>
                    <a:lnTo>
                      <a:pt x="3642" y="854"/>
                    </a:lnTo>
                    <a:lnTo>
                      <a:pt x="3636" y="870"/>
                    </a:lnTo>
                    <a:lnTo>
                      <a:pt x="3636" y="870"/>
                    </a:lnTo>
                    <a:lnTo>
                      <a:pt x="3634" y="878"/>
                    </a:lnTo>
                    <a:lnTo>
                      <a:pt x="3630" y="882"/>
                    </a:lnTo>
                    <a:lnTo>
                      <a:pt x="3620" y="888"/>
                    </a:lnTo>
                    <a:lnTo>
                      <a:pt x="3616" y="890"/>
                    </a:lnTo>
                    <a:lnTo>
                      <a:pt x="3612" y="894"/>
                    </a:lnTo>
                    <a:lnTo>
                      <a:pt x="3610" y="900"/>
                    </a:lnTo>
                    <a:lnTo>
                      <a:pt x="3606" y="910"/>
                    </a:lnTo>
                    <a:lnTo>
                      <a:pt x="3606" y="910"/>
                    </a:lnTo>
                    <a:lnTo>
                      <a:pt x="3606" y="916"/>
                    </a:lnTo>
                    <a:lnTo>
                      <a:pt x="3608" y="920"/>
                    </a:lnTo>
                    <a:lnTo>
                      <a:pt x="3614" y="926"/>
                    </a:lnTo>
                    <a:lnTo>
                      <a:pt x="3622" y="932"/>
                    </a:lnTo>
                    <a:lnTo>
                      <a:pt x="3634" y="940"/>
                    </a:lnTo>
                    <a:lnTo>
                      <a:pt x="3648" y="950"/>
                    </a:lnTo>
                    <a:lnTo>
                      <a:pt x="3660" y="964"/>
                    </a:lnTo>
                    <a:lnTo>
                      <a:pt x="3666" y="972"/>
                    </a:lnTo>
                    <a:lnTo>
                      <a:pt x="3672" y="984"/>
                    </a:lnTo>
                    <a:lnTo>
                      <a:pt x="3678" y="996"/>
                    </a:lnTo>
                    <a:lnTo>
                      <a:pt x="3684" y="1010"/>
                    </a:lnTo>
                    <a:lnTo>
                      <a:pt x="3684" y="1010"/>
                    </a:lnTo>
                    <a:lnTo>
                      <a:pt x="3686" y="1026"/>
                    </a:lnTo>
                    <a:lnTo>
                      <a:pt x="3688" y="1040"/>
                    </a:lnTo>
                    <a:lnTo>
                      <a:pt x="3688" y="1052"/>
                    </a:lnTo>
                    <a:lnTo>
                      <a:pt x="3684" y="1066"/>
                    </a:lnTo>
                    <a:lnTo>
                      <a:pt x="3680" y="1078"/>
                    </a:lnTo>
                    <a:lnTo>
                      <a:pt x="3674" y="1088"/>
                    </a:lnTo>
                    <a:lnTo>
                      <a:pt x="3668" y="1100"/>
                    </a:lnTo>
                    <a:lnTo>
                      <a:pt x="3660" y="1108"/>
                    </a:lnTo>
                    <a:lnTo>
                      <a:pt x="3642" y="1126"/>
                    </a:lnTo>
                    <a:lnTo>
                      <a:pt x="3624" y="1140"/>
                    </a:lnTo>
                    <a:lnTo>
                      <a:pt x="3604" y="1150"/>
                    </a:lnTo>
                    <a:lnTo>
                      <a:pt x="3584" y="1158"/>
                    </a:lnTo>
                    <a:lnTo>
                      <a:pt x="3584" y="1158"/>
                    </a:lnTo>
                    <a:lnTo>
                      <a:pt x="3570" y="1166"/>
                    </a:lnTo>
                    <a:lnTo>
                      <a:pt x="3562" y="1172"/>
                    </a:lnTo>
                    <a:lnTo>
                      <a:pt x="3562" y="1174"/>
                    </a:lnTo>
                    <a:lnTo>
                      <a:pt x="3562" y="1176"/>
                    </a:lnTo>
                    <a:lnTo>
                      <a:pt x="3566" y="1184"/>
                    </a:lnTo>
                    <a:lnTo>
                      <a:pt x="3572" y="1190"/>
                    </a:lnTo>
                    <a:lnTo>
                      <a:pt x="3578" y="1200"/>
                    </a:lnTo>
                    <a:lnTo>
                      <a:pt x="3582" y="1212"/>
                    </a:lnTo>
                    <a:lnTo>
                      <a:pt x="3584" y="1220"/>
                    </a:lnTo>
                    <a:lnTo>
                      <a:pt x="3584" y="1228"/>
                    </a:lnTo>
                    <a:lnTo>
                      <a:pt x="3584" y="1228"/>
                    </a:lnTo>
                    <a:lnTo>
                      <a:pt x="3586" y="1244"/>
                    </a:lnTo>
                    <a:lnTo>
                      <a:pt x="3588" y="1260"/>
                    </a:lnTo>
                    <a:lnTo>
                      <a:pt x="3598" y="1290"/>
                    </a:lnTo>
                    <a:lnTo>
                      <a:pt x="3602" y="1302"/>
                    </a:lnTo>
                    <a:lnTo>
                      <a:pt x="3604" y="1314"/>
                    </a:lnTo>
                    <a:lnTo>
                      <a:pt x="3604" y="1324"/>
                    </a:lnTo>
                    <a:lnTo>
                      <a:pt x="3600" y="1328"/>
                    </a:lnTo>
                    <a:lnTo>
                      <a:pt x="3598" y="1330"/>
                    </a:lnTo>
                    <a:lnTo>
                      <a:pt x="3598" y="1330"/>
                    </a:lnTo>
                    <a:lnTo>
                      <a:pt x="3594" y="1334"/>
                    </a:lnTo>
                    <a:lnTo>
                      <a:pt x="3592" y="1336"/>
                    </a:lnTo>
                    <a:lnTo>
                      <a:pt x="3590" y="1344"/>
                    </a:lnTo>
                    <a:lnTo>
                      <a:pt x="3592" y="1352"/>
                    </a:lnTo>
                    <a:lnTo>
                      <a:pt x="3594" y="1358"/>
                    </a:lnTo>
                    <a:lnTo>
                      <a:pt x="3596" y="1362"/>
                    </a:lnTo>
                    <a:lnTo>
                      <a:pt x="3594" y="1366"/>
                    </a:lnTo>
                    <a:lnTo>
                      <a:pt x="3590" y="1364"/>
                    </a:lnTo>
                    <a:lnTo>
                      <a:pt x="3580" y="1358"/>
                    </a:lnTo>
                    <a:lnTo>
                      <a:pt x="3580" y="1358"/>
                    </a:lnTo>
                    <a:lnTo>
                      <a:pt x="3570" y="1354"/>
                    </a:lnTo>
                    <a:lnTo>
                      <a:pt x="3568" y="1354"/>
                    </a:lnTo>
                    <a:lnTo>
                      <a:pt x="3566" y="1356"/>
                    </a:lnTo>
                    <a:lnTo>
                      <a:pt x="3562" y="1362"/>
                    </a:lnTo>
                    <a:lnTo>
                      <a:pt x="3562" y="1370"/>
                    </a:lnTo>
                    <a:lnTo>
                      <a:pt x="3562" y="1376"/>
                    </a:lnTo>
                    <a:lnTo>
                      <a:pt x="3560" y="1382"/>
                    </a:lnTo>
                    <a:lnTo>
                      <a:pt x="3558" y="1384"/>
                    </a:lnTo>
                    <a:lnTo>
                      <a:pt x="3554" y="1384"/>
                    </a:lnTo>
                    <a:lnTo>
                      <a:pt x="3546" y="1380"/>
                    </a:lnTo>
                    <a:lnTo>
                      <a:pt x="3546" y="1380"/>
                    </a:lnTo>
                    <a:lnTo>
                      <a:pt x="3536" y="1372"/>
                    </a:lnTo>
                    <a:lnTo>
                      <a:pt x="3530" y="1366"/>
                    </a:lnTo>
                    <a:lnTo>
                      <a:pt x="3522" y="1352"/>
                    </a:lnTo>
                    <a:lnTo>
                      <a:pt x="3516" y="1342"/>
                    </a:lnTo>
                    <a:lnTo>
                      <a:pt x="3508" y="1332"/>
                    </a:lnTo>
                    <a:lnTo>
                      <a:pt x="3494" y="1316"/>
                    </a:lnTo>
                    <a:lnTo>
                      <a:pt x="3474" y="1298"/>
                    </a:lnTo>
                    <a:lnTo>
                      <a:pt x="3474" y="1298"/>
                    </a:lnTo>
                    <a:lnTo>
                      <a:pt x="3464" y="1286"/>
                    </a:lnTo>
                    <a:lnTo>
                      <a:pt x="3458" y="1276"/>
                    </a:lnTo>
                    <a:lnTo>
                      <a:pt x="3456" y="1266"/>
                    </a:lnTo>
                    <a:lnTo>
                      <a:pt x="3456" y="1254"/>
                    </a:lnTo>
                    <a:lnTo>
                      <a:pt x="3456" y="1234"/>
                    </a:lnTo>
                    <a:lnTo>
                      <a:pt x="3456" y="1222"/>
                    </a:lnTo>
                    <a:lnTo>
                      <a:pt x="3454" y="1210"/>
                    </a:lnTo>
                    <a:lnTo>
                      <a:pt x="3454" y="1210"/>
                    </a:lnTo>
                    <a:lnTo>
                      <a:pt x="3450" y="1194"/>
                    </a:lnTo>
                    <a:lnTo>
                      <a:pt x="3450" y="1182"/>
                    </a:lnTo>
                    <a:lnTo>
                      <a:pt x="3454" y="1172"/>
                    </a:lnTo>
                    <a:lnTo>
                      <a:pt x="3456" y="1162"/>
                    </a:lnTo>
                    <a:lnTo>
                      <a:pt x="3458" y="1154"/>
                    </a:lnTo>
                    <a:lnTo>
                      <a:pt x="3456" y="1148"/>
                    </a:lnTo>
                    <a:lnTo>
                      <a:pt x="3452" y="1142"/>
                    </a:lnTo>
                    <a:lnTo>
                      <a:pt x="3440" y="1138"/>
                    </a:lnTo>
                    <a:lnTo>
                      <a:pt x="3440" y="1138"/>
                    </a:lnTo>
                    <a:lnTo>
                      <a:pt x="3414" y="1134"/>
                    </a:lnTo>
                    <a:lnTo>
                      <a:pt x="3394" y="1130"/>
                    </a:lnTo>
                    <a:lnTo>
                      <a:pt x="3378" y="1130"/>
                    </a:lnTo>
                    <a:lnTo>
                      <a:pt x="3368" y="1130"/>
                    </a:lnTo>
                    <a:lnTo>
                      <a:pt x="3354" y="1132"/>
                    </a:lnTo>
                    <a:lnTo>
                      <a:pt x="3346" y="1132"/>
                    </a:lnTo>
                    <a:lnTo>
                      <a:pt x="3340" y="1130"/>
                    </a:lnTo>
                    <a:lnTo>
                      <a:pt x="3340" y="1130"/>
                    </a:lnTo>
                    <a:lnTo>
                      <a:pt x="3334" y="1128"/>
                    </a:lnTo>
                    <a:lnTo>
                      <a:pt x="3330" y="1124"/>
                    </a:lnTo>
                    <a:lnTo>
                      <a:pt x="3322" y="1116"/>
                    </a:lnTo>
                    <a:lnTo>
                      <a:pt x="3316" y="1110"/>
                    </a:lnTo>
                    <a:lnTo>
                      <a:pt x="3306" y="1104"/>
                    </a:lnTo>
                    <a:lnTo>
                      <a:pt x="3290" y="1098"/>
                    </a:lnTo>
                    <a:lnTo>
                      <a:pt x="3268" y="1092"/>
                    </a:lnTo>
                    <a:lnTo>
                      <a:pt x="3268" y="1092"/>
                    </a:lnTo>
                    <a:lnTo>
                      <a:pt x="3246" y="1084"/>
                    </a:lnTo>
                    <a:lnTo>
                      <a:pt x="3236" y="1078"/>
                    </a:lnTo>
                    <a:lnTo>
                      <a:pt x="3232" y="1072"/>
                    </a:lnTo>
                    <a:lnTo>
                      <a:pt x="3230" y="1066"/>
                    </a:lnTo>
                    <a:lnTo>
                      <a:pt x="3226" y="1058"/>
                    </a:lnTo>
                    <a:lnTo>
                      <a:pt x="3216" y="1048"/>
                    </a:lnTo>
                    <a:lnTo>
                      <a:pt x="3198" y="1036"/>
                    </a:lnTo>
                    <a:lnTo>
                      <a:pt x="3166" y="1022"/>
                    </a:lnTo>
                    <a:lnTo>
                      <a:pt x="3166" y="1022"/>
                    </a:lnTo>
                    <a:lnTo>
                      <a:pt x="3146" y="1016"/>
                    </a:lnTo>
                    <a:lnTo>
                      <a:pt x="3130" y="1012"/>
                    </a:lnTo>
                    <a:lnTo>
                      <a:pt x="3114" y="1010"/>
                    </a:lnTo>
                    <a:lnTo>
                      <a:pt x="3102" y="1010"/>
                    </a:lnTo>
                    <a:lnTo>
                      <a:pt x="3090" y="1012"/>
                    </a:lnTo>
                    <a:lnTo>
                      <a:pt x="3080" y="1014"/>
                    </a:lnTo>
                    <a:lnTo>
                      <a:pt x="3064" y="1020"/>
                    </a:lnTo>
                    <a:lnTo>
                      <a:pt x="3052" y="1026"/>
                    </a:lnTo>
                    <a:lnTo>
                      <a:pt x="3046" y="1028"/>
                    </a:lnTo>
                    <a:lnTo>
                      <a:pt x="3044" y="1026"/>
                    </a:lnTo>
                    <a:lnTo>
                      <a:pt x="3042" y="1022"/>
                    </a:lnTo>
                    <a:lnTo>
                      <a:pt x="3040" y="1008"/>
                    </a:lnTo>
                    <a:lnTo>
                      <a:pt x="3040" y="1008"/>
                    </a:lnTo>
                    <a:lnTo>
                      <a:pt x="3040" y="992"/>
                    </a:lnTo>
                    <a:lnTo>
                      <a:pt x="3038" y="978"/>
                    </a:lnTo>
                    <a:lnTo>
                      <a:pt x="3032" y="962"/>
                    </a:lnTo>
                    <a:lnTo>
                      <a:pt x="3026" y="948"/>
                    </a:lnTo>
                    <a:lnTo>
                      <a:pt x="3024" y="938"/>
                    </a:lnTo>
                    <a:lnTo>
                      <a:pt x="3020" y="928"/>
                    </a:lnTo>
                    <a:lnTo>
                      <a:pt x="3020" y="928"/>
                    </a:lnTo>
                    <a:lnTo>
                      <a:pt x="3018" y="922"/>
                    </a:lnTo>
                    <a:lnTo>
                      <a:pt x="3016" y="918"/>
                    </a:lnTo>
                    <a:lnTo>
                      <a:pt x="3012" y="914"/>
                    </a:lnTo>
                    <a:lnTo>
                      <a:pt x="3008" y="914"/>
                    </a:lnTo>
                    <a:lnTo>
                      <a:pt x="2998" y="912"/>
                    </a:lnTo>
                    <a:lnTo>
                      <a:pt x="2986" y="912"/>
                    </a:lnTo>
                    <a:lnTo>
                      <a:pt x="2974" y="910"/>
                    </a:lnTo>
                    <a:lnTo>
                      <a:pt x="2968" y="908"/>
                    </a:lnTo>
                    <a:lnTo>
                      <a:pt x="2962" y="904"/>
                    </a:lnTo>
                    <a:lnTo>
                      <a:pt x="2958" y="898"/>
                    </a:lnTo>
                    <a:lnTo>
                      <a:pt x="2954" y="890"/>
                    </a:lnTo>
                    <a:lnTo>
                      <a:pt x="2950" y="882"/>
                    </a:lnTo>
                    <a:lnTo>
                      <a:pt x="2948" y="868"/>
                    </a:lnTo>
                    <a:lnTo>
                      <a:pt x="2948" y="868"/>
                    </a:lnTo>
                    <a:lnTo>
                      <a:pt x="2948" y="854"/>
                    </a:lnTo>
                    <a:lnTo>
                      <a:pt x="2948" y="840"/>
                    </a:lnTo>
                    <a:lnTo>
                      <a:pt x="2952" y="824"/>
                    </a:lnTo>
                    <a:lnTo>
                      <a:pt x="2956" y="808"/>
                    </a:lnTo>
                    <a:lnTo>
                      <a:pt x="2968" y="778"/>
                    </a:lnTo>
                    <a:lnTo>
                      <a:pt x="2982" y="750"/>
                    </a:lnTo>
                    <a:lnTo>
                      <a:pt x="2998" y="724"/>
                    </a:lnTo>
                    <a:lnTo>
                      <a:pt x="3014" y="706"/>
                    </a:lnTo>
                    <a:lnTo>
                      <a:pt x="3026" y="692"/>
                    </a:lnTo>
                    <a:lnTo>
                      <a:pt x="3030" y="690"/>
                    </a:lnTo>
                    <a:lnTo>
                      <a:pt x="3034" y="690"/>
                    </a:lnTo>
                    <a:lnTo>
                      <a:pt x="3034" y="690"/>
                    </a:lnTo>
                    <a:lnTo>
                      <a:pt x="3038" y="688"/>
                    </a:lnTo>
                    <a:lnTo>
                      <a:pt x="3042" y="684"/>
                    </a:lnTo>
                    <a:lnTo>
                      <a:pt x="3044" y="670"/>
                    </a:lnTo>
                    <a:lnTo>
                      <a:pt x="3048" y="662"/>
                    </a:lnTo>
                    <a:lnTo>
                      <a:pt x="3052" y="654"/>
                    </a:lnTo>
                    <a:lnTo>
                      <a:pt x="3060" y="648"/>
                    </a:lnTo>
                    <a:lnTo>
                      <a:pt x="3070" y="646"/>
                    </a:lnTo>
                    <a:lnTo>
                      <a:pt x="3070" y="646"/>
                    </a:lnTo>
                    <a:lnTo>
                      <a:pt x="3096" y="644"/>
                    </a:lnTo>
                    <a:lnTo>
                      <a:pt x="3106" y="640"/>
                    </a:lnTo>
                    <a:lnTo>
                      <a:pt x="3116" y="636"/>
                    </a:lnTo>
                    <a:lnTo>
                      <a:pt x="3120" y="630"/>
                    </a:lnTo>
                    <a:lnTo>
                      <a:pt x="3120" y="624"/>
                    </a:lnTo>
                    <a:lnTo>
                      <a:pt x="3116" y="614"/>
                    </a:lnTo>
                    <a:lnTo>
                      <a:pt x="3106" y="604"/>
                    </a:lnTo>
                    <a:lnTo>
                      <a:pt x="3106" y="604"/>
                    </a:lnTo>
                    <a:lnTo>
                      <a:pt x="3098" y="596"/>
                    </a:lnTo>
                    <a:lnTo>
                      <a:pt x="3098" y="594"/>
                    </a:lnTo>
                    <a:lnTo>
                      <a:pt x="3098" y="592"/>
                    </a:lnTo>
                    <a:lnTo>
                      <a:pt x="3104" y="590"/>
                    </a:lnTo>
                    <a:lnTo>
                      <a:pt x="3112" y="590"/>
                    </a:lnTo>
                    <a:lnTo>
                      <a:pt x="3124" y="590"/>
                    </a:lnTo>
                    <a:lnTo>
                      <a:pt x="3136" y="586"/>
                    </a:lnTo>
                    <a:lnTo>
                      <a:pt x="3140" y="584"/>
                    </a:lnTo>
                    <a:lnTo>
                      <a:pt x="3144" y="580"/>
                    </a:lnTo>
                    <a:lnTo>
                      <a:pt x="3148" y="576"/>
                    </a:lnTo>
                    <a:lnTo>
                      <a:pt x="3150" y="568"/>
                    </a:lnTo>
                    <a:lnTo>
                      <a:pt x="3150" y="568"/>
                    </a:lnTo>
                    <a:lnTo>
                      <a:pt x="3152" y="562"/>
                    </a:lnTo>
                    <a:lnTo>
                      <a:pt x="3154" y="558"/>
                    </a:lnTo>
                    <a:lnTo>
                      <a:pt x="3156" y="556"/>
                    </a:lnTo>
                    <a:lnTo>
                      <a:pt x="3158" y="556"/>
                    </a:lnTo>
                    <a:lnTo>
                      <a:pt x="3166" y="560"/>
                    </a:lnTo>
                    <a:lnTo>
                      <a:pt x="3176" y="566"/>
                    </a:lnTo>
                    <a:lnTo>
                      <a:pt x="3188" y="570"/>
                    </a:lnTo>
                    <a:lnTo>
                      <a:pt x="3194" y="572"/>
                    </a:lnTo>
                    <a:lnTo>
                      <a:pt x="3200" y="570"/>
                    </a:lnTo>
                    <a:lnTo>
                      <a:pt x="3206" y="568"/>
                    </a:lnTo>
                    <a:lnTo>
                      <a:pt x="3214" y="562"/>
                    </a:lnTo>
                    <a:lnTo>
                      <a:pt x="3220" y="554"/>
                    </a:lnTo>
                    <a:lnTo>
                      <a:pt x="3228" y="542"/>
                    </a:lnTo>
                    <a:lnTo>
                      <a:pt x="3228" y="542"/>
                    </a:lnTo>
                    <a:lnTo>
                      <a:pt x="3242" y="520"/>
                    </a:lnTo>
                    <a:lnTo>
                      <a:pt x="3252" y="506"/>
                    </a:lnTo>
                    <a:lnTo>
                      <a:pt x="3258" y="496"/>
                    </a:lnTo>
                    <a:lnTo>
                      <a:pt x="3260" y="492"/>
                    </a:lnTo>
                    <a:lnTo>
                      <a:pt x="3258" y="490"/>
                    </a:lnTo>
                    <a:lnTo>
                      <a:pt x="3256" y="488"/>
                    </a:lnTo>
                    <a:lnTo>
                      <a:pt x="3244" y="486"/>
                    </a:lnTo>
                    <a:lnTo>
                      <a:pt x="3228" y="484"/>
                    </a:lnTo>
                    <a:lnTo>
                      <a:pt x="3204" y="478"/>
                    </a:lnTo>
                    <a:lnTo>
                      <a:pt x="3204" y="478"/>
                    </a:lnTo>
                    <a:lnTo>
                      <a:pt x="3186" y="474"/>
                    </a:lnTo>
                    <a:lnTo>
                      <a:pt x="3176" y="470"/>
                    </a:lnTo>
                    <a:lnTo>
                      <a:pt x="3170" y="464"/>
                    </a:lnTo>
                    <a:lnTo>
                      <a:pt x="3164" y="460"/>
                    </a:lnTo>
                    <a:lnTo>
                      <a:pt x="3154" y="450"/>
                    </a:lnTo>
                    <a:lnTo>
                      <a:pt x="3144" y="444"/>
                    </a:lnTo>
                    <a:lnTo>
                      <a:pt x="3132" y="438"/>
                    </a:lnTo>
                    <a:lnTo>
                      <a:pt x="3132" y="438"/>
                    </a:lnTo>
                    <a:lnTo>
                      <a:pt x="3140" y="438"/>
                    </a:lnTo>
                    <a:lnTo>
                      <a:pt x="3148" y="438"/>
                    </a:lnTo>
                    <a:lnTo>
                      <a:pt x="3158" y="440"/>
                    </a:lnTo>
                    <a:lnTo>
                      <a:pt x="3166" y="442"/>
                    </a:lnTo>
                    <a:lnTo>
                      <a:pt x="3184" y="452"/>
                    </a:lnTo>
                    <a:lnTo>
                      <a:pt x="3202" y="462"/>
                    </a:lnTo>
                    <a:lnTo>
                      <a:pt x="3220" y="470"/>
                    </a:lnTo>
                    <a:lnTo>
                      <a:pt x="3230" y="472"/>
                    </a:lnTo>
                    <a:lnTo>
                      <a:pt x="3238" y="474"/>
                    </a:lnTo>
                    <a:lnTo>
                      <a:pt x="3246" y="474"/>
                    </a:lnTo>
                    <a:lnTo>
                      <a:pt x="3254" y="472"/>
                    </a:lnTo>
                    <a:lnTo>
                      <a:pt x="3262" y="466"/>
                    </a:lnTo>
                    <a:lnTo>
                      <a:pt x="3270" y="460"/>
                    </a:lnTo>
                    <a:lnTo>
                      <a:pt x="3270" y="460"/>
                    </a:lnTo>
                    <a:lnTo>
                      <a:pt x="3296" y="434"/>
                    </a:lnTo>
                    <a:lnTo>
                      <a:pt x="3302" y="426"/>
                    </a:lnTo>
                    <a:lnTo>
                      <a:pt x="3304" y="420"/>
                    </a:lnTo>
                    <a:lnTo>
                      <a:pt x="3304" y="416"/>
                    </a:lnTo>
                    <a:lnTo>
                      <a:pt x="3298" y="412"/>
                    </a:lnTo>
                    <a:lnTo>
                      <a:pt x="3278" y="402"/>
                    </a:lnTo>
                    <a:lnTo>
                      <a:pt x="3278" y="402"/>
                    </a:lnTo>
                    <a:lnTo>
                      <a:pt x="3270" y="394"/>
                    </a:lnTo>
                    <a:lnTo>
                      <a:pt x="3270" y="392"/>
                    </a:lnTo>
                    <a:lnTo>
                      <a:pt x="3270" y="390"/>
                    </a:lnTo>
                    <a:lnTo>
                      <a:pt x="3278" y="388"/>
                    </a:lnTo>
                    <a:lnTo>
                      <a:pt x="3288" y="388"/>
                    </a:lnTo>
                    <a:lnTo>
                      <a:pt x="3302" y="388"/>
                    </a:lnTo>
                    <a:lnTo>
                      <a:pt x="3316" y="390"/>
                    </a:lnTo>
                    <a:lnTo>
                      <a:pt x="3328" y="394"/>
                    </a:lnTo>
                    <a:lnTo>
                      <a:pt x="3336" y="400"/>
                    </a:lnTo>
                    <a:lnTo>
                      <a:pt x="3336" y="400"/>
                    </a:lnTo>
                    <a:lnTo>
                      <a:pt x="3346" y="410"/>
                    </a:lnTo>
                    <a:lnTo>
                      <a:pt x="3356" y="418"/>
                    </a:lnTo>
                    <a:lnTo>
                      <a:pt x="3366" y="426"/>
                    </a:lnTo>
                    <a:lnTo>
                      <a:pt x="3374" y="438"/>
                    </a:lnTo>
                    <a:lnTo>
                      <a:pt x="3374" y="438"/>
                    </a:lnTo>
                    <a:lnTo>
                      <a:pt x="3380" y="448"/>
                    </a:lnTo>
                    <a:lnTo>
                      <a:pt x="3388" y="452"/>
                    </a:lnTo>
                    <a:lnTo>
                      <a:pt x="3398" y="454"/>
                    </a:lnTo>
                    <a:lnTo>
                      <a:pt x="3410" y="452"/>
                    </a:lnTo>
                    <a:lnTo>
                      <a:pt x="3410" y="452"/>
                    </a:lnTo>
                    <a:lnTo>
                      <a:pt x="3412" y="450"/>
                    </a:lnTo>
                    <a:lnTo>
                      <a:pt x="3414" y="448"/>
                    </a:lnTo>
                    <a:lnTo>
                      <a:pt x="3412" y="444"/>
                    </a:lnTo>
                    <a:lnTo>
                      <a:pt x="3398" y="436"/>
                    </a:lnTo>
                    <a:lnTo>
                      <a:pt x="3392" y="432"/>
                    </a:lnTo>
                    <a:lnTo>
                      <a:pt x="3386" y="426"/>
                    </a:lnTo>
                    <a:lnTo>
                      <a:pt x="3384" y="424"/>
                    </a:lnTo>
                    <a:lnTo>
                      <a:pt x="3384" y="422"/>
                    </a:lnTo>
                    <a:lnTo>
                      <a:pt x="3386" y="418"/>
                    </a:lnTo>
                    <a:lnTo>
                      <a:pt x="3390" y="416"/>
                    </a:lnTo>
                    <a:lnTo>
                      <a:pt x="3390" y="416"/>
                    </a:lnTo>
                    <a:lnTo>
                      <a:pt x="3398" y="412"/>
                    </a:lnTo>
                    <a:lnTo>
                      <a:pt x="3404" y="406"/>
                    </a:lnTo>
                    <a:lnTo>
                      <a:pt x="3414" y="396"/>
                    </a:lnTo>
                    <a:lnTo>
                      <a:pt x="3426" y="388"/>
                    </a:lnTo>
                    <a:lnTo>
                      <a:pt x="3432" y="386"/>
                    </a:lnTo>
                    <a:lnTo>
                      <a:pt x="3438" y="386"/>
                    </a:lnTo>
                    <a:lnTo>
                      <a:pt x="3438" y="386"/>
                    </a:lnTo>
                    <a:lnTo>
                      <a:pt x="3444" y="386"/>
                    </a:lnTo>
                    <a:lnTo>
                      <a:pt x="3450" y="384"/>
                    </a:lnTo>
                    <a:lnTo>
                      <a:pt x="3456" y="380"/>
                    </a:lnTo>
                    <a:lnTo>
                      <a:pt x="3460" y="374"/>
                    </a:lnTo>
                    <a:lnTo>
                      <a:pt x="3468" y="364"/>
                    </a:lnTo>
                    <a:lnTo>
                      <a:pt x="3474" y="360"/>
                    </a:lnTo>
                    <a:lnTo>
                      <a:pt x="3478" y="360"/>
                    </a:lnTo>
                    <a:lnTo>
                      <a:pt x="3478" y="360"/>
                    </a:lnTo>
                    <a:lnTo>
                      <a:pt x="3484" y="358"/>
                    </a:lnTo>
                    <a:lnTo>
                      <a:pt x="3490" y="354"/>
                    </a:lnTo>
                    <a:lnTo>
                      <a:pt x="3492" y="348"/>
                    </a:lnTo>
                    <a:lnTo>
                      <a:pt x="3494" y="342"/>
                    </a:lnTo>
                    <a:lnTo>
                      <a:pt x="3492" y="334"/>
                    </a:lnTo>
                    <a:lnTo>
                      <a:pt x="3488" y="324"/>
                    </a:lnTo>
                    <a:lnTo>
                      <a:pt x="3482" y="316"/>
                    </a:lnTo>
                    <a:lnTo>
                      <a:pt x="3472" y="306"/>
                    </a:lnTo>
                    <a:lnTo>
                      <a:pt x="3472" y="306"/>
                    </a:lnTo>
                    <a:lnTo>
                      <a:pt x="3464" y="298"/>
                    </a:lnTo>
                    <a:lnTo>
                      <a:pt x="3460" y="292"/>
                    </a:lnTo>
                    <a:lnTo>
                      <a:pt x="3460" y="288"/>
                    </a:lnTo>
                    <a:lnTo>
                      <a:pt x="3462" y="284"/>
                    </a:lnTo>
                    <a:lnTo>
                      <a:pt x="3464" y="282"/>
                    </a:lnTo>
                    <a:lnTo>
                      <a:pt x="3466" y="278"/>
                    </a:lnTo>
                    <a:lnTo>
                      <a:pt x="3464" y="272"/>
                    </a:lnTo>
                    <a:lnTo>
                      <a:pt x="3458" y="266"/>
                    </a:lnTo>
                    <a:lnTo>
                      <a:pt x="3458" y="266"/>
                    </a:lnTo>
                    <a:lnTo>
                      <a:pt x="3452" y="260"/>
                    </a:lnTo>
                    <a:lnTo>
                      <a:pt x="3452" y="258"/>
                    </a:lnTo>
                    <a:lnTo>
                      <a:pt x="3452" y="258"/>
                    </a:lnTo>
                    <a:lnTo>
                      <a:pt x="3458" y="256"/>
                    </a:lnTo>
                    <a:lnTo>
                      <a:pt x="3466" y="256"/>
                    </a:lnTo>
                    <a:lnTo>
                      <a:pt x="3476" y="256"/>
                    </a:lnTo>
                    <a:lnTo>
                      <a:pt x="3484" y="254"/>
                    </a:lnTo>
                    <a:lnTo>
                      <a:pt x="3492" y="250"/>
                    </a:lnTo>
                    <a:lnTo>
                      <a:pt x="3494" y="248"/>
                    </a:lnTo>
                    <a:lnTo>
                      <a:pt x="3496" y="242"/>
                    </a:lnTo>
                    <a:lnTo>
                      <a:pt x="3496" y="242"/>
                    </a:lnTo>
                    <a:lnTo>
                      <a:pt x="3498" y="234"/>
                    </a:lnTo>
                    <a:lnTo>
                      <a:pt x="3496" y="230"/>
                    </a:lnTo>
                    <a:lnTo>
                      <a:pt x="3492" y="228"/>
                    </a:lnTo>
                    <a:lnTo>
                      <a:pt x="3488" y="226"/>
                    </a:lnTo>
                    <a:lnTo>
                      <a:pt x="3486" y="224"/>
                    </a:lnTo>
                    <a:lnTo>
                      <a:pt x="3484" y="222"/>
                    </a:lnTo>
                    <a:lnTo>
                      <a:pt x="3484" y="220"/>
                    </a:lnTo>
                    <a:lnTo>
                      <a:pt x="3490" y="214"/>
                    </a:lnTo>
                    <a:lnTo>
                      <a:pt x="3490" y="214"/>
                    </a:lnTo>
                    <a:lnTo>
                      <a:pt x="3492" y="206"/>
                    </a:lnTo>
                    <a:lnTo>
                      <a:pt x="3492" y="204"/>
                    </a:lnTo>
                    <a:lnTo>
                      <a:pt x="3486" y="202"/>
                    </a:lnTo>
                    <a:lnTo>
                      <a:pt x="3480" y="200"/>
                    </a:lnTo>
                    <a:lnTo>
                      <a:pt x="3472" y="198"/>
                    </a:lnTo>
                    <a:lnTo>
                      <a:pt x="3464" y="196"/>
                    </a:lnTo>
                    <a:lnTo>
                      <a:pt x="3458" y="192"/>
                    </a:lnTo>
                    <a:lnTo>
                      <a:pt x="3454" y="182"/>
                    </a:lnTo>
                    <a:lnTo>
                      <a:pt x="3454" y="182"/>
                    </a:lnTo>
                    <a:lnTo>
                      <a:pt x="3452" y="174"/>
                    </a:lnTo>
                    <a:lnTo>
                      <a:pt x="3446" y="170"/>
                    </a:lnTo>
                    <a:lnTo>
                      <a:pt x="3438" y="168"/>
                    </a:lnTo>
                    <a:lnTo>
                      <a:pt x="3428" y="168"/>
                    </a:lnTo>
                    <a:lnTo>
                      <a:pt x="3404" y="166"/>
                    </a:lnTo>
                    <a:lnTo>
                      <a:pt x="3392" y="164"/>
                    </a:lnTo>
                    <a:lnTo>
                      <a:pt x="3378" y="160"/>
                    </a:lnTo>
                    <a:lnTo>
                      <a:pt x="3378" y="160"/>
                    </a:lnTo>
                    <a:lnTo>
                      <a:pt x="3360" y="152"/>
                    </a:lnTo>
                    <a:lnTo>
                      <a:pt x="3356" y="152"/>
                    </a:lnTo>
                    <a:lnTo>
                      <a:pt x="3354" y="152"/>
                    </a:lnTo>
                    <a:lnTo>
                      <a:pt x="3348" y="156"/>
                    </a:lnTo>
                    <a:lnTo>
                      <a:pt x="3344" y="158"/>
                    </a:lnTo>
                    <a:lnTo>
                      <a:pt x="3334" y="158"/>
                    </a:lnTo>
                    <a:lnTo>
                      <a:pt x="3334" y="158"/>
                    </a:lnTo>
                    <a:lnTo>
                      <a:pt x="3326" y="160"/>
                    </a:lnTo>
                    <a:lnTo>
                      <a:pt x="3320" y="164"/>
                    </a:lnTo>
                    <a:lnTo>
                      <a:pt x="3318" y="172"/>
                    </a:lnTo>
                    <a:lnTo>
                      <a:pt x="3318" y="180"/>
                    </a:lnTo>
                    <a:lnTo>
                      <a:pt x="3322" y="190"/>
                    </a:lnTo>
                    <a:lnTo>
                      <a:pt x="3326" y="198"/>
                    </a:lnTo>
                    <a:lnTo>
                      <a:pt x="3330" y="206"/>
                    </a:lnTo>
                    <a:lnTo>
                      <a:pt x="3338" y="210"/>
                    </a:lnTo>
                    <a:lnTo>
                      <a:pt x="3338" y="210"/>
                    </a:lnTo>
                    <a:lnTo>
                      <a:pt x="3342" y="212"/>
                    </a:lnTo>
                    <a:lnTo>
                      <a:pt x="3346" y="216"/>
                    </a:lnTo>
                    <a:lnTo>
                      <a:pt x="3346" y="222"/>
                    </a:lnTo>
                    <a:lnTo>
                      <a:pt x="3344" y="226"/>
                    </a:lnTo>
                    <a:lnTo>
                      <a:pt x="3342" y="230"/>
                    </a:lnTo>
                    <a:lnTo>
                      <a:pt x="3338" y="232"/>
                    </a:lnTo>
                    <a:lnTo>
                      <a:pt x="3332" y="234"/>
                    </a:lnTo>
                    <a:lnTo>
                      <a:pt x="3326" y="234"/>
                    </a:lnTo>
                    <a:lnTo>
                      <a:pt x="3326" y="234"/>
                    </a:lnTo>
                    <a:lnTo>
                      <a:pt x="3322" y="236"/>
                    </a:lnTo>
                    <a:lnTo>
                      <a:pt x="3320" y="240"/>
                    </a:lnTo>
                    <a:lnTo>
                      <a:pt x="3318" y="256"/>
                    </a:lnTo>
                    <a:lnTo>
                      <a:pt x="3318" y="266"/>
                    </a:lnTo>
                    <a:lnTo>
                      <a:pt x="3316" y="278"/>
                    </a:lnTo>
                    <a:lnTo>
                      <a:pt x="3310" y="288"/>
                    </a:lnTo>
                    <a:lnTo>
                      <a:pt x="3300" y="296"/>
                    </a:lnTo>
                    <a:lnTo>
                      <a:pt x="3300" y="296"/>
                    </a:lnTo>
                    <a:lnTo>
                      <a:pt x="3292" y="302"/>
                    </a:lnTo>
                    <a:lnTo>
                      <a:pt x="3286" y="310"/>
                    </a:lnTo>
                    <a:lnTo>
                      <a:pt x="3284" y="316"/>
                    </a:lnTo>
                    <a:lnTo>
                      <a:pt x="3282" y="322"/>
                    </a:lnTo>
                    <a:lnTo>
                      <a:pt x="3280" y="328"/>
                    </a:lnTo>
                    <a:lnTo>
                      <a:pt x="3278" y="332"/>
                    </a:lnTo>
                    <a:lnTo>
                      <a:pt x="3274" y="338"/>
                    </a:lnTo>
                    <a:lnTo>
                      <a:pt x="3264" y="342"/>
                    </a:lnTo>
                    <a:lnTo>
                      <a:pt x="3264" y="342"/>
                    </a:lnTo>
                    <a:lnTo>
                      <a:pt x="3250" y="344"/>
                    </a:lnTo>
                    <a:lnTo>
                      <a:pt x="3246" y="344"/>
                    </a:lnTo>
                    <a:lnTo>
                      <a:pt x="3244" y="340"/>
                    </a:lnTo>
                    <a:lnTo>
                      <a:pt x="3238" y="330"/>
                    </a:lnTo>
                    <a:lnTo>
                      <a:pt x="3232" y="322"/>
                    </a:lnTo>
                    <a:lnTo>
                      <a:pt x="3222" y="312"/>
                    </a:lnTo>
                    <a:lnTo>
                      <a:pt x="3222" y="312"/>
                    </a:lnTo>
                    <a:lnTo>
                      <a:pt x="3214" y="304"/>
                    </a:lnTo>
                    <a:lnTo>
                      <a:pt x="3210" y="298"/>
                    </a:lnTo>
                    <a:lnTo>
                      <a:pt x="3212" y="292"/>
                    </a:lnTo>
                    <a:lnTo>
                      <a:pt x="3216" y="288"/>
                    </a:lnTo>
                    <a:lnTo>
                      <a:pt x="3226" y="280"/>
                    </a:lnTo>
                    <a:lnTo>
                      <a:pt x="3232" y="276"/>
                    </a:lnTo>
                    <a:lnTo>
                      <a:pt x="3234" y="270"/>
                    </a:lnTo>
                    <a:lnTo>
                      <a:pt x="3234" y="270"/>
                    </a:lnTo>
                    <a:lnTo>
                      <a:pt x="3232" y="260"/>
                    </a:lnTo>
                    <a:lnTo>
                      <a:pt x="3228" y="248"/>
                    </a:lnTo>
                    <a:lnTo>
                      <a:pt x="3220" y="234"/>
                    </a:lnTo>
                    <a:lnTo>
                      <a:pt x="3212" y="220"/>
                    </a:lnTo>
                    <a:lnTo>
                      <a:pt x="3200" y="210"/>
                    </a:lnTo>
                    <a:lnTo>
                      <a:pt x="3190" y="202"/>
                    </a:lnTo>
                    <a:lnTo>
                      <a:pt x="3184" y="200"/>
                    </a:lnTo>
                    <a:lnTo>
                      <a:pt x="3178" y="200"/>
                    </a:lnTo>
                    <a:lnTo>
                      <a:pt x="3172" y="202"/>
                    </a:lnTo>
                    <a:lnTo>
                      <a:pt x="3168" y="206"/>
                    </a:lnTo>
                    <a:lnTo>
                      <a:pt x="3168" y="206"/>
                    </a:lnTo>
                    <a:lnTo>
                      <a:pt x="3158" y="216"/>
                    </a:lnTo>
                    <a:lnTo>
                      <a:pt x="3154" y="230"/>
                    </a:lnTo>
                    <a:lnTo>
                      <a:pt x="3148" y="254"/>
                    </a:lnTo>
                    <a:lnTo>
                      <a:pt x="3146" y="262"/>
                    </a:lnTo>
                    <a:lnTo>
                      <a:pt x="3142" y="268"/>
                    </a:lnTo>
                    <a:lnTo>
                      <a:pt x="3140" y="268"/>
                    </a:lnTo>
                    <a:lnTo>
                      <a:pt x="3138" y="268"/>
                    </a:lnTo>
                    <a:lnTo>
                      <a:pt x="3130" y="260"/>
                    </a:lnTo>
                    <a:lnTo>
                      <a:pt x="3130" y="260"/>
                    </a:lnTo>
                    <a:lnTo>
                      <a:pt x="3124" y="252"/>
                    </a:lnTo>
                    <a:lnTo>
                      <a:pt x="3122" y="246"/>
                    </a:lnTo>
                    <a:lnTo>
                      <a:pt x="3122" y="242"/>
                    </a:lnTo>
                    <a:lnTo>
                      <a:pt x="3124" y="238"/>
                    </a:lnTo>
                    <a:lnTo>
                      <a:pt x="3126" y="236"/>
                    </a:lnTo>
                    <a:lnTo>
                      <a:pt x="3128" y="232"/>
                    </a:lnTo>
                    <a:lnTo>
                      <a:pt x="3124" y="226"/>
                    </a:lnTo>
                    <a:lnTo>
                      <a:pt x="3118" y="216"/>
                    </a:lnTo>
                    <a:lnTo>
                      <a:pt x="3118" y="216"/>
                    </a:lnTo>
                    <a:lnTo>
                      <a:pt x="3112" y="208"/>
                    </a:lnTo>
                    <a:lnTo>
                      <a:pt x="3110" y="204"/>
                    </a:lnTo>
                    <a:lnTo>
                      <a:pt x="3110" y="202"/>
                    </a:lnTo>
                    <a:lnTo>
                      <a:pt x="3114" y="198"/>
                    </a:lnTo>
                    <a:lnTo>
                      <a:pt x="3120" y="194"/>
                    </a:lnTo>
                    <a:lnTo>
                      <a:pt x="3126" y="192"/>
                    </a:lnTo>
                    <a:lnTo>
                      <a:pt x="3128" y="190"/>
                    </a:lnTo>
                    <a:lnTo>
                      <a:pt x="3126" y="186"/>
                    </a:lnTo>
                    <a:lnTo>
                      <a:pt x="3116" y="180"/>
                    </a:lnTo>
                    <a:lnTo>
                      <a:pt x="3116" y="180"/>
                    </a:lnTo>
                    <a:lnTo>
                      <a:pt x="3104" y="174"/>
                    </a:lnTo>
                    <a:lnTo>
                      <a:pt x="3094" y="172"/>
                    </a:lnTo>
                    <a:lnTo>
                      <a:pt x="3088" y="172"/>
                    </a:lnTo>
                    <a:lnTo>
                      <a:pt x="3082" y="174"/>
                    </a:lnTo>
                    <a:lnTo>
                      <a:pt x="3076" y="176"/>
                    </a:lnTo>
                    <a:lnTo>
                      <a:pt x="3070" y="178"/>
                    </a:lnTo>
                    <a:lnTo>
                      <a:pt x="3064" y="176"/>
                    </a:lnTo>
                    <a:lnTo>
                      <a:pt x="3054" y="172"/>
                    </a:lnTo>
                    <a:lnTo>
                      <a:pt x="3054" y="172"/>
                    </a:lnTo>
                    <a:lnTo>
                      <a:pt x="3050" y="170"/>
                    </a:lnTo>
                    <a:lnTo>
                      <a:pt x="3048" y="168"/>
                    </a:lnTo>
                    <a:lnTo>
                      <a:pt x="3048" y="164"/>
                    </a:lnTo>
                    <a:lnTo>
                      <a:pt x="3048" y="162"/>
                    </a:lnTo>
                    <a:lnTo>
                      <a:pt x="3054" y="154"/>
                    </a:lnTo>
                    <a:lnTo>
                      <a:pt x="3062" y="148"/>
                    </a:lnTo>
                    <a:lnTo>
                      <a:pt x="3076" y="134"/>
                    </a:lnTo>
                    <a:lnTo>
                      <a:pt x="3080" y="130"/>
                    </a:lnTo>
                    <a:lnTo>
                      <a:pt x="3080" y="126"/>
                    </a:lnTo>
                    <a:lnTo>
                      <a:pt x="3078" y="124"/>
                    </a:lnTo>
                    <a:lnTo>
                      <a:pt x="3078" y="124"/>
                    </a:lnTo>
                    <a:lnTo>
                      <a:pt x="3064" y="114"/>
                    </a:lnTo>
                    <a:lnTo>
                      <a:pt x="3046" y="102"/>
                    </a:lnTo>
                    <a:lnTo>
                      <a:pt x="3038" y="94"/>
                    </a:lnTo>
                    <a:lnTo>
                      <a:pt x="3032" y="86"/>
                    </a:lnTo>
                    <a:lnTo>
                      <a:pt x="3028" y="78"/>
                    </a:lnTo>
                    <a:lnTo>
                      <a:pt x="3026" y="66"/>
                    </a:lnTo>
                    <a:lnTo>
                      <a:pt x="3026" y="66"/>
                    </a:lnTo>
                    <a:lnTo>
                      <a:pt x="3026" y="62"/>
                    </a:lnTo>
                    <a:lnTo>
                      <a:pt x="3026" y="56"/>
                    </a:lnTo>
                    <a:lnTo>
                      <a:pt x="3020" y="44"/>
                    </a:lnTo>
                    <a:lnTo>
                      <a:pt x="3010" y="34"/>
                    </a:lnTo>
                    <a:lnTo>
                      <a:pt x="2998" y="24"/>
                    </a:lnTo>
                    <a:lnTo>
                      <a:pt x="2986" y="14"/>
                    </a:lnTo>
                    <a:lnTo>
                      <a:pt x="2972" y="8"/>
                    </a:lnTo>
                    <a:lnTo>
                      <a:pt x="2960" y="2"/>
                    </a:lnTo>
                    <a:lnTo>
                      <a:pt x="2948" y="0"/>
                    </a:lnTo>
                    <a:lnTo>
                      <a:pt x="2948" y="0"/>
                    </a:lnTo>
                    <a:lnTo>
                      <a:pt x="2940" y="0"/>
                    </a:lnTo>
                    <a:lnTo>
                      <a:pt x="2936" y="2"/>
                    </a:lnTo>
                    <a:lnTo>
                      <a:pt x="2934" y="4"/>
                    </a:lnTo>
                    <a:lnTo>
                      <a:pt x="2932" y="8"/>
                    </a:lnTo>
                    <a:lnTo>
                      <a:pt x="2932" y="12"/>
                    </a:lnTo>
                    <a:lnTo>
                      <a:pt x="2928" y="16"/>
                    </a:lnTo>
                    <a:lnTo>
                      <a:pt x="2924" y="20"/>
                    </a:lnTo>
                    <a:lnTo>
                      <a:pt x="2916" y="22"/>
                    </a:lnTo>
                    <a:lnTo>
                      <a:pt x="2916" y="22"/>
                    </a:lnTo>
                    <a:lnTo>
                      <a:pt x="2908" y="26"/>
                    </a:lnTo>
                    <a:lnTo>
                      <a:pt x="2904" y="28"/>
                    </a:lnTo>
                    <a:lnTo>
                      <a:pt x="2902" y="30"/>
                    </a:lnTo>
                    <a:lnTo>
                      <a:pt x="2902" y="34"/>
                    </a:lnTo>
                    <a:lnTo>
                      <a:pt x="2902" y="38"/>
                    </a:lnTo>
                    <a:lnTo>
                      <a:pt x="2900" y="42"/>
                    </a:lnTo>
                    <a:lnTo>
                      <a:pt x="2894" y="46"/>
                    </a:lnTo>
                    <a:lnTo>
                      <a:pt x="2886" y="50"/>
                    </a:lnTo>
                    <a:lnTo>
                      <a:pt x="2886" y="50"/>
                    </a:lnTo>
                    <a:lnTo>
                      <a:pt x="2878" y="56"/>
                    </a:lnTo>
                    <a:lnTo>
                      <a:pt x="2876" y="62"/>
                    </a:lnTo>
                    <a:lnTo>
                      <a:pt x="2876" y="70"/>
                    </a:lnTo>
                    <a:lnTo>
                      <a:pt x="2878" y="80"/>
                    </a:lnTo>
                    <a:lnTo>
                      <a:pt x="2886" y="98"/>
                    </a:lnTo>
                    <a:lnTo>
                      <a:pt x="2888" y="106"/>
                    </a:lnTo>
                    <a:lnTo>
                      <a:pt x="2886" y="114"/>
                    </a:lnTo>
                    <a:lnTo>
                      <a:pt x="2886" y="114"/>
                    </a:lnTo>
                    <a:lnTo>
                      <a:pt x="2884" y="128"/>
                    </a:lnTo>
                    <a:lnTo>
                      <a:pt x="2884" y="136"/>
                    </a:lnTo>
                    <a:lnTo>
                      <a:pt x="2886" y="142"/>
                    </a:lnTo>
                    <a:lnTo>
                      <a:pt x="2890" y="150"/>
                    </a:lnTo>
                    <a:lnTo>
                      <a:pt x="2898" y="156"/>
                    </a:lnTo>
                    <a:lnTo>
                      <a:pt x="2910" y="162"/>
                    </a:lnTo>
                    <a:lnTo>
                      <a:pt x="2924" y="168"/>
                    </a:lnTo>
                    <a:lnTo>
                      <a:pt x="2924" y="168"/>
                    </a:lnTo>
                    <a:lnTo>
                      <a:pt x="2940" y="172"/>
                    </a:lnTo>
                    <a:lnTo>
                      <a:pt x="2954" y="180"/>
                    </a:lnTo>
                    <a:lnTo>
                      <a:pt x="2964" y="186"/>
                    </a:lnTo>
                    <a:lnTo>
                      <a:pt x="2970" y="194"/>
                    </a:lnTo>
                    <a:lnTo>
                      <a:pt x="2974" y="202"/>
                    </a:lnTo>
                    <a:lnTo>
                      <a:pt x="2974" y="208"/>
                    </a:lnTo>
                    <a:lnTo>
                      <a:pt x="2972" y="214"/>
                    </a:lnTo>
                    <a:lnTo>
                      <a:pt x="2966" y="218"/>
                    </a:lnTo>
                    <a:lnTo>
                      <a:pt x="2966" y="218"/>
                    </a:lnTo>
                    <a:lnTo>
                      <a:pt x="2958" y="222"/>
                    </a:lnTo>
                    <a:lnTo>
                      <a:pt x="2954" y="226"/>
                    </a:lnTo>
                    <a:lnTo>
                      <a:pt x="2954" y="232"/>
                    </a:lnTo>
                    <a:lnTo>
                      <a:pt x="2956" y="234"/>
                    </a:lnTo>
                    <a:lnTo>
                      <a:pt x="2960" y="238"/>
                    </a:lnTo>
                    <a:lnTo>
                      <a:pt x="2966" y="238"/>
                    </a:lnTo>
                    <a:lnTo>
                      <a:pt x="2972" y="236"/>
                    </a:lnTo>
                    <a:lnTo>
                      <a:pt x="2980" y="234"/>
                    </a:lnTo>
                    <a:lnTo>
                      <a:pt x="2980" y="234"/>
                    </a:lnTo>
                    <a:lnTo>
                      <a:pt x="2986" y="230"/>
                    </a:lnTo>
                    <a:lnTo>
                      <a:pt x="2992" y="230"/>
                    </a:lnTo>
                    <a:lnTo>
                      <a:pt x="2996" y="232"/>
                    </a:lnTo>
                    <a:lnTo>
                      <a:pt x="2996" y="238"/>
                    </a:lnTo>
                    <a:lnTo>
                      <a:pt x="2994" y="246"/>
                    </a:lnTo>
                    <a:lnTo>
                      <a:pt x="2988" y="254"/>
                    </a:lnTo>
                    <a:lnTo>
                      <a:pt x="2980" y="262"/>
                    </a:lnTo>
                    <a:lnTo>
                      <a:pt x="2968" y="272"/>
                    </a:lnTo>
                    <a:lnTo>
                      <a:pt x="2968" y="272"/>
                    </a:lnTo>
                    <a:lnTo>
                      <a:pt x="2956" y="280"/>
                    </a:lnTo>
                    <a:lnTo>
                      <a:pt x="2946" y="282"/>
                    </a:lnTo>
                    <a:lnTo>
                      <a:pt x="2940" y="284"/>
                    </a:lnTo>
                    <a:lnTo>
                      <a:pt x="2934" y="282"/>
                    </a:lnTo>
                    <a:lnTo>
                      <a:pt x="2930" y="280"/>
                    </a:lnTo>
                    <a:lnTo>
                      <a:pt x="2928" y="282"/>
                    </a:lnTo>
                    <a:lnTo>
                      <a:pt x="2926" y="284"/>
                    </a:lnTo>
                    <a:lnTo>
                      <a:pt x="2922" y="290"/>
                    </a:lnTo>
                    <a:lnTo>
                      <a:pt x="2922" y="290"/>
                    </a:lnTo>
                    <a:lnTo>
                      <a:pt x="2920" y="300"/>
                    </a:lnTo>
                    <a:lnTo>
                      <a:pt x="2924" y="312"/>
                    </a:lnTo>
                    <a:lnTo>
                      <a:pt x="2930" y="334"/>
                    </a:lnTo>
                    <a:lnTo>
                      <a:pt x="2934" y="342"/>
                    </a:lnTo>
                    <a:lnTo>
                      <a:pt x="2934" y="348"/>
                    </a:lnTo>
                    <a:lnTo>
                      <a:pt x="2934" y="350"/>
                    </a:lnTo>
                    <a:lnTo>
                      <a:pt x="2930" y="348"/>
                    </a:lnTo>
                    <a:lnTo>
                      <a:pt x="2922" y="344"/>
                    </a:lnTo>
                    <a:lnTo>
                      <a:pt x="2922" y="344"/>
                    </a:lnTo>
                    <a:lnTo>
                      <a:pt x="2902" y="330"/>
                    </a:lnTo>
                    <a:lnTo>
                      <a:pt x="2896" y="326"/>
                    </a:lnTo>
                    <a:lnTo>
                      <a:pt x="2892" y="320"/>
                    </a:lnTo>
                    <a:lnTo>
                      <a:pt x="2892" y="316"/>
                    </a:lnTo>
                    <a:lnTo>
                      <a:pt x="2892" y="312"/>
                    </a:lnTo>
                    <a:lnTo>
                      <a:pt x="2896" y="298"/>
                    </a:lnTo>
                    <a:lnTo>
                      <a:pt x="2896" y="298"/>
                    </a:lnTo>
                    <a:lnTo>
                      <a:pt x="2900" y="286"/>
                    </a:lnTo>
                    <a:lnTo>
                      <a:pt x="2902" y="280"/>
                    </a:lnTo>
                    <a:lnTo>
                      <a:pt x="2900" y="276"/>
                    </a:lnTo>
                    <a:lnTo>
                      <a:pt x="2898" y="272"/>
                    </a:lnTo>
                    <a:lnTo>
                      <a:pt x="2892" y="270"/>
                    </a:lnTo>
                    <a:lnTo>
                      <a:pt x="2886" y="270"/>
                    </a:lnTo>
                    <a:lnTo>
                      <a:pt x="2876" y="270"/>
                    </a:lnTo>
                    <a:lnTo>
                      <a:pt x="2876" y="270"/>
                    </a:lnTo>
                    <a:lnTo>
                      <a:pt x="2866" y="270"/>
                    </a:lnTo>
                    <a:lnTo>
                      <a:pt x="2858" y="268"/>
                    </a:lnTo>
                    <a:lnTo>
                      <a:pt x="2844" y="260"/>
                    </a:lnTo>
                    <a:lnTo>
                      <a:pt x="2838" y="256"/>
                    </a:lnTo>
                    <a:lnTo>
                      <a:pt x="2830" y="254"/>
                    </a:lnTo>
                    <a:lnTo>
                      <a:pt x="2820" y="254"/>
                    </a:lnTo>
                    <a:lnTo>
                      <a:pt x="2810" y="258"/>
                    </a:lnTo>
                    <a:lnTo>
                      <a:pt x="2810" y="258"/>
                    </a:lnTo>
                    <a:lnTo>
                      <a:pt x="2800" y="264"/>
                    </a:lnTo>
                    <a:lnTo>
                      <a:pt x="2796" y="272"/>
                    </a:lnTo>
                    <a:lnTo>
                      <a:pt x="2796" y="278"/>
                    </a:lnTo>
                    <a:lnTo>
                      <a:pt x="2796" y="286"/>
                    </a:lnTo>
                    <a:lnTo>
                      <a:pt x="2798" y="292"/>
                    </a:lnTo>
                    <a:lnTo>
                      <a:pt x="2798" y="298"/>
                    </a:lnTo>
                    <a:lnTo>
                      <a:pt x="2794" y="304"/>
                    </a:lnTo>
                    <a:lnTo>
                      <a:pt x="2786" y="308"/>
                    </a:lnTo>
                    <a:lnTo>
                      <a:pt x="2786" y="308"/>
                    </a:lnTo>
                    <a:lnTo>
                      <a:pt x="2778" y="310"/>
                    </a:lnTo>
                    <a:lnTo>
                      <a:pt x="2772" y="308"/>
                    </a:lnTo>
                    <a:lnTo>
                      <a:pt x="2760" y="302"/>
                    </a:lnTo>
                    <a:lnTo>
                      <a:pt x="2752" y="300"/>
                    </a:lnTo>
                    <a:lnTo>
                      <a:pt x="2742" y="298"/>
                    </a:lnTo>
                    <a:lnTo>
                      <a:pt x="2726" y="298"/>
                    </a:lnTo>
                    <a:lnTo>
                      <a:pt x="2708" y="302"/>
                    </a:lnTo>
                    <a:lnTo>
                      <a:pt x="2708" y="302"/>
                    </a:lnTo>
                    <a:lnTo>
                      <a:pt x="2680" y="306"/>
                    </a:lnTo>
                    <a:lnTo>
                      <a:pt x="2658" y="306"/>
                    </a:lnTo>
                    <a:lnTo>
                      <a:pt x="2640" y="302"/>
                    </a:lnTo>
                    <a:lnTo>
                      <a:pt x="2626" y="298"/>
                    </a:lnTo>
                    <a:lnTo>
                      <a:pt x="2606" y="286"/>
                    </a:lnTo>
                    <a:lnTo>
                      <a:pt x="2598" y="284"/>
                    </a:lnTo>
                    <a:lnTo>
                      <a:pt x="2590" y="286"/>
                    </a:lnTo>
                    <a:lnTo>
                      <a:pt x="2590" y="286"/>
                    </a:lnTo>
                    <a:lnTo>
                      <a:pt x="2580" y="288"/>
                    </a:lnTo>
                    <a:lnTo>
                      <a:pt x="2572" y="288"/>
                    </a:lnTo>
                    <a:lnTo>
                      <a:pt x="2564" y="286"/>
                    </a:lnTo>
                    <a:lnTo>
                      <a:pt x="2556" y="282"/>
                    </a:lnTo>
                    <a:lnTo>
                      <a:pt x="2544" y="272"/>
                    </a:lnTo>
                    <a:lnTo>
                      <a:pt x="2532" y="260"/>
                    </a:lnTo>
                    <a:lnTo>
                      <a:pt x="2520" y="246"/>
                    </a:lnTo>
                    <a:lnTo>
                      <a:pt x="2510" y="234"/>
                    </a:lnTo>
                    <a:lnTo>
                      <a:pt x="2504" y="230"/>
                    </a:lnTo>
                    <a:lnTo>
                      <a:pt x="2498" y="226"/>
                    </a:lnTo>
                    <a:lnTo>
                      <a:pt x="2492" y="224"/>
                    </a:lnTo>
                    <a:lnTo>
                      <a:pt x="2486" y="224"/>
                    </a:lnTo>
                    <a:lnTo>
                      <a:pt x="2486" y="224"/>
                    </a:lnTo>
                    <a:lnTo>
                      <a:pt x="2456" y="230"/>
                    </a:lnTo>
                    <a:lnTo>
                      <a:pt x="2438" y="234"/>
                    </a:lnTo>
                    <a:lnTo>
                      <a:pt x="2422" y="240"/>
                    </a:lnTo>
                    <a:lnTo>
                      <a:pt x="2408" y="246"/>
                    </a:lnTo>
                    <a:lnTo>
                      <a:pt x="2398" y="252"/>
                    </a:lnTo>
                    <a:lnTo>
                      <a:pt x="2394" y="256"/>
                    </a:lnTo>
                    <a:lnTo>
                      <a:pt x="2392" y="262"/>
                    </a:lnTo>
                    <a:lnTo>
                      <a:pt x="2392" y="266"/>
                    </a:lnTo>
                    <a:lnTo>
                      <a:pt x="2394" y="270"/>
                    </a:lnTo>
                    <a:lnTo>
                      <a:pt x="2394" y="270"/>
                    </a:lnTo>
                    <a:lnTo>
                      <a:pt x="2398" y="274"/>
                    </a:lnTo>
                    <a:lnTo>
                      <a:pt x="2400" y="278"/>
                    </a:lnTo>
                    <a:lnTo>
                      <a:pt x="2406" y="280"/>
                    </a:lnTo>
                    <a:lnTo>
                      <a:pt x="2410" y="280"/>
                    </a:lnTo>
                    <a:lnTo>
                      <a:pt x="2420" y="278"/>
                    </a:lnTo>
                    <a:lnTo>
                      <a:pt x="2432" y="274"/>
                    </a:lnTo>
                    <a:lnTo>
                      <a:pt x="2456" y="264"/>
                    </a:lnTo>
                    <a:lnTo>
                      <a:pt x="2464" y="262"/>
                    </a:lnTo>
                    <a:lnTo>
                      <a:pt x="2468" y="262"/>
                    </a:lnTo>
                    <a:lnTo>
                      <a:pt x="2472" y="264"/>
                    </a:lnTo>
                    <a:lnTo>
                      <a:pt x="2472" y="264"/>
                    </a:lnTo>
                    <a:lnTo>
                      <a:pt x="2474" y="266"/>
                    </a:lnTo>
                    <a:lnTo>
                      <a:pt x="2476" y="268"/>
                    </a:lnTo>
                    <a:lnTo>
                      <a:pt x="2472" y="272"/>
                    </a:lnTo>
                    <a:lnTo>
                      <a:pt x="2456" y="278"/>
                    </a:lnTo>
                    <a:lnTo>
                      <a:pt x="2436" y="286"/>
                    </a:lnTo>
                    <a:lnTo>
                      <a:pt x="2428" y="292"/>
                    </a:lnTo>
                    <a:lnTo>
                      <a:pt x="2422" y="298"/>
                    </a:lnTo>
                    <a:lnTo>
                      <a:pt x="2422" y="298"/>
                    </a:lnTo>
                    <a:lnTo>
                      <a:pt x="2422" y="304"/>
                    </a:lnTo>
                    <a:lnTo>
                      <a:pt x="2424" y="308"/>
                    </a:lnTo>
                    <a:lnTo>
                      <a:pt x="2428" y="320"/>
                    </a:lnTo>
                    <a:lnTo>
                      <a:pt x="2440" y="342"/>
                    </a:lnTo>
                    <a:lnTo>
                      <a:pt x="2444" y="350"/>
                    </a:lnTo>
                    <a:lnTo>
                      <a:pt x="2444" y="352"/>
                    </a:lnTo>
                    <a:lnTo>
                      <a:pt x="2444" y="354"/>
                    </a:lnTo>
                    <a:lnTo>
                      <a:pt x="2436" y="350"/>
                    </a:lnTo>
                    <a:lnTo>
                      <a:pt x="2418" y="340"/>
                    </a:lnTo>
                    <a:lnTo>
                      <a:pt x="2418" y="340"/>
                    </a:lnTo>
                    <a:lnTo>
                      <a:pt x="2398" y="326"/>
                    </a:lnTo>
                    <a:lnTo>
                      <a:pt x="2382" y="318"/>
                    </a:lnTo>
                    <a:lnTo>
                      <a:pt x="2364" y="310"/>
                    </a:lnTo>
                    <a:lnTo>
                      <a:pt x="2354" y="306"/>
                    </a:lnTo>
                    <a:lnTo>
                      <a:pt x="2348" y="302"/>
                    </a:lnTo>
                    <a:lnTo>
                      <a:pt x="2340" y="294"/>
                    </a:lnTo>
                    <a:lnTo>
                      <a:pt x="2340" y="294"/>
                    </a:lnTo>
                    <a:lnTo>
                      <a:pt x="2334" y="288"/>
                    </a:lnTo>
                    <a:lnTo>
                      <a:pt x="2330" y="286"/>
                    </a:lnTo>
                    <a:lnTo>
                      <a:pt x="2326" y="288"/>
                    </a:lnTo>
                    <a:lnTo>
                      <a:pt x="2320" y="290"/>
                    </a:lnTo>
                    <a:lnTo>
                      <a:pt x="2314" y="296"/>
                    </a:lnTo>
                    <a:lnTo>
                      <a:pt x="2304" y="300"/>
                    </a:lnTo>
                    <a:lnTo>
                      <a:pt x="2286" y="304"/>
                    </a:lnTo>
                    <a:lnTo>
                      <a:pt x="2262" y="308"/>
                    </a:lnTo>
                    <a:lnTo>
                      <a:pt x="2262" y="308"/>
                    </a:lnTo>
                    <a:lnTo>
                      <a:pt x="2206" y="308"/>
                    </a:lnTo>
                    <a:lnTo>
                      <a:pt x="2180" y="308"/>
                    </a:lnTo>
                    <a:lnTo>
                      <a:pt x="2156" y="306"/>
                    </a:lnTo>
                    <a:lnTo>
                      <a:pt x="2140" y="302"/>
                    </a:lnTo>
                    <a:lnTo>
                      <a:pt x="2128" y="298"/>
                    </a:lnTo>
                    <a:lnTo>
                      <a:pt x="2124" y="296"/>
                    </a:lnTo>
                    <a:lnTo>
                      <a:pt x="2124" y="292"/>
                    </a:lnTo>
                    <a:lnTo>
                      <a:pt x="2126" y="288"/>
                    </a:lnTo>
                    <a:lnTo>
                      <a:pt x="2130" y="284"/>
                    </a:lnTo>
                    <a:lnTo>
                      <a:pt x="2130" y="284"/>
                    </a:lnTo>
                    <a:lnTo>
                      <a:pt x="2142" y="278"/>
                    </a:lnTo>
                    <a:lnTo>
                      <a:pt x="2154" y="274"/>
                    </a:lnTo>
                    <a:lnTo>
                      <a:pt x="2172" y="272"/>
                    </a:lnTo>
                    <a:lnTo>
                      <a:pt x="2178" y="270"/>
                    </a:lnTo>
                    <a:lnTo>
                      <a:pt x="2180" y="268"/>
                    </a:lnTo>
                    <a:lnTo>
                      <a:pt x="2178" y="264"/>
                    </a:lnTo>
                    <a:lnTo>
                      <a:pt x="2170" y="256"/>
                    </a:lnTo>
                    <a:lnTo>
                      <a:pt x="2170" y="256"/>
                    </a:lnTo>
                    <a:lnTo>
                      <a:pt x="2154" y="240"/>
                    </a:lnTo>
                    <a:lnTo>
                      <a:pt x="2144" y="232"/>
                    </a:lnTo>
                    <a:lnTo>
                      <a:pt x="2134" y="228"/>
                    </a:lnTo>
                    <a:lnTo>
                      <a:pt x="2124" y="222"/>
                    </a:lnTo>
                    <a:lnTo>
                      <a:pt x="2110" y="220"/>
                    </a:lnTo>
                    <a:lnTo>
                      <a:pt x="2096" y="220"/>
                    </a:lnTo>
                    <a:lnTo>
                      <a:pt x="2080" y="220"/>
                    </a:lnTo>
                    <a:lnTo>
                      <a:pt x="2080" y="220"/>
                    </a:lnTo>
                    <a:lnTo>
                      <a:pt x="2064" y="222"/>
                    </a:lnTo>
                    <a:lnTo>
                      <a:pt x="2046" y="220"/>
                    </a:lnTo>
                    <a:lnTo>
                      <a:pt x="2030" y="218"/>
                    </a:lnTo>
                    <a:lnTo>
                      <a:pt x="2014" y="212"/>
                    </a:lnTo>
                    <a:lnTo>
                      <a:pt x="1982" y="202"/>
                    </a:lnTo>
                    <a:lnTo>
                      <a:pt x="1948" y="194"/>
                    </a:lnTo>
                    <a:lnTo>
                      <a:pt x="1948" y="194"/>
                    </a:lnTo>
                    <a:lnTo>
                      <a:pt x="1932" y="190"/>
                    </a:lnTo>
                    <a:lnTo>
                      <a:pt x="1918" y="184"/>
                    </a:lnTo>
                    <a:lnTo>
                      <a:pt x="1890" y="172"/>
                    </a:lnTo>
                    <a:lnTo>
                      <a:pt x="1876" y="166"/>
                    </a:lnTo>
                    <a:lnTo>
                      <a:pt x="1862" y="160"/>
                    </a:lnTo>
                    <a:lnTo>
                      <a:pt x="1848" y="158"/>
                    </a:lnTo>
                    <a:lnTo>
                      <a:pt x="1832" y="158"/>
                    </a:lnTo>
                    <a:lnTo>
                      <a:pt x="1832" y="158"/>
                    </a:lnTo>
                    <a:lnTo>
                      <a:pt x="1820" y="160"/>
                    </a:lnTo>
                    <a:lnTo>
                      <a:pt x="1812" y="164"/>
                    </a:lnTo>
                    <a:lnTo>
                      <a:pt x="1808" y="170"/>
                    </a:lnTo>
                    <a:lnTo>
                      <a:pt x="1806" y="176"/>
                    </a:lnTo>
                    <a:lnTo>
                      <a:pt x="1804" y="182"/>
                    </a:lnTo>
                    <a:lnTo>
                      <a:pt x="1800" y="186"/>
                    </a:lnTo>
                    <a:lnTo>
                      <a:pt x="1792" y="188"/>
                    </a:lnTo>
                    <a:lnTo>
                      <a:pt x="1780" y="188"/>
                    </a:lnTo>
                    <a:lnTo>
                      <a:pt x="1780" y="188"/>
                    </a:lnTo>
                    <a:lnTo>
                      <a:pt x="1774" y="186"/>
                    </a:lnTo>
                    <a:lnTo>
                      <a:pt x="1768" y="184"/>
                    </a:lnTo>
                    <a:lnTo>
                      <a:pt x="1764" y="180"/>
                    </a:lnTo>
                    <a:lnTo>
                      <a:pt x="1762" y="176"/>
                    </a:lnTo>
                    <a:lnTo>
                      <a:pt x="1760" y="166"/>
                    </a:lnTo>
                    <a:lnTo>
                      <a:pt x="1760" y="156"/>
                    </a:lnTo>
                    <a:lnTo>
                      <a:pt x="1760" y="146"/>
                    </a:lnTo>
                    <a:lnTo>
                      <a:pt x="1758" y="138"/>
                    </a:lnTo>
                    <a:lnTo>
                      <a:pt x="1756" y="136"/>
                    </a:lnTo>
                    <a:lnTo>
                      <a:pt x="1750" y="134"/>
                    </a:lnTo>
                    <a:lnTo>
                      <a:pt x="1744" y="134"/>
                    </a:lnTo>
                    <a:lnTo>
                      <a:pt x="1736" y="134"/>
                    </a:lnTo>
                    <a:lnTo>
                      <a:pt x="1736" y="134"/>
                    </a:lnTo>
                    <a:lnTo>
                      <a:pt x="1732" y="136"/>
                    </a:lnTo>
                    <a:lnTo>
                      <a:pt x="1730" y="140"/>
                    </a:lnTo>
                    <a:lnTo>
                      <a:pt x="1726" y="148"/>
                    </a:lnTo>
                    <a:lnTo>
                      <a:pt x="1724" y="172"/>
                    </a:lnTo>
                    <a:lnTo>
                      <a:pt x="1720" y="182"/>
                    </a:lnTo>
                    <a:lnTo>
                      <a:pt x="1718" y="186"/>
                    </a:lnTo>
                    <a:lnTo>
                      <a:pt x="1716" y="190"/>
                    </a:lnTo>
                    <a:lnTo>
                      <a:pt x="1712" y="190"/>
                    </a:lnTo>
                    <a:lnTo>
                      <a:pt x="1706" y="190"/>
                    </a:lnTo>
                    <a:lnTo>
                      <a:pt x="1698" y="188"/>
                    </a:lnTo>
                    <a:lnTo>
                      <a:pt x="1688" y="184"/>
                    </a:lnTo>
                    <a:lnTo>
                      <a:pt x="1688" y="184"/>
                    </a:lnTo>
                    <a:lnTo>
                      <a:pt x="1684" y="182"/>
                    </a:lnTo>
                    <a:lnTo>
                      <a:pt x="1678" y="176"/>
                    </a:lnTo>
                    <a:lnTo>
                      <a:pt x="1668" y="162"/>
                    </a:lnTo>
                    <a:lnTo>
                      <a:pt x="1650" y="132"/>
                    </a:lnTo>
                    <a:lnTo>
                      <a:pt x="1640" y="116"/>
                    </a:lnTo>
                    <a:lnTo>
                      <a:pt x="1630" y="106"/>
                    </a:lnTo>
                    <a:lnTo>
                      <a:pt x="1624" y="104"/>
                    </a:lnTo>
                    <a:lnTo>
                      <a:pt x="1620" y="102"/>
                    </a:lnTo>
                    <a:lnTo>
                      <a:pt x="1614" y="102"/>
                    </a:lnTo>
                    <a:lnTo>
                      <a:pt x="1608" y="106"/>
                    </a:lnTo>
                    <a:lnTo>
                      <a:pt x="1608" y="106"/>
                    </a:lnTo>
                    <a:lnTo>
                      <a:pt x="1600" y="114"/>
                    </a:lnTo>
                    <a:lnTo>
                      <a:pt x="1598" y="116"/>
                    </a:lnTo>
                    <a:lnTo>
                      <a:pt x="1600" y="118"/>
                    </a:lnTo>
                    <a:lnTo>
                      <a:pt x="1604" y="120"/>
                    </a:lnTo>
                    <a:lnTo>
                      <a:pt x="1610" y="122"/>
                    </a:lnTo>
                    <a:lnTo>
                      <a:pt x="1616" y="124"/>
                    </a:lnTo>
                    <a:lnTo>
                      <a:pt x="1616" y="126"/>
                    </a:lnTo>
                    <a:lnTo>
                      <a:pt x="1616" y="130"/>
                    </a:lnTo>
                    <a:lnTo>
                      <a:pt x="1610" y="138"/>
                    </a:lnTo>
                    <a:lnTo>
                      <a:pt x="1592" y="150"/>
                    </a:lnTo>
                    <a:lnTo>
                      <a:pt x="1592" y="150"/>
                    </a:lnTo>
                    <a:lnTo>
                      <a:pt x="1574" y="160"/>
                    </a:lnTo>
                    <a:lnTo>
                      <a:pt x="1572" y="160"/>
                    </a:lnTo>
                    <a:lnTo>
                      <a:pt x="1570" y="158"/>
                    </a:lnTo>
                    <a:lnTo>
                      <a:pt x="1568" y="156"/>
                    </a:lnTo>
                    <a:lnTo>
                      <a:pt x="1560" y="156"/>
                    </a:lnTo>
                    <a:lnTo>
                      <a:pt x="1546" y="160"/>
                    </a:lnTo>
                    <a:lnTo>
                      <a:pt x="1522" y="168"/>
                    </a:lnTo>
                    <a:lnTo>
                      <a:pt x="1522" y="168"/>
                    </a:lnTo>
                    <a:lnTo>
                      <a:pt x="1482" y="180"/>
                    </a:lnTo>
                    <a:lnTo>
                      <a:pt x="1476" y="182"/>
                    </a:lnTo>
                    <a:lnTo>
                      <a:pt x="1476" y="180"/>
                    </a:lnTo>
                    <a:lnTo>
                      <a:pt x="1476" y="180"/>
                    </a:lnTo>
                    <a:lnTo>
                      <a:pt x="1494" y="168"/>
                    </a:lnTo>
                    <a:lnTo>
                      <a:pt x="1526" y="152"/>
                    </a:lnTo>
                    <a:lnTo>
                      <a:pt x="1526" y="152"/>
                    </a:lnTo>
                    <a:lnTo>
                      <a:pt x="1552" y="140"/>
                    </a:lnTo>
                    <a:lnTo>
                      <a:pt x="1558" y="136"/>
                    </a:lnTo>
                    <a:lnTo>
                      <a:pt x="1560" y="132"/>
                    </a:lnTo>
                    <a:lnTo>
                      <a:pt x="1560" y="132"/>
                    </a:lnTo>
                    <a:lnTo>
                      <a:pt x="1556" y="132"/>
                    </a:lnTo>
                    <a:lnTo>
                      <a:pt x="1538" y="134"/>
                    </a:lnTo>
                    <a:lnTo>
                      <a:pt x="1538" y="134"/>
                    </a:lnTo>
                    <a:lnTo>
                      <a:pt x="1530" y="136"/>
                    </a:lnTo>
                    <a:lnTo>
                      <a:pt x="1522" y="134"/>
                    </a:lnTo>
                    <a:lnTo>
                      <a:pt x="1510" y="134"/>
                    </a:lnTo>
                    <a:lnTo>
                      <a:pt x="1506" y="134"/>
                    </a:lnTo>
                    <a:lnTo>
                      <a:pt x="1498" y="136"/>
                    </a:lnTo>
                    <a:lnTo>
                      <a:pt x="1488" y="140"/>
                    </a:lnTo>
                    <a:lnTo>
                      <a:pt x="1474" y="148"/>
                    </a:lnTo>
                    <a:lnTo>
                      <a:pt x="1474" y="148"/>
                    </a:lnTo>
                    <a:lnTo>
                      <a:pt x="1462" y="156"/>
                    </a:lnTo>
                    <a:lnTo>
                      <a:pt x="1454" y="160"/>
                    </a:lnTo>
                    <a:lnTo>
                      <a:pt x="1448" y="160"/>
                    </a:lnTo>
                    <a:lnTo>
                      <a:pt x="1442" y="162"/>
                    </a:lnTo>
                    <a:lnTo>
                      <a:pt x="1438" y="162"/>
                    </a:lnTo>
                    <a:lnTo>
                      <a:pt x="1432" y="164"/>
                    </a:lnTo>
                    <a:lnTo>
                      <a:pt x="1422" y="168"/>
                    </a:lnTo>
                    <a:lnTo>
                      <a:pt x="1406" y="178"/>
                    </a:lnTo>
                    <a:lnTo>
                      <a:pt x="1406" y="178"/>
                    </a:lnTo>
                    <a:lnTo>
                      <a:pt x="1378" y="198"/>
                    </a:lnTo>
                    <a:lnTo>
                      <a:pt x="1358" y="210"/>
                    </a:lnTo>
                    <a:lnTo>
                      <a:pt x="1352" y="214"/>
                    </a:lnTo>
                    <a:lnTo>
                      <a:pt x="1350" y="218"/>
                    </a:lnTo>
                    <a:lnTo>
                      <a:pt x="1350" y="224"/>
                    </a:lnTo>
                    <a:lnTo>
                      <a:pt x="1352" y="230"/>
                    </a:lnTo>
                    <a:lnTo>
                      <a:pt x="1352" y="230"/>
                    </a:lnTo>
                    <a:lnTo>
                      <a:pt x="1352" y="234"/>
                    </a:lnTo>
                    <a:lnTo>
                      <a:pt x="1352" y="236"/>
                    </a:lnTo>
                    <a:lnTo>
                      <a:pt x="1340" y="232"/>
                    </a:lnTo>
                    <a:lnTo>
                      <a:pt x="1332" y="230"/>
                    </a:lnTo>
                    <a:lnTo>
                      <a:pt x="1324" y="228"/>
                    </a:lnTo>
                    <a:lnTo>
                      <a:pt x="1316" y="230"/>
                    </a:lnTo>
                    <a:lnTo>
                      <a:pt x="1308" y="232"/>
                    </a:lnTo>
                    <a:lnTo>
                      <a:pt x="1308" y="232"/>
                    </a:lnTo>
                    <a:lnTo>
                      <a:pt x="1300" y="236"/>
                    </a:lnTo>
                    <a:lnTo>
                      <a:pt x="1296" y="236"/>
                    </a:lnTo>
                    <a:lnTo>
                      <a:pt x="1294" y="236"/>
                    </a:lnTo>
                    <a:lnTo>
                      <a:pt x="1290" y="232"/>
                    </a:lnTo>
                    <a:lnTo>
                      <a:pt x="1286" y="228"/>
                    </a:lnTo>
                    <a:lnTo>
                      <a:pt x="1280" y="226"/>
                    </a:lnTo>
                    <a:lnTo>
                      <a:pt x="1270" y="224"/>
                    </a:lnTo>
                    <a:lnTo>
                      <a:pt x="1258" y="222"/>
                    </a:lnTo>
                    <a:lnTo>
                      <a:pt x="1258" y="222"/>
                    </a:lnTo>
                    <a:lnTo>
                      <a:pt x="1236" y="220"/>
                    </a:lnTo>
                    <a:lnTo>
                      <a:pt x="1216" y="214"/>
                    </a:lnTo>
                    <a:lnTo>
                      <a:pt x="1198" y="206"/>
                    </a:lnTo>
                    <a:lnTo>
                      <a:pt x="1178" y="196"/>
                    </a:lnTo>
                    <a:lnTo>
                      <a:pt x="1160" y="186"/>
                    </a:lnTo>
                    <a:lnTo>
                      <a:pt x="1138" y="178"/>
                    </a:lnTo>
                    <a:lnTo>
                      <a:pt x="1114" y="172"/>
                    </a:lnTo>
                    <a:lnTo>
                      <a:pt x="1102" y="172"/>
                    </a:lnTo>
                    <a:lnTo>
                      <a:pt x="1088" y="172"/>
                    </a:lnTo>
                    <a:lnTo>
                      <a:pt x="1088" y="172"/>
                    </a:lnTo>
                    <a:lnTo>
                      <a:pt x="1074" y="170"/>
                    </a:lnTo>
                    <a:lnTo>
                      <a:pt x="1062" y="168"/>
                    </a:lnTo>
                    <a:lnTo>
                      <a:pt x="1052" y="162"/>
                    </a:lnTo>
                    <a:lnTo>
                      <a:pt x="1044" y="158"/>
                    </a:lnTo>
                    <a:lnTo>
                      <a:pt x="1036" y="152"/>
                    </a:lnTo>
                    <a:lnTo>
                      <a:pt x="1026" y="146"/>
                    </a:lnTo>
                    <a:lnTo>
                      <a:pt x="1014" y="142"/>
                    </a:lnTo>
                    <a:lnTo>
                      <a:pt x="998" y="140"/>
                    </a:lnTo>
                    <a:lnTo>
                      <a:pt x="998" y="140"/>
                    </a:lnTo>
                    <a:lnTo>
                      <a:pt x="982" y="138"/>
                    </a:lnTo>
                    <a:lnTo>
                      <a:pt x="970" y="140"/>
                    </a:lnTo>
                    <a:lnTo>
                      <a:pt x="950" y="144"/>
                    </a:lnTo>
                    <a:lnTo>
                      <a:pt x="940" y="146"/>
                    </a:lnTo>
                    <a:lnTo>
                      <a:pt x="932" y="146"/>
                    </a:lnTo>
                    <a:lnTo>
                      <a:pt x="922" y="146"/>
                    </a:lnTo>
                    <a:lnTo>
                      <a:pt x="912" y="142"/>
                    </a:lnTo>
                    <a:lnTo>
                      <a:pt x="912" y="142"/>
                    </a:lnTo>
                    <a:lnTo>
                      <a:pt x="898" y="138"/>
                    </a:lnTo>
                    <a:lnTo>
                      <a:pt x="884" y="134"/>
                    </a:lnTo>
                    <a:lnTo>
                      <a:pt x="852" y="132"/>
                    </a:lnTo>
                    <a:lnTo>
                      <a:pt x="816" y="128"/>
                    </a:lnTo>
                    <a:lnTo>
                      <a:pt x="798" y="122"/>
                    </a:lnTo>
                    <a:lnTo>
                      <a:pt x="778" y="116"/>
                    </a:lnTo>
                    <a:lnTo>
                      <a:pt x="778" y="116"/>
                    </a:lnTo>
                    <a:lnTo>
                      <a:pt x="758" y="110"/>
                    </a:lnTo>
                    <a:lnTo>
                      <a:pt x="744" y="108"/>
                    </a:lnTo>
                    <a:lnTo>
                      <a:pt x="732" y="108"/>
                    </a:lnTo>
                    <a:lnTo>
                      <a:pt x="722" y="110"/>
                    </a:lnTo>
                    <a:lnTo>
                      <a:pt x="710" y="114"/>
                    </a:lnTo>
                    <a:lnTo>
                      <a:pt x="698" y="116"/>
                    </a:lnTo>
                    <a:lnTo>
                      <a:pt x="682" y="114"/>
                    </a:lnTo>
                    <a:lnTo>
                      <a:pt x="664" y="110"/>
                    </a:lnTo>
                    <a:lnTo>
                      <a:pt x="664" y="110"/>
                    </a:lnTo>
                    <a:lnTo>
                      <a:pt x="648" y="104"/>
                    </a:lnTo>
                    <a:lnTo>
                      <a:pt x="640" y="98"/>
                    </a:lnTo>
                    <a:lnTo>
                      <a:pt x="636" y="94"/>
                    </a:lnTo>
                    <a:lnTo>
                      <a:pt x="636" y="90"/>
                    </a:lnTo>
                    <a:lnTo>
                      <a:pt x="634" y="86"/>
                    </a:lnTo>
                    <a:lnTo>
                      <a:pt x="630" y="82"/>
                    </a:lnTo>
                    <a:lnTo>
                      <a:pt x="622" y="82"/>
                    </a:lnTo>
                    <a:lnTo>
                      <a:pt x="604" y="80"/>
                    </a:lnTo>
                    <a:lnTo>
                      <a:pt x="604" y="80"/>
                    </a:lnTo>
                    <a:lnTo>
                      <a:pt x="572" y="82"/>
                    </a:lnTo>
                    <a:lnTo>
                      <a:pt x="556" y="82"/>
                    </a:lnTo>
                    <a:lnTo>
                      <a:pt x="552" y="82"/>
                    </a:lnTo>
                    <a:lnTo>
                      <a:pt x="548" y="80"/>
                    </a:lnTo>
                    <a:lnTo>
                      <a:pt x="540" y="72"/>
                    </a:lnTo>
                    <a:lnTo>
                      <a:pt x="540" y="72"/>
                    </a:lnTo>
                    <a:lnTo>
                      <a:pt x="534" y="66"/>
                    </a:lnTo>
                    <a:lnTo>
                      <a:pt x="528" y="66"/>
                    </a:lnTo>
                    <a:lnTo>
                      <a:pt x="524" y="66"/>
                    </a:lnTo>
                    <a:lnTo>
                      <a:pt x="518" y="68"/>
                    </a:lnTo>
                    <a:lnTo>
                      <a:pt x="510" y="70"/>
                    </a:lnTo>
                    <a:lnTo>
                      <a:pt x="506" y="70"/>
                    </a:lnTo>
                    <a:lnTo>
                      <a:pt x="500" y="66"/>
                    </a:lnTo>
                    <a:lnTo>
                      <a:pt x="500" y="66"/>
                    </a:lnTo>
                    <a:lnTo>
                      <a:pt x="488" y="56"/>
                    </a:lnTo>
                    <a:lnTo>
                      <a:pt x="482" y="52"/>
                    </a:lnTo>
                    <a:lnTo>
                      <a:pt x="474" y="50"/>
                    </a:lnTo>
                    <a:lnTo>
                      <a:pt x="466" y="50"/>
                    </a:lnTo>
                    <a:lnTo>
                      <a:pt x="456" y="52"/>
                    </a:lnTo>
                    <a:lnTo>
                      <a:pt x="444" y="58"/>
                    </a:lnTo>
                    <a:lnTo>
                      <a:pt x="432" y="68"/>
                    </a:lnTo>
                    <a:lnTo>
                      <a:pt x="432" y="68"/>
                    </a:lnTo>
                    <a:lnTo>
                      <a:pt x="418" y="78"/>
                    </a:lnTo>
                    <a:lnTo>
                      <a:pt x="404" y="82"/>
                    </a:lnTo>
                    <a:lnTo>
                      <a:pt x="392" y="84"/>
                    </a:lnTo>
                    <a:lnTo>
                      <a:pt x="378" y="84"/>
                    </a:lnTo>
                    <a:lnTo>
                      <a:pt x="364" y="84"/>
                    </a:lnTo>
                    <a:lnTo>
                      <a:pt x="348" y="86"/>
                    </a:lnTo>
                    <a:lnTo>
                      <a:pt x="330" y="94"/>
                    </a:lnTo>
                    <a:lnTo>
                      <a:pt x="310" y="106"/>
                    </a:lnTo>
                    <a:lnTo>
                      <a:pt x="310" y="106"/>
                    </a:lnTo>
                    <a:lnTo>
                      <a:pt x="300" y="114"/>
                    </a:lnTo>
                    <a:lnTo>
                      <a:pt x="290" y="120"/>
                    </a:lnTo>
                    <a:lnTo>
                      <a:pt x="282" y="122"/>
                    </a:lnTo>
                    <a:lnTo>
                      <a:pt x="274" y="124"/>
                    </a:lnTo>
                    <a:lnTo>
                      <a:pt x="260" y="126"/>
                    </a:lnTo>
                    <a:lnTo>
                      <a:pt x="250" y="124"/>
                    </a:lnTo>
                    <a:lnTo>
                      <a:pt x="240" y="124"/>
                    </a:lnTo>
                    <a:lnTo>
                      <a:pt x="236" y="124"/>
                    </a:lnTo>
                    <a:lnTo>
                      <a:pt x="230" y="126"/>
                    </a:lnTo>
                    <a:lnTo>
                      <a:pt x="226" y="130"/>
                    </a:lnTo>
                    <a:lnTo>
                      <a:pt x="222" y="134"/>
                    </a:lnTo>
                    <a:lnTo>
                      <a:pt x="212" y="152"/>
                    </a:lnTo>
                    <a:lnTo>
                      <a:pt x="212" y="152"/>
                    </a:lnTo>
                    <a:lnTo>
                      <a:pt x="202" y="172"/>
                    </a:lnTo>
                    <a:lnTo>
                      <a:pt x="192" y="188"/>
                    </a:lnTo>
                    <a:lnTo>
                      <a:pt x="182" y="202"/>
                    </a:lnTo>
                    <a:lnTo>
                      <a:pt x="172" y="212"/>
                    </a:lnTo>
                    <a:lnTo>
                      <a:pt x="158" y="220"/>
                    </a:lnTo>
                    <a:lnTo>
                      <a:pt x="142" y="224"/>
                    </a:lnTo>
                    <a:lnTo>
                      <a:pt x="122" y="228"/>
                    </a:lnTo>
                    <a:lnTo>
                      <a:pt x="96" y="228"/>
                    </a:lnTo>
                    <a:lnTo>
                      <a:pt x="96" y="228"/>
                    </a:lnTo>
                    <a:lnTo>
                      <a:pt x="84" y="230"/>
                    </a:lnTo>
                    <a:lnTo>
                      <a:pt x="78" y="232"/>
                    </a:lnTo>
                    <a:lnTo>
                      <a:pt x="74" y="236"/>
                    </a:lnTo>
                    <a:lnTo>
                      <a:pt x="74" y="240"/>
                    </a:lnTo>
                    <a:lnTo>
                      <a:pt x="74" y="244"/>
                    </a:lnTo>
                    <a:lnTo>
                      <a:pt x="72" y="250"/>
                    </a:lnTo>
                    <a:lnTo>
                      <a:pt x="66" y="254"/>
                    </a:lnTo>
                    <a:lnTo>
                      <a:pt x="58" y="258"/>
                    </a:lnTo>
                    <a:lnTo>
                      <a:pt x="58" y="258"/>
                    </a:lnTo>
                    <a:lnTo>
                      <a:pt x="54" y="260"/>
                    </a:lnTo>
                    <a:lnTo>
                      <a:pt x="52" y="262"/>
                    </a:lnTo>
                    <a:lnTo>
                      <a:pt x="54" y="266"/>
                    </a:lnTo>
                    <a:lnTo>
                      <a:pt x="58" y="268"/>
                    </a:lnTo>
                    <a:lnTo>
                      <a:pt x="72" y="274"/>
                    </a:lnTo>
                    <a:lnTo>
                      <a:pt x="92" y="282"/>
                    </a:lnTo>
                    <a:lnTo>
                      <a:pt x="114" y="292"/>
                    </a:lnTo>
                    <a:lnTo>
                      <a:pt x="136" y="304"/>
                    </a:lnTo>
                    <a:lnTo>
                      <a:pt x="156" y="318"/>
                    </a:lnTo>
                    <a:lnTo>
                      <a:pt x="162" y="326"/>
                    </a:lnTo>
                    <a:lnTo>
                      <a:pt x="168" y="334"/>
                    </a:lnTo>
                    <a:lnTo>
                      <a:pt x="168" y="334"/>
                    </a:lnTo>
                    <a:lnTo>
                      <a:pt x="172" y="342"/>
                    </a:lnTo>
                    <a:lnTo>
                      <a:pt x="176" y="346"/>
                    </a:lnTo>
                    <a:lnTo>
                      <a:pt x="186" y="354"/>
                    </a:lnTo>
                    <a:lnTo>
                      <a:pt x="196" y="356"/>
                    </a:lnTo>
                    <a:lnTo>
                      <a:pt x="206" y="356"/>
                    </a:lnTo>
                    <a:lnTo>
                      <a:pt x="212" y="356"/>
                    </a:lnTo>
                    <a:lnTo>
                      <a:pt x="218" y="356"/>
                    </a:lnTo>
                    <a:lnTo>
                      <a:pt x="220" y="356"/>
                    </a:lnTo>
                    <a:lnTo>
                      <a:pt x="222" y="358"/>
                    </a:lnTo>
                    <a:lnTo>
                      <a:pt x="220" y="364"/>
                    </a:lnTo>
                    <a:lnTo>
                      <a:pt x="220" y="364"/>
                    </a:lnTo>
                    <a:lnTo>
                      <a:pt x="220" y="372"/>
                    </a:lnTo>
                    <a:lnTo>
                      <a:pt x="220" y="376"/>
                    </a:lnTo>
                    <a:lnTo>
                      <a:pt x="224" y="378"/>
                    </a:lnTo>
                    <a:lnTo>
                      <a:pt x="228" y="380"/>
                    </a:lnTo>
                    <a:lnTo>
                      <a:pt x="232" y="380"/>
                    </a:lnTo>
                    <a:lnTo>
                      <a:pt x="236" y="382"/>
                    </a:lnTo>
                    <a:lnTo>
                      <a:pt x="240" y="386"/>
                    </a:lnTo>
                    <a:lnTo>
                      <a:pt x="242" y="392"/>
                    </a:lnTo>
                    <a:lnTo>
                      <a:pt x="242" y="392"/>
                    </a:lnTo>
                    <a:lnTo>
                      <a:pt x="244" y="400"/>
                    </a:lnTo>
                    <a:lnTo>
                      <a:pt x="248" y="402"/>
                    </a:lnTo>
                    <a:lnTo>
                      <a:pt x="254" y="404"/>
                    </a:lnTo>
                    <a:lnTo>
                      <a:pt x="260" y="402"/>
                    </a:lnTo>
                    <a:lnTo>
                      <a:pt x="266" y="402"/>
                    </a:lnTo>
                    <a:lnTo>
                      <a:pt x="270" y="402"/>
                    </a:lnTo>
                    <a:lnTo>
                      <a:pt x="274" y="404"/>
                    </a:lnTo>
                    <a:lnTo>
                      <a:pt x="276" y="410"/>
                    </a:lnTo>
                    <a:lnTo>
                      <a:pt x="276" y="410"/>
                    </a:lnTo>
                    <a:lnTo>
                      <a:pt x="274" y="418"/>
                    </a:lnTo>
                    <a:lnTo>
                      <a:pt x="272" y="418"/>
                    </a:lnTo>
                    <a:lnTo>
                      <a:pt x="270" y="418"/>
                    </a:lnTo>
                    <a:lnTo>
                      <a:pt x="266" y="416"/>
                    </a:lnTo>
                    <a:lnTo>
                      <a:pt x="262" y="416"/>
                    </a:lnTo>
                    <a:lnTo>
                      <a:pt x="258" y="418"/>
                    </a:lnTo>
                    <a:lnTo>
                      <a:pt x="252" y="424"/>
                    </a:lnTo>
                    <a:lnTo>
                      <a:pt x="252" y="424"/>
                    </a:lnTo>
                    <a:lnTo>
                      <a:pt x="250" y="426"/>
                    </a:lnTo>
                    <a:lnTo>
                      <a:pt x="248" y="426"/>
                    </a:lnTo>
                    <a:lnTo>
                      <a:pt x="240" y="422"/>
                    </a:lnTo>
                    <a:lnTo>
                      <a:pt x="234" y="420"/>
                    </a:lnTo>
                    <a:lnTo>
                      <a:pt x="224" y="420"/>
                    </a:lnTo>
                    <a:lnTo>
                      <a:pt x="212" y="420"/>
                    </a:lnTo>
                    <a:lnTo>
                      <a:pt x="194" y="422"/>
                    </a:lnTo>
                    <a:lnTo>
                      <a:pt x="194" y="422"/>
                    </a:lnTo>
                    <a:lnTo>
                      <a:pt x="186" y="422"/>
                    </a:lnTo>
                    <a:lnTo>
                      <a:pt x="180" y="420"/>
                    </a:lnTo>
                    <a:lnTo>
                      <a:pt x="176" y="418"/>
                    </a:lnTo>
                    <a:lnTo>
                      <a:pt x="174" y="416"/>
                    </a:lnTo>
                    <a:lnTo>
                      <a:pt x="174" y="408"/>
                    </a:lnTo>
                    <a:lnTo>
                      <a:pt x="176" y="398"/>
                    </a:lnTo>
                    <a:lnTo>
                      <a:pt x="176" y="390"/>
                    </a:lnTo>
                    <a:lnTo>
                      <a:pt x="174" y="388"/>
                    </a:lnTo>
                    <a:lnTo>
                      <a:pt x="172" y="384"/>
                    </a:lnTo>
                    <a:lnTo>
                      <a:pt x="168" y="384"/>
                    </a:lnTo>
                    <a:lnTo>
                      <a:pt x="162" y="384"/>
                    </a:lnTo>
                    <a:lnTo>
                      <a:pt x="140" y="388"/>
                    </a:lnTo>
                    <a:lnTo>
                      <a:pt x="140" y="388"/>
                    </a:lnTo>
                    <a:lnTo>
                      <a:pt x="116" y="396"/>
                    </a:lnTo>
                    <a:lnTo>
                      <a:pt x="92" y="406"/>
                    </a:lnTo>
                    <a:lnTo>
                      <a:pt x="56" y="424"/>
                    </a:lnTo>
                    <a:lnTo>
                      <a:pt x="28" y="440"/>
                    </a:lnTo>
                    <a:lnTo>
                      <a:pt x="18" y="444"/>
                    </a:lnTo>
                    <a:lnTo>
                      <a:pt x="10" y="446"/>
                    </a:lnTo>
                    <a:lnTo>
                      <a:pt x="10" y="446"/>
                    </a:lnTo>
                    <a:lnTo>
                      <a:pt x="4" y="448"/>
                    </a:lnTo>
                    <a:lnTo>
                      <a:pt x="0" y="452"/>
                    </a:lnTo>
                    <a:lnTo>
                      <a:pt x="0" y="456"/>
                    </a:lnTo>
                    <a:lnTo>
                      <a:pt x="2" y="460"/>
                    </a:lnTo>
                    <a:lnTo>
                      <a:pt x="8" y="466"/>
                    </a:lnTo>
                    <a:lnTo>
                      <a:pt x="16" y="470"/>
                    </a:lnTo>
                    <a:lnTo>
                      <a:pt x="28" y="472"/>
                    </a:lnTo>
                    <a:lnTo>
                      <a:pt x="42" y="474"/>
                    </a:lnTo>
                    <a:lnTo>
                      <a:pt x="42" y="474"/>
                    </a:lnTo>
                    <a:lnTo>
                      <a:pt x="54" y="474"/>
                    </a:lnTo>
                    <a:lnTo>
                      <a:pt x="60" y="478"/>
                    </a:lnTo>
                    <a:lnTo>
                      <a:pt x="58" y="480"/>
                    </a:lnTo>
                    <a:lnTo>
                      <a:pt x="56" y="484"/>
                    </a:lnTo>
                    <a:lnTo>
                      <a:pt x="52" y="488"/>
                    </a:lnTo>
                    <a:lnTo>
                      <a:pt x="50" y="492"/>
                    </a:lnTo>
                    <a:lnTo>
                      <a:pt x="50" y="498"/>
                    </a:lnTo>
                    <a:lnTo>
                      <a:pt x="56" y="502"/>
                    </a:lnTo>
                    <a:lnTo>
                      <a:pt x="56" y="502"/>
                    </a:lnTo>
                    <a:lnTo>
                      <a:pt x="64" y="506"/>
                    </a:lnTo>
                    <a:lnTo>
                      <a:pt x="66" y="512"/>
                    </a:lnTo>
                    <a:lnTo>
                      <a:pt x="68" y="520"/>
                    </a:lnTo>
                    <a:lnTo>
                      <a:pt x="70" y="524"/>
                    </a:lnTo>
                    <a:lnTo>
                      <a:pt x="74" y="528"/>
                    </a:lnTo>
                    <a:lnTo>
                      <a:pt x="82" y="532"/>
                    </a:lnTo>
                    <a:lnTo>
                      <a:pt x="94" y="534"/>
                    </a:lnTo>
                    <a:lnTo>
                      <a:pt x="94" y="534"/>
                    </a:lnTo>
                    <a:lnTo>
                      <a:pt x="110" y="534"/>
                    </a:lnTo>
                    <a:lnTo>
                      <a:pt x="122" y="534"/>
                    </a:lnTo>
                    <a:lnTo>
                      <a:pt x="144" y="528"/>
                    </a:lnTo>
                    <a:lnTo>
                      <a:pt x="154" y="526"/>
                    </a:lnTo>
                    <a:lnTo>
                      <a:pt x="166" y="526"/>
                    </a:lnTo>
                    <a:lnTo>
                      <a:pt x="176" y="528"/>
                    </a:lnTo>
                    <a:lnTo>
                      <a:pt x="190" y="534"/>
                    </a:lnTo>
                    <a:lnTo>
                      <a:pt x="190" y="534"/>
                    </a:lnTo>
                    <a:lnTo>
                      <a:pt x="198" y="536"/>
                    </a:lnTo>
                    <a:lnTo>
                      <a:pt x="204" y="538"/>
                    </a:lnTo>
                    <a:lnTo>
                      <a:pt x="210" y="538"/>
                    </a:lnTo>
                    <a:lnTo>
                      <a:pt x="218" y="536"/>
                    </a:lnTo>
                    <a:lnTo>
                      <a:pt x="230" y="530"/>
                    </a:lnTo>
                    <a:lnTo>
                      <a:pt x="242" y="522"/>
                    </a:lnTo>
                    <a:lnTo>
                      <a:pt x="254" y="512"/>
                    </a:lnTo>
                    <a:lnTo>
                      <a:pt x="266" y="506"/>
                    </a:lnTo>
                    <a:lnTo>
                      <a:pt x="270" y="506"/>
                    </a:lnTo>
                    <a:lnTo>
                      <a:pt x="276" y="506"/>
                    </a:lnTo>
                    <a:lnTo>
                      <a:pt x="280" y="508"/>
                    </a:lnTo>
                    <a:lnTo>
                      <a:pt x="286" y="510"/>
                    </a:lnTo>
                    <a:lnTo>
                      <a:pt x="286" y="510"/>
                    </a:lnTo>
                    <a:lnTo>
                      <a:pt x="290" y="516"/>
                    </a:lnTo>
                    <a:lnTo>
                      <a:pt x="290" y="518"/>
                    </a:lnTo>
                    <a:lnTo>
                      <a:pt x="290" y="522"/>
                    </a:lnTo>
                    <a:lnTo>
                      <a:pt x="288" y="524"/>
                    </a:lnTo>
                    <a:lnTo>
                      <a:pt x="282" y="526"/>
                    </a:lnTo>
                    <a:lnTo>
                      <a:pt x="272" y="528"/>
                    </a:lnTo>
                    <a:lnTo>
                      <a:pt x="264" y="530"/>
                    </a:lnTo>
                    <a:lnTo>
                      <a:pt x="260" y="534"/>
                    </a:lnTo>
                    <a:lnTo>
                      <a:pt x="260" y="536"/>
                    </a:lnTo>
                    <a:lnTo>
                      <a:pt x="262" y="538"/>
                    </a:lnTo>
                    <a:lnTo>
                      <a:pt x="274" y="544"/>
                    </a:lnTo>
                    <a:lnTo>
                      <a:pt x="274" y="544"/>
                    </a:lnTo>
                    <a:lnTo>
                      <a:pt x="280" y="550"/>
                    </a:lnTo>
                    <a:lnTo>
                      <a:pt x="286" y="554"/>
                    </a:lnTo>
                    <a:lnTo>
                      <a:pt x="290" y="558"/>
                    </a:lnTo>
                    <a:lnTo>
                      <a:pt x="292" y="564"/>
                    </a:lnTo>
                    <a:lnTo>
                      <a:pt x="292" y="570"/>
                    </a:lnTo>
                    <a:lnTo>
                      <a:pt x="292" y="574"/>
                    </a:lnTo>
                    <a:lnTo>
                      <a:pt x="288" y="584"/>
                    </a:lnTo>
                    <a:lnTo>
                      <a:pt x="280" y="592"/>
                    </a:lnTo>
                    <a:lnTo>
                      <a:pt x="270" y="598"/>
                    </a:lnTo>
                    <a:lnTo>
                      <a:pt x="258" y="600"/>
                    </a:lnTo>
                    <a:lnTo>
                      <a:pt x="244" y="598"/>
                    </a:lnTo>
                    <a:lnTo>
                      <a:pt x="244" y="598"/>
                    </a:lnTo>
                    <a:lnTo>
                      <a:pt x="240" y="598"/>
                    </a:lnTo>
                    <a:lnTo>
                      <a:pt x="234" y="598"/>
                    </a:lnTo>
                    <a:lnTo>
                      <a:pt x="226" y="602"/>
                    </a:lnTo>
                    <a:lnTo>
                      <a:pt x="220" y="610"/>
                    </a:lnTo>
                    <a:lnTo>
                      <a:pt x="214" y="618"/>
                    </a:lnTo>
                    <a:lnTo>
                      <a:pt x="210" y="624"/>
                    </a:lnTo>
                    <a:lnTo>
                      <a:pt x="202" y="630"/>
                    </a:lnTo>
                    <a:lnTo>
                      <a:pt x="198" y="630"/>
                    </a:lnTo>
                    <a:lnTo>
                      <a:pt x="192" y="630"/>
                    </a:lnTo>
                    <a:lnTo>
                      <a:pt x="186" y="628"/>
                    </a:lnTo>
                    <a:lnTo>
                      <a:pt x="180" y="624"/>
                    </a:lnTo>
                    <a:lnTo>
                      <a:pt x="180" y="624"/>
                    </a:lnTo>
                    <a:lnTo>
                      <a:pt x="172" y="620"/>
                    </a:lnTo>
                    <a:lnTo>
                      <a:pt x="166" y="618"/>
                    </a:lnTo>
                    <a:lnTo>
                      <a:pt x="160" y="618"/>
                    </a:lnTo>
                    <a:lnTo>
                      <a:pt x="154" y="620"/>
                    </a:lnTo>
                    <a:lnTo>
                      <a:pt x="144" y="626"/>
                    </a:lnTo>
                    <a:lnTo>
                      <a:pt x="136" y="636"/>
                    </a:lnTo>
                    <a:lnTo>
                      <a:pt x="124" y="658"/>
                    </a:lnTo>
                    <a:lnTo>
                      <a:pt x="118" y="666"/>
                    </a:lnTo>
                    <a:lnTo>
                      <a:pt x="112" y="672"/>
                    </a:lnTo>
                    <a:lnTo>
                      <a:pt x="112" y="672"/>
                    </a:lnTo>
                    <a:lnTo>
                      <a:pt x="106" y="674"/>
                    </a:lnTo>
                    <a:lnTo>
                      <a:pt x="102" y="678"/>
                    </a:lnTo>
                    <a:lnTo>
                      <a:pt x="96" y="690"/>
                    </a:lnTo>
                    <a:lnTo>
                      <a:pt x="92" y="702"/>
                    </a:lnTo>
                    <a:lnTo>
                      <a:pt x="88" y="708"/>
                    </a:lnTo>
                    <a:lnTo>
                      <a:pt x="82" y="712"/>
                    </a:lnTo>
                    <a:lnTo>
                      <a:pt x="82" y="712"/>
                    </a:lnTo>
                    <a:lnTo>
                      <a:pt x="76" y="716"/>
                    </a:lnTo>
                    <a:lnTo>
                      <a:pt x="74" y="720"/>
                    </a:lnTo>
                    <a:lnTo>
                      <a:pt x="74" y="726"/>
                    </a:lnTo>
                    <a:lnTo>
                      <a:pt x="76" y="730"/>
                    </a:lnTo>
                    <a:lnTo>
                      <a:pt x="88" y="740"/>
                    </a:lnTo>
                    <a:lnTo>
                      <a:pt x="108" y="756"/>
                    </a:lnTo>
                    <a:lnTo>
                      <a:pt x="108" y="756"/>
                    </a:lnTo>
                    <a:lnTo>
                      <a:pt x="116" y="764"/>
                    </a:lnTo>
                    <a:lnTo>
                      <a:pt x="118" y="772"/>
                    </a:lnTo>
                    <a:lnTo>
                      <a:pt x="118" y="778"/>
                    </a:lnTo>
                    <a:lnTo>
                      <a:pt x="116" y="784"/>
                    </a:lnTo>
                    <a:lnTo>
                      <a:pt x="114" y="790"/>
                    </a:lnTo>
                    <a:lnTo>
                      <a:pt x="112" y="794"/>
                    </a:lnTo>
                    <a:lnTo>
                      <a:pt x="112" y="800"/>
                    </a:lnTo>
                    <a:lnTo>
                      <a:pt x="116" y="804"/>
                    </a:lnTo>
                    <a:lnTo>
                      <a:pt x="116" y="804"/>
                    </a:lnTo>
                    <a:lnTo>
                      <a:pt x="132" y="818"/>
                    </a:lnTo>
                    <a:lnTo>
                      <a:pt x="148" y="834"/>
                    </a:lnTo>
                    <a:lnTo>
                      <a:pt x="158" y="840"/>
                    </a:lnTo>
                    <a:lnTo>
                      <a:pt x="168" y="844"/>
                    </a:lnTo>
                    <a:lnTo>
                      <a:pt x="180" y="844"/>
                    </a:lnTo>
                    <a:lnTo>
                      <a:pt x="194" y="840"/>
                    </a:lnTo>
                    <a:lnTo>
                      <a:pt x="194" y="840"/>
                    </a:lnTo>
                    <a:lnTo>
                      <a:pt x="208" y="836"/>
                    </a:lnTo>
                    <a:lnTo>
                      <a:pt x="218" y="834"/>
                    </a:lnTo>
                    <a:lnTo>
                      <a:pt x="228" y="836"/>
                    </a:lnTo>
                    <a:lnTo>
                      <a:pt x="234" y="838"/>
                    </a:lnTo>
                    <a:lnTo>
                      <a:pt x="240" y="842"/>
                    </a:lnTo>
                    <a:lnTo>
                      <a:pt x="242" y="848"/>
                    </a:lnTo>
                    <a:lnTo>
                      <a:pt x="242" y="858"/>
                    </a:lnTo>
                    <a:lnTo>
                      <a:pt x="238" y="868"/>
                    </a:lnTo>
                    <a:lnTo>
                      <a:pt x="238" y="868"/>
                    </a:lnTo>
                    <a:lnTo>
                      <a:pt x="236" y="878"/>
                    </a:lnTo>
                    <a:lnTo>
                      <a:pt x="236" y="884"/>
                    </a:lnTo>
                    <a:lnTo>
                      <a:pt x="238" y="888"/>
                    </a:lnTo>
                    <a:lnTo>
                      <a:pt x="242" y="890"/>
                    </a:lnTo>
                    <a:lnTo>
                      <a:pt x="244" y="892"/>
                    </a:lnTo>
                    <a:lnTo>
                      <a:pt x="246" y="896"/>
                    </a:lnTo>
                    <a:lnTo>
                      <a:pt x="246" y="900"/>
                    </a:lnTo>
                    <a:lnTo>
                      <a:pt x="244" y="908"/>
                    </a:lnTo>
                    <a:lnTo>
                      <a:pt x="244" y="908"/>
                    </a:lnTo>
                    <a:lnTo>
                      <a:pt x="242" y="918"/>
                    </a:lnTo>
                    <a:lnTo>
                      <a:pt x="244" y="922"/>
                    </a:lnTo>
                    <a:lnTo>
                      <a:pt x="248" y="924"/>
                    </a:lnTo>
                    <a:lnTo>
                      <a:pt x="254" y="924"/>
                    </a:lnTo>
                    <a:lnTo>
                      <a:pt x="262" y="920"/>
                    </a:lnTo>
                    <a:lnTo>
                      <a:pt x="270" y="916"/>
                    </a:lnTo>
                    <a:lnTo>
                      <a:pt x="284" y="904"/>
                    </a:lnTo>
                    <a:lnTo>
                      <a:pt x="284" y="904"/>
                    </a:lnTo>
                    <a:lnTo>
                      <a:pt x="292" y="900"/>
                    </a:lnTo>
                    <a:lnTo>
                      <a:pt x="300" y="898"/>
                    </a:lnTo>
                    <a:lnTo>
                      <a:pt x="308" y="898"/>
                    </a:lnTo>
                    <a:lnTo>
                      <a:pt x="316" y="902"/>
                    </a:lnTo>
                    <a:lnTo>
                      <a:pt x="326" y="906"/>
                    </a:lnTo>
                    <a:lnTo>
                      <a:pt x="336" y="912"/>
                    </a:lnTo>
                    <a:lnTo>
                      <a:pt x="352" y="926"/>
                    </a:lnTo>
                    <a:lnTo>
                      <a:pt x="352" y="926"/>
                    </a:lnTo>
                    <a:lnTo>
                      <a:pt x="358" y="930"/>
                    </a:lnTo>
                    <a:lnTo>
                      <a:pt x="362" y="932"/>
                    </a:lnTo>
                    <a:lnTo>
                      <a:pt x="366" y="930"/>
                    </a:lnTo>
                    <a:lnTo>
                      <a:pt x="370" y="926"/>
                    </a:lnTo>
                    <a:lnTo>
                      <a:pt x="376" y="918"/>
                    </a:lnTo>
                    <a:lnTo>
                      <a:pt x="380" y="916"/>
                    </a:lnTo>
                    <a:lnTo>
                      <a:pt x="386" y="918"/>
                    </a:lnTo>
                    <a:lnTo>
                      <a:pt x="386" y="918"/>
                    </a:lnTo>
                    <a:lnTo>
                      <a:pt x="392" y="920"/>
                    </a:lnTo>
                    <a:lnTo>
                      <a:pt x="402" y="918"/>
                    </a:lnTo>
                    <a:lnTo>
                      <a:pt x="420" y="912"/>
                    </a:lnTo>
                    <a:lnTo>
                      <a:pt x="432" y="908"/>
                    </a:lnTo>
                    <a:lnTo>
                      <a:pt x="432" y="908"/>
                    </a:lnTo>
                    <a:lnTo>
                      <a:pt x="432" y="910"/>
                    </a:lnTo>
                    <a:lnTo>
                      <a:pt x="430" y="916"/>
                    </a:lnTo>
                    <a:lnTo>
                      <a:pt x="430" y="916"/>
                    </a:lnTo>
                    <a:lnTo>
                      <a:pt x="418" y="932"/>
                    </a:lnTo>
                    <a:lnTo>
                      <a:pt x="412" y="946"/>
                    </a:lnTo>
                    <a:lnTo>
                      <a:pt x="410" y="962"/>
                    </a:lnTo>
                    <a:lnTo>
                      <a:pt x="410" y="978"/>
                    </a:lnTo>
                    <a:lnTo>
                      <a:pt x="410" y="978"/>
                    </a:lnTo>
                    <a:lnTo>
                      <a:pt x="408" y="986"/>
                    </a:lnTo>
                    <a:lnTo>
                      <a:pt x="406" y="990"/>
                    </a:lnTo>
                    <a:lnTo>
                      <a:pt x="402" y="992"/>
                    </a:lnTo>
                    <a:lnTo>
                      <a:pt x="396" y="994"/>
                    </a:lnTo>
                    <a:lnTo>
                      <a:pt x="392" y="998"/>
                    </a:lnTo>
                    <a:lnTo>
                      <a:pt x="386" y="1000"/>
                    </a:lnTo>
                    <a:lnTo>
                      <a:pt x="380" y="1008"/>
                    </a:lnTo>
                    <a:lnTo>
                      <a:pt x="374" y="1018"/>
                    </a:lnTo>
                    <a:lnTo>
                      <a:pt x="374" y="1018"/>
                    </a:lnTo>
                    <a:lnTo>
                      <a:pt x="368" y="1028"/>
                    </a:lnTo>
                    <a:lnTo>
                      <a:pt x="360" y="1036"/>
                    </a:lnTo>
                    <a:lnTo>
                      <a:pt x="352" y="1040"/>
                    </a:lnTo>
                    <a:lnTo>
                      <a:pt x="342" y="1044"/>
                    </a:lnTo>
                    <a:lnTo>
                      <a:pt x="332" y="1048"/>
                    </a:lnTo>
                    <a:lnTo>
                      <a:pt x="324" y="1054"/>
                    </a:lnTo>
                    <a:lnTo>
                      <a:pt x="314" y="1060"/>
                    </a:lnTo>
                    <a:lnTo>
                      <a:pt x="306" y="1072"/>
                    </a:lnTo>
                    <a:lnTo>
                      <a:pt x="306" y="1072"/>
                    </a:lnTo>
                    <a:lnTo>
                      <a:pt x="300" y="1082"/>
                    </a:lnTo>
                    <a:lnTo>
                      <a:pt x="296" y="1088"/>
                    </a:lnTo>
                    <a:lnTo>
                      <a:pt x="292" y="1090"/>
                    </a:lnTo>
                    <a:lnTo>
                      <a:pt x="288" y="1088"/>
                    </a:lnTo>
                    <a:lnTo>
                      <a:pt x="276" y="1086"/>
                    </a:lnTo>
                    <a:lnTo>
                      <a:pt x="268" y="1088"/>
                    </a:lnTo>
                    <a:lnTo>
                      <a:pt x="254" y="1090"/>
                    </a:lnTo>
                    <a:lnTo>
                      <a:pt x="254" y="1090"/>
                    </a:lnTo>
                    <a:lnTo>
                      <a:pt x="244" y="1096"/>
                    </a:lnTo>
                    <a:lnTo>
                      <a:pt x="236" y="1100"/>
                    </a:lnTo>
                    <a:lnTo>
                      <a:pt x="232" y="1104"/>
                    </a:lnTo>
                    <a:lnTo>
                      <a:pt x="228" y="1110"/>
                    </a:lnTo>
                    <a:lnTo>
                      <a:pt x="222" y="1118"/>
                    </a:lnTo>
                    <a:lnTo>
                      <a:pt x="218" y="1124"/>
                    </a:lnTo>
                    <a:lnTo>
                      <a:pt x="210" y="1128"/>
                    </a:lnTo>
                    <a:lnTo>
                      <a:pt x="210" y="1128"/>
                    </a:lnTo>
                    <a:lnTo>
                      <a:pt x="200" y="1132"/>
                    </a:lnTo>
                    <a:lnTo>
                      <a:pt x="194" y="1138"/>
                    </a:lnTo>
                    <a:lnTo>
                      <a:pt x="188" y="1144"/>
                    </a:lnTo>
                    <a:lnTo>
                      <a:pt x="186" y="1148"/>
                    </a:lnTo>
                    <a:lnTo>
                      <a:pt x="188" y="1152"/>
                    </a:lnTo>
                    <a:lnTo>
                      <a:pt x="192" y="1154"/>
                    </a:lnTo>
                    <a:lnTo>
                      <a:pt x="200" y="1154"/>
                    </a:lnTo>
                    <a:lnTo>
                      <a:pt x="212" y="1150"/>
                    </a:lnTo>
                    <a:lnTo>
                      <a:pt x="212" y="1150"/>
                    </a:lnTo>
                    <a:lnTo>
                      <a:pt x="224" y="1144"/>
                    </a:lnTo>
                    <a:lnTo>
                      <a:pt x="234" y="1138"/>
                    </a:lnTo>
                    <a:lnTo>
                      <a:pt x="248" y="1124"/>
                    </a:lnTo>
                    <a:lnTo>
                      <a:pt x="256" y="1116"/>
                    </a:lnTo>
                    <a:lnTo>
                      <a:pt x="258" y="1116"/>
                    </a:lnTo>
                    <a:lnTo>
                      <a:pt x="262" y="1120"/>
                    </a:lnTo>
                    <a:lnTo>
                      <a:pt x="262" y="1120"/>
                    </a:lnTo>
                    <a:lnTo>
                      <a:pt x="266" y="1124"/>
                    </a:lnTo>
                    <a:lnTo>
                      <a:pt x="270" y="1124"/>
                    </a:lnTo>
                    <a:lnTo>
                      <a:pt x="278" y="1122"/>
                    </a:lnTo>
                    <a:lnTo>
                      <a:pt x="282" y="1120"/>
                    </a:lnTo>
                    <a:lnTo>
                      <a:pt x="284" y="1120"/>
                    </a:lnTo>
                    <a:lnTo>
                      <a:pt x="288" y="1124"/>
                    </a:lnTo>
                    <a:lnTo>
                      <a:pt x="290" y="1128"/>
                    </a:lnTo>
                    <a:lnTo>
                      <a:pt x="290" y="1128"/>
                    </a:lnTo>
                    <a:lnTo>
                      <a:pt x="292" y="1136"/>
                    </a:lnTo>
                    <a:lnTo>
                      <a:pt x="296" y="1138"/>
                    </a:lnTo>
                    <a:lnTo>
                      <a:pt x="298" y="1140"/>
                    </a:lnTo>
                    <a:lnTo>
                      <a:pt x="302" y="1138"/>
                    </a:lnTo>
                    <a:lnTo>
                      <a:pt x="306" y="1136"/>
                    </a:lnTo>
                    <a:lnTo>
                      <a:pt x="308" y="1130"/>
                    </a:lnTo>
                    <a:lnTo>
                      <a:pt x="308" y="1126"/>
                    </a:lnTo>
                    <a:lnTo>
                      <a:pt x="306" y="1120"/>
                    </a:lnTo>
                    <a:lnTo>
                      <a:pt x="306" y="1120"/>
                    </a:lnTo>
                    <a:lnTo>
                      <a:pt x="306" y="1114"/>
                    </a:lnTo>
                    <a:lnTo>
                      <a:pt x="308" y="1110"/>
                    </a:lnTo>
                    <a:lnTo>
                      <a:pt x="312" y="1106"/>
                    </a:lnTo>
                    <a:lnTo>
                      <a:pt x="316" y="1102"/>
                    </a:lnTo>
                    <a:lnTo>
                      <a:pt x="322" y="1100"/>
                    </a:lnTo>
                    <a:lnTo>
                      <a:pt x="328" y="1100"/>
                    </a:lnTo>
                    <a:lnTo>
                      <a:pt x="332" y="1102"/>
                    </a:lnTo>
                    <a:lnTo>
                      <a:pt x="334" y="1108"/>
                    </a:lnTo>
                    <a:lnTo>
                      <a:pt x="334" y="1108"/>
                    </a:lnTo>
                    <a:lnTo>
                      <a:pt x="334" y="1110"/>
                    </a:lnTo>
                    <a:lnTo>
                      <a:pt x="336" y="1110"/>
                    </a:lnTo>
                    <a:lnTo>
                      <a:pt x="340" y="1110"/>
                    </a:lnTo>
                    <a:lnTo>
                      <a:pt x="354" y="1100"/>
                    </a:lnTo>
                    <a:lnTo>
                      <a:pt x="372" y="1088"/>
                    </a:lnTo>
                    <a:lnTo>
                      <a:pt x="380" y="1084"/>
                    </a:lnTo>
                    <a:lnTo>
                      <a:pt x="388" y="1082"/>
                    </a:lnTo>
                    <a:lnTo>
                      <a:pt x="388" y="1082"/>
                    </a:lnTo>
                    <a:lnTo>
                      <a:pt x="394" y="1082"/>
                    </a:lnTo>
                    <a:lnTo>
                      <a:pt x="396" y="1080"/>
                    </a:lnTo>
                    <a:lnTo>
                      <a:pt x="394" y="1074"/>
                    </a:lnTo>
                    <a:lnTo>
                      <a:pt x="394" y="1068"/>
                    </a:lnTo>
                    <a:lnTo>
                      <a:pt x="398" y="1062"/>
                    </a:lnTo>
                    <a:lnTo>
                      <a:pt x="408" y="1052"/>
                    </a:lnTo>
                    <a:lnTo>
                      <a:pt x="424" y="1042"/>
                    </a:lnTo>
                    <a:lnTo>
                      <a:pt x="424" y="1042"/>
                    </a:lnTo>
                    <a:lnTo>
                      <a:pt x="440" y="1032"/>
                    </a:lnTo>
                    <a:lnTo>
                      <a:pt x="452" y="1024"/>
                    </a:lnTo>
                    <a:lnTo>
                      <a:pt x="462" y="1016"/>
                    </a:lnTo>
                    <a:lnTo>
                      <a:pt x="468" y="1010"/>
                    </a:lnTo>
                    <a:lnTo>
                      <a:pt x="478" y="998"/>
                    </a:lnTo>
                    <a:lnTo>
                      <a:pt x="484" y="994"/>
                    </a:lnTo>
                    <a:lnTo>
                      <a:pt x="492" y="988"/>
                    </a:lnTo>
                    <a:lnTo>
                      <a:pt x="492" y="988"/>
                    </a:lnTo>
                    <a:lnTo>
                      <a:pt x="516" y="976"/>
                    </a:lnTo>
                    <a:lnTo>
                      <a:pt x="538" y="964"/>
                    </a:lnTo>
                    <a:lnTo>
                      <a:pt x="548" y="956"/>
                    </a:lnTo>
                    <a:lnTo>
                      <a:pt x="556" y="950"/>
                    </a:lnTo>
                    <a:lnTo>
                      <a:pt x="562" y="942"/>
                    </a:lnTo>
                    <a:lnTo>
                      <a:pt x="566" y="934"/>
                    </a:lnTo>
                    <a:lnTo>
                      <a:pt x="566" y="934"/>
                    </a:lnTo>
                    <a:lnTo>
                      <a:pt x="568" y="928"/>
                    </a:lnTo>
                    <a:lnTo>
                      <a:pt x="572" y="922"/>
                    </a:lnTo>
                    <a:lnTo>
                      <a:pt x="580" y="916"/>
                    </a:lnTo>
                    <a:lnTo>
                      <a:pt x="588" y="912"/>
                    </a:lnTo>
                    <a:lnTo>
                      <a:pt x="592" y="906"/>
                    </a:lnTo>
                    <a:lnTo>
                      <a:pt x="592" y="900"/>
                    </a:lnTo>
                    <a:lnTo>
                      <a:pt x="592" y="900"/>
                    </a:lnTo>
                    <a:lnTo>
                      <a:pt x="592" y="898"/>
                    </a:lnTo>
                    <a:lnTo>
                      <a:pt x="590" y="896"/>
                    </a:lnTo>
                    <a:lnTo>
                      <a:pt x="582" y="892"/>
                    </a:lnTo>
                    <a:lnTo>
                      <a:pt x="564" y="892"/>
                    </a:lnTo>
                    <a:lnTo>
                      <a:pt x="556" y="890"/>
                    </a:lnTo>
                    <a:lnTo>
                      <a:pt x="554" y="890"/>
                    </a:lnTo>
                    <a:lnTo>
                      <a:pt x="554" y="888"/>
                    </a:lnTo>
                    <a:lnTo>
                      <a:pt x="554" y="886"/>
                    </a:lnTo>
                    <a:lnTo>
                      <a:pt x="556" y="882"/>
                    </a:lnTo>
                    <a:lnTo>
                      <a:pt x="570" y="870"/>
                    </a:lnTo>
                    <a:lnTo>
                      <a:pt x="570" y="870"/>
                    </a:lnTo>
                    <a:lnTo>
                      <a:pt x="598" y="846"/>
                    </a:lnTo>
                    <a:lnTo>
                      <a:pt x="616" y="828"/>
                    </a:lnTo>
                    <a:lnTo>
                      <a:pt x="630" y="810"/>
                    </a:lnTo>
                    <a:lnTo>
                      <a:pt x="644" y="786"/>
                    </a:lnTo>
                    <a:lnTo>
                      <a:pt x="644" y="786"/>
                    </a:lnTo>
                    <a:lnTo>
                      <a:pt x="654" y="774"/>
                    </a:lnTo>
                    <a:lnTo>
                      <a:pt x="666" y="764"/>
                    </a:lnTo>
                    <a:lnTo>
                      <a:pt x="680" y="756"/>
                    </a:lnTo>
                    <a:lnTo>
                      <a:pt x="694" y="750"/>
                    </a:lnTo>
                    <a:lnTo>
                      <a:pt x="710" y="750"/>
                    </a:lnTo>
                    <a:lnTo>
                      <a:pt x="726" y="752"/>
                    </a:lnTo>
                    <a:lnTo>
                      <a:pt x="742" y="758"/>
                    </a:lnTo>
                    <a:lnTo>
                      <a:pt x="750" y="764"/>
                    </a:lnTo>
                    <a:lnTo>
                      <a:pt x="758" y="770"/>
                    </a:lnTo>
                    <a:lnTo>
                      <a:pt x="758" y="770"/>
                    </a:lnTo>
                    <a:lnTo>
                      <a:pt x="768" y="782"/>
                    </a:lnTo>
                    <a:lnTo>
                      <a:pt x="770" y="784"/>
                    </a:lnTo>
                    <a:lnTo>
                      <a:pt x="770" y="784"/>
                    </a:lnTo>
                    <a:lnTo>
                      <a:pt x="752" y="776"/>
                    </a:lnTo>
                    <a:lnTo>
                      <a:pt x="738" y="768"/>
                    </a:lnTo>
                    <a:lnTo>
                      <a:pt x="720" y="764"/>
                    </a:lnTo>
                    <a:lnTo>
                      <a:pt x="712" y="762"/>
                    </a:lnTo>
                    <a:lnTo>
                      <a:pt x="704" y="762"/>
                    </a:lnTo>
                    <a:lnTo>
                      <a:pt x="696" y="764"/>
                    </a:lnTo>
                    <a:lnTo>
                      <a:pt x="690" y="768"/>
                    </a:lnTo>
                    <a:lnTo>
                      <a:pt x="690" y="768"/>
                    </a:lnTo>
                    <a:lnTo>
                      <a:pt x="680" y="776"/>
                    </a:lnTo>
                    <a:lnTo>
                      <a:pt x="674" y="784"/>
                    </a:lnTo>
                    <a:lnTo>
                      <a:pt x="672" y="790"/>
                    </a:lnTo>
                    <a:lnTo>
                      <a:pt x="672" y="796"/>
                    </a:lnTo>
                    <a:lnTo>
                      <a:pt x="672" y="802"/>
                    </a:lnTo>
                    <a:lnTo>
                      <a:pt x="670" y="810"/>
                    </a:lnTo>
                    <a:lnTo>
                      <a:pt x="666" y="818"/>
                    </a:lnTo>
                    <a:lnTo>
                      <a:pt x="658" y="828"/>
                    </a:lnTo>
                    <a:lnTo>
                      <a:pt x="658" y="828"/>
                    </a:lnTo>
                    <a:lnTo>
                      <a:pt x="652" y="836"/>
                    </a:lnTo>
                    <a:lnTo>
                      <a:pt x="650" y="844"/>
                    </a:lnTo>
                    <a:lnTo>
                      <a:pt x="652" y="848"/>
                    </a:lnTo>
                    <a:lnTo>
                      <a:pt x="656" y="852"/>
                    </a:lnTo>
                    <a:lnTo>
                      <a:pt x="660" y="856"/>
                    </a:lnTo>
                    <a:lnTo>
                      <a:pt x="662" y="858"/>
                    </a:lnTo>
                    <a:lnTo>
                      <a:pt x="662" y="862"/>
                    </a:lnTo>
                    <a:lnTo>
                      <a:pt x="656" y="866"/>
                    </a:lnTo>
                    <a:lnTo>
                      <a:pt x="656" y="866"/>
                    </a:lnTo>
                    <a:lnTo>
                      <a:pt x="646" y="874"/>
                    </a:lnTo>
                    <a:lnTo>
                      <a:pt x="644" y="876"/>
                    </a:lnTo>
                    <a:lnTo>
                      <a:pt x="644" y="878"/>
                    </a:lnTo>
                    <a:lnTo>
                      <a:pt x="646" y="880"/>
                    </a:lnTo>
                    <a:lnTo>
                      <a:pt x="648" y="882"/>
                    </a:lnTo>
                    <a:lnTo>
                      <a:pt x="658" y="884"/>
                    </a:lnTo>
                    <a:lnTo>
                      <a:pt x="670" y="884"/>
                    </a:lnTo>
                    <a:lnTo>
                      <a:pt x="684" y="882"/>
                    </a:lnTo>
                    <a:lnTo>
                      <a:pt x="698" y="876"/>
                    </a:lnTo>
                    <a:lnTo>
                      <a:pt x="712" y="866"/>
                    </a:lnTo>
                    <a:lnTo>
                      <a:pt x="712" y="866"/>
                    </a:lnTo>
                    <a:lnTo>
                      <a:pt x="732" y="850"/>
                    </a:lnTo>
                    <a:lnTo>
                      <a:pt x="748" y="840"/>
                    </a:lnTo>
                    <a:lnTo>
                      <a:pt x="762" y="834"/>
                    </a:lnTo>
                    <a:lnTo>
                      <a:pt x="778" y="834"/>
                    </a:lnTo>
                    <a:lnTo>
                      <a:pt x="778" y="834"/>
                    </a:lnTo>
                    <a:lnTo>
                      <a:pt x="786" y="832"/>
                    </a:lnTo>
                    <a:lnTo>
                      <a:pt x="790" y="830"/>
                    </a:lnTo>
                    <a:lnTo>
                      <a:pt x="790" y="828"/>
                    </a:lnTo>
                    <a:lnTo>
                      <a:pt x="790" y="824"/>
                    </a:lnTo>
                    <a:lnTo>
                      <a:pt x="790" y="820"/>
                    </a:lnTo>
                    <a:lnTo>
                      <a:pt x="790" y="818"/>
                    </a:lnTo>
                    <a:lnTo>
                      <a:pt x="794" y="814"/>
                    </a:lnTo>
                    <a:lnTo>
                      <a:pt x="800" y="810"/>
                    </a:lnTo>
                    <a:lnTo>
                      <a:pt x="800" y="810"/>
                    </a:lnTo>
                    <a:lnTo>
                      <a:pt x="804" y="806"/>
                    </a:lnTo>
                    <a:lnTo>
                      <a:pt x="806" y="802"/>
                    </a:lnTo>
                    <a:lnTo>
                      <a:pt x="804" y="796"/>
                    </a:lnTo>
                    <a:lnTo>
                      <a:pt x="802" y="790"/>
                    </a:lnTo>
                    <a:lnTo>
                      <a:pt x="800" y="784"/>
                    </a:lnTo>
                    <a:lnTo>
                      <a:pt x="800" y="780"/>
                    </a:lnTo>
                    <a:lnTo>
                      <a:pt x="804" y="776"/>
                    </a:lnTo>
                    <a:lnTo>
                      <a:pt x="812" y="774"/>
                    </a:lnTo>
                    <a:lnTo>
                      <a:pt x="812" y="774"/>
                    </a:lnTo>
                    <a:lnTo>
                      <a:pt x="824" y="772"/>
                    </a:lnTo>
                    <a:lnTo>
                      <a:pt x="834" y="770"/>
                    </a:lnTo>
                    <a:lnTo>
                      <a:pt x="850" y="764"/>
                    </a:lnTo>
                    <a:lnTo>
                      <a:pt x="856" y="764"/>
                    </a:lnTo>
                    <a:lnTo>
                      <a:pt x="860" y="764"/>
                    </a:lnTo>
                    <a:lnTo>
                      <a:pt x="862" y="768"/>
                    </a:lnTo>
                    <a:lnTo>
                      <a:pt x="862" y="774"/>
                    </a:lnTo>
                    <a:lnTo>
                      <a:pt x="862" y="774"/>
                    </a:lnTo>
                    <a:lnTo>
                      <a:pt x="862" y="780"/>
                    </a:lnTo>
                    <a:lnTo>
                      <a:pt x="866" y="784"/>
                    </a:lnTo>
                    <a:lnTo>
                      <a:pt x="870" y="788"/>
                    </a:lnTo>
                    <a:lnTo>
                      <a:pt x="874" y="790"/>
                    </a:lnTo>
                    <a:lnTo>
                      <a:pt x="888" y="794"/>
                    </a:lnTo>
                    <a:lnTo>
                      <a:pt x="896" y="798"/>
                    </a:lnTo>
                    <a:lnTo>
                      <a:pt x="906" y="802"/>
                    </a:lnTo>
                    <a:lnTo>
                      <a:pt x="906" y="802"/>
                    </a:lnTo>
                    <a:lnTo>
                      <a:pt x="912" y="806"/>
                    </a:lnTo>
                    <a:lnTo>
                      <a:pt x="918" y="806"/>
                    </a:lnTo>
                    <a:lnTo>
                      <a:pt x="922" y="804"/>
                    </a:lnTo>
                    <a:lnTo>
                      <a:pt x="924" y="802"/>
                    </a:lnTo>
                    <a:lnTo>
                      <a:pt x="926" y="800"/>
                    </a:lnTo>
                    <a:lnTo>
                      <a:pt x="930" y="800"/>
                    </a:lnTo>
                    <a:lnTo>
                      <a:pt x="934" y="804"/>
                    </a:lnTo>
                    <a:lnTo>
                      <a:pt x="940" y="810"/>
                    </a:lnTo>
                    <a:lnTo>
                      <a:pt x="940" y="810"/>
                    </a:lnTo>
                    <a:lnTo>
                      <a:pt x="948" y="820"/>
                    </a:lnTo>
                    <a:lnTo>
                      <a:pt x="958" y="824"/>
                    </a:lnTo>
                    <a:lnTo>
                      <a:pt x="968" y="828"/>
                    </a:lnTo>
                    <a:lnTo>
                      <a:pt x="978" y="828"/>
                    </a:lnTo>
                    <a:lnTo>
                      <a:pt x="1002" y="826"/>
                    </a:lnTo>
                    <a:lnTo>
                      <a:pt x="1024" y="824"/>
                    </a:lnTo>
                    <a:lnTo>
                      <a:pt x="1024" y="824"/>
                    </a:lnTo>
                    <a:lnTo>
                      <a:pt x="1036" y="826"/>
                    </a:lnTo>
                    <a:lnTo>
                      <a:pt x="1050" y="830"/>
                    </a:lnTo>
                    <a:lnTo>
                      <a:pt x="1076" y="842"/>
                    </a:lnTo>
                    <a:lnTo>
                      <a:pt x="1090" y="846"/>
                    </a:lnTo>
                    <a:lnTo>
                      <a:pt x="1104" y="850"/>
                    </a:lnTo>
                    <a:lnTo>
                      <a:pt x="1116" y="850"/>
                    </a:lnTo>
                    <a:lnTo>
                      <a:pt x="1122" y="848"/>
                    </a:lnTo>
                    <a:lnTo>
                      <a:pt x="1126" y="846"/>
                    </a:lnTo>
                    <a:lnTo>
                      <a:pt x="1126" y="846"/>
                    </a:lnTo>
                    <a:lnTo>
                      <a:pt x="1136" y="842"/>
                    </a:lnTo>
                    <a:lnTo>
                      <a:pt x="1142" y="840"/>
                    </a:lnTo>
                    <a:lnTo>
                      <a:pt x="1146" y="840"/>
                    </a:lnTo>
                    <a:lnTo>
                      <a:pt x="1150" y="842"/>
                    </a:lnTo>
                    <a:lnTo>
                      <a:pt x="1150" y="846"/>
                    </a:lnTo>
                    <a:lnTo>
                      <a:pt x="1150" y="850"/>
                    </a:lnTo>
                    <a:lnTo>
                      <a:pt x="1146" y="854"/>
                    </a:lnTo>
                    <a:lnTo>
                      <a:pt x="1142" y="858"/>
                    </a:lnTo>
                    <a:lnTo>
                      <a:pt x="1142" y="858"/>
                    </a:lnTo>
                    <a:lnTo>
                      <a:pt x="1138" y="860"/>
                    </a:lnTo>
                    <a:lnTo>
                      <a:pt x="1140" y="864"/>
                    </a:lnTo>
                    <a:lnTo>
                      <a:pt x="1146" y="868"/>
                    </a:lnTo>
                    <a:lnTo>
                      <a:pt x="1154" y="874"/>
                    </a:lnTo>
                    <a:lnTo>
                      <a:pt x="1174" y="882"/>
                    </a:lnTo>
                    <a:lnTo>
                      <a:pt x="1192" y="892"/>
                    </a:lnTo>
                    <a:lnTo>
                      <a:pt x="1192" y="892"/>
                    </a:lnTo>
                    <a:lnTo>
                      <a:pt x="1206" y="900"/>
                    </a:lnTo>
                    <a:lnTo>
                      <a:pt x="1216" y="912"/>
                    </a:lnTo>
                    <a:lnTo>
                      <a:pt x="1228" y="924"/>
                    </a:lnTo>
                    <a:lnTo>
                      <a:pt x="1244" y="934"/>
                    </a:lnTo>
                    <a:lnTo>
                      <a:pt x="1244" y="934"/>
                    </a:lnTo>
                    <a:lnTo>
                      <a:pt x="1254" y="938"/>
                    </a:lnTo>
                    <a:lnTo>
                      <a:pt x="1264" y="940"/>
                    </a:lnTo>
                    <a:lnTo>
                      <a:pt x="1272" y="940"/>
                    </a:lnTo>
                    <a:lnTo>
                      <a:pt x="1278" y="940"/>
                    </a:lnTo>
                    <a:lnTo>
                      <a:pt x="1282" y="938"/>
                    </a:lnTo>
                    <a:lnTo>
                      <a:pt x="1284" y="934"/>
                    </a:lnTo>
                    <a:lnTo>
                      <a:pt x="1284" y="930"/>
                    </a:lnTo>
                    <a:lnTo>
                      <a:pt x="1280" y="924"/>
                    </a:lnTo>
                    <a:lnTo>
                      <a:pt x="1280" y="924"/>
                    </a:lnTo>
                    <a:lnTo>
                      <a:pt x="1272" y="912"/>
                    </a:lnTo>
                    <a:lnTo>
                      <a:pt x="1268" y="904"/>
                    </a:lnTo>
                    <a:lnTo>
                      <a:pt x="1268" y="902"/>
                    </a:lnTo>
                    <a:lnTo>
                      <a:pt x="1270" y="902"/>
                    </a:lnTo>
                    <a:lnTo>
                      <a:pt x="1282" y="912"/>
                    </a:lnTo>
                    <a:lnTo>
                      <a:pt x="1282" y="912"/>
                    </a:lnTo>
                    <a:lnTo>
                      <a:pt x="1298" y="928"/>
                    </a:lnTo>
                    <a:lnTo>
                      <a:pt x="1314" y="938"/>
                    </a:lnTo>
                    <a:lnTo>
                      <a:pt x="1320" y="940"/>
                    </a:lnTo>
                    <a:lnTo>
                      <a:pt x="1324" y="940"/>
                    </a:lnTo>
                    <a:lnTo>
                      <a:pt x="1326" y="938"/>
                    </a:lnTo>
                    <a:lnTo>
                      <a:pt x="1326" y="930"/>
                    </a:lnTo>
                    <a:lnTo>
                      <a:pt x="1326" y="930"/>
                    </a:lnTo>
                    <a:lnTo>
                      <a:pt x="1322" y="916"/>
                    </a:lnTo>
                    <a:lnTo>
                      <a:pt x="1322" y="908"/>
                    </a:lnTo>
                    <a:lnTo>
                      <a:pt x="1322" y="906"/>
                    </a:lnTo>
                    <a:lnTo>
                      <a:pt x="1324" y="908"/>
                    </a:lnTo>
                    <a:lnTo>
                      <a:pt x="1332" y="922"/>
                    </a:lnTo>
                    <a:lnTo>
                      <a:pt x="1332" y="922"/>
                    </a:lnTo>
                    <a:lnTo>
                      <a:pt x="1338" y="930"/>
                    </a:lnTo>
                    <a:lnTo>
                      <a:pt x="1344" y="934"/>
                    </a:lnTo>
                    <a:lnTo>
                      <a:pt x="1348" y="936"/>
                    </a:lnTo>
                    <a:lnTo>
                      <a:pt x="1354" y="938"/>
                    </a:lnTo>
                    <a:lnTo>
                      <a:pt x="1358" y="938"/>
                    </a:lnTo>
                    <a:lnTo>
                      <a:pt x="1362" y="940"/>
                    </a:lnTo>
                    <a:lnTo>
                      <a:pt x="1368" y="942"/>
                    </a:lnTo>
                    <a:lnTo>
                      <a:pt x="1372" y="950"/>
                    </a:lnTo>
                    <a:lnTo>
                      <a:pt x="1372" y="950"/>
                    </a:lnTo>
                    <a:lnTo>
                      <a:pt x="1378" y="966"/>
                    </a:lnTo>
                    <a:lnTo>
                      <a:pt x="1382" y="976"/>
                    </a:lnTo>
                    <a:lnTo>
                      <a:pt x="1384" y="982"/>
                    </a:lnTo>
                    <a:lnTo>
                      <a:pt x="1390" y="988"/>
                    </a:lnTo>
                    <a:lnTo>
                      <a:pt x="1390" y="988"/>
                    </a:lnTo>
                    <a:lnTo>
                      <a:pt x="1394" y="992"/>
                    </a:lnTo>
                    <a:lnTo>
                      <a:pt x="1394" y="996"/>
                    </a:lnTo>
                    <a:lnTo>
                      <a:pt x="1390" y="1002"/>
                    </a:lnTo>
                    <a:lnTo>
                      <a:pt x="1388" y="1006"/>
                    </a:lnTo>
                    <a:lnTo>
                      <a:pt x="1388" y="1008"/>
                    </a:lnTo>
                    <a:lnTo>
                      <a:pt x="1392" y="1012"/>
                    </a:lnTo>
                    <a:lnTo>
                      <a:pt x="1398" y="1014"/>
                    </a:lnTo>
                    <a:lnTo>
                      <a:pt x="1398" y="1014"/>
                    </a:lnTo>
                    <a:lnTo>
                      <a:pt x="1412" y="1020"/>
                    </a:lnTo>
                    <a:lnTo>
                      <a:pt x="1414" y="1024"/>
                    </a:lnTo>
                    <a:lnTo>
                      <a:pt x="1416" y="1026"/>
                    </a:lnTo>
                    <a:lnTo>
                      <a:pt x="1422" y="1036"/>
                    </a:lnTo>
                    <a:lnTo>
                      <a:pt x="1426" y="1042"/>
                    </a:lnTo>
                    <a:lnTo>
                      <a:pt x="1434" y="1052"/>
                    </a:lnTo>
                    <a:lnTo>
                      <a:pt x="1434" y="1052"/>
                    </a:lnTo>
                    <a:lnTo>
                      <a:pt x="1452" y="1064"/>
                    </a:lnTo>
                    <a:lnTo>
                      <a:pt x="1464" y="1070"/>
                    </a:lnTo>
                    <a:lnTo>
                      <a:pt x="1466" y="1074"/>
                    </a:lnTo>
                    <a:lnTo>
                      <a:pt x="1460" y="1076"/>
                    </a:lnTo>
                    <a:lnTo>
                      <a:pt x="1460" y="1076"/>
                    </a:lnTo>
                    <a:lnTo>
                      <a:pt x="1452" y="1080"/>
                    </a:lnTo>
                    <a:lnTo>
                      <a:pt x="1450" y="1086"/>
                    </a:lnTo>
                    <a:lnTo>
                      <a:pt x="1448" y="1092"/>
                    </a:lnTo>
                    <a:lnTo>
                      <a:pt x="1442" y="1100"/>
                    </a:lnTo>
                    <a:lnTo>
                      <a:pt x="1442" y="1100"/>
                    </a:lnTo>
                    <a:lnTo>
                      <a:pt x="1440" y="1104"/>
                    </a:lnTo>
                    <a:lnTo>
                      <a:pt x="1440" y="1108"/>
                    </a:lnTo>
                    <a:lnTo>
                      <a:pt x="1440" y="1112"/>
                    </a:lnTo>
                    <a:lnTo>
                      <a:pt x="1442" y="1114"/>
                    </a:lnTo>
                    <a:lnTo>
                      <a:pt x="1446" y="1116"/>
                    </a:lnTo>
                    <a:lnTo>
                      <a:pt x="1450" y="1114"/>
                    </a:lnTo>
                    <a:lnTo>
                      <a:pt x="1452" y="1112"/>
                    </a:lnTo>
                    <a:lnTo>
                      <a:pt x="1456" y="1106"/>
                    </a:lnTo>
                    <a:lnTo>
                      <a:pt x="1456" y="1106"/>
                    </a:lnTo>
                    <a:lnTo>
                      <a:pt x="1462" y="1092"/>
                    </a:lnTo>
                    <a:lnTo>
                      <a:pt x="1466" y="1088"/>
                    </a:lnTo>
                    <a:lnTo>
                      <a:pt x="1470" y="1084"/>
                    </a:lnTo>
                    <a:lnTo>
                      <a:pt x="1474" y="1082"/>
                    </a:lnTo>
                    <a:lnTo>
                      <a:pt x="1478" y="1084"/>
                    </a:lnTo>
                    <a:lnTo>
                      <a:pt x="1484" y="1088"/>
                    </a:lnTo>
                    <a:lnTo>
                      <a:pt x="1488" y="1094"/>
                    </a:lnTo>
                    <a:lnTo>
                      <a:pt x="1488" y="1094"/>
                    </a:lnTo>
                    <a:lnTo>
                      <a:pt x="1492" y="1104"/>
                    </a:lnTo>
                    <a:lnTo>
                      <a:pt x="1494" y="1112"/>
                    </a:lnTo>
                    <a:lnTo>
                      <a:pt x="1494" y="1118"/>
                    </a:lnTo>
                    <a:lnTo>
                      <a:pt x="1492" y="1124"/>
                    </a:lnTo>
                    <a:lnTo>
                      <a:pt x="1488" y="1134"/>
                    </a:lnTo>
                    <a:lnTo>
                      <a:pt x="1488" y="1138"/>
                    </a:lnTo>
                    <a:lnTo>
                      <a:pt x="1488" y="1144"/>
                    </a:lnTo>
                    <a:lnTo>
                      <a:pt x="1488" y="1144"/>
                    </a:lnTo>
                    <a:lnTo>
                      <a:pt x="1492" y="1152"/>
                    </a:lnTo>
                    <a:lnTo>
                      <a:pt x="1494" y="1160"/>
                    </a:lnTo>
                    <a:lnTo>
                      <a:pt x="1496" y="1164"/>
                    </a:lnTo>
                    <a:lnTo>
                      <a:pt x="1498" y="1164"/>
                    </a:lnTo>
                    <a:lnTo>
                      <a:pt x="1502" y="1162"/>
                    </a:lnTo>
                    <a:lnTo>
                      <a:pt x="1508" y="1158"/>
                    </a:lnTo>
                    <a:lnTo>
                      <a:pt x="1508" y="1158"/>
                    </a:lnTo>
                    <a:lnTo>
                      <a:pt x="1516" y="1150"/>
                    </a:lnTo>
                    <a:lnTo>
                      <a:pt x="1524" y="1142"/>
                    </a:lnTo>
                    <a:lnTo>
                      <a:pt x="1526" y="1138"/>
                    </a:lnTo>
                    <a:lnTo>
                      <a:pt x="1526" y="1132"/>
                    </a:lnTo>
                    <a:lnTo>
                      <a:pt x="1524" y="1118"/>
                    </a:lnTo>
                    <a:lnTo>
                      <a:pt x="1524" y="1118"/>
                    </a:lnTo>
                    <a:lnTo>
                      <a:pt x="1522" y="1106"/>
                    </a:lnTo>
                    <a:lnTo>
                      <a:pt x="1524" y="1098"/>
                    </a:lnTo>
                    <a:lnTo>
                      <a:pt x="1528" y="1094"/>
                    </a:lnTo>
                    <a:lnTo>
                      <a:pt x="1530" y="1090"/>
                    </a:lnTo>
                    <a:lnTo>
                      <a:pt x="1530" y="1090"/>
                    </a:lnTo>
                    <a:lnTo>
                      <a:pt x="1528" y="1098"/>
                    </a:lnTo>
                    <a:lnTo>
                      <a:pt x="1530" y="1106"/>
                    </a:lnTo>
                    <a:lnTo>
                      <a:pt x="1532" y="1118"/>
                    </a:lnTo>
                    <a:lnTo>
                      <a:pt x="1534" y="1130"/>
                    </a:lnTo>
                    <a:lnTo>
                      <a:pt x="1532" y="1136"/>
                    </a:lnTo>
                    <a:lnTo>
                      <a:pt x="1530" y="1140"/>
                    </a:lnTo>
                    <a:lnTo>
                      <a:pt x="1530" y="1140"/>
                    </a:lnTo>
                    <a:lnTo>
                      <a:pt x="1526" y="1142"/>
                    </a:lnTo>
                    <a:lnTo>
                      <a:pt x="1526" y="1146"/>
                    </a:lnTo>
                    <a:lnTo>
                      <a:pt x="1526" y="1152"/>
                    </a:lnTo>
                    <a:lnTo>
                      <a:pt x="1526" y="1160"/>
                    </a:lnTo>
                    <a:lnTo>
                      <a:pt x="1524" y="1162"/>
                    </a:lnTo>
                    <a:lnTo>
                      <a:pt x="1522" y="1166"/>
                    </a:lnTo>
                    <a:lnTo>
                      <a:pt x="1522" y="1166"/>
                    </a:lnTo>
                    <a:lnTo>
                      <a:pt x="1516" y="1172"/>
                    </a:lnTo>
                    <a:lnTo>
                      <a:pt x="1512" y="1178"/>
                    </a:lnTo>
                    <a:lnTo>
                      <a:pt x="1512" y="1182"/>
                    </a:lnTo>
                    <a:lnTo>
                      <a:pt x="1512" y="1186"/>
                    </a:lnTo>
                    <a:lnTo>
                      <a:pt x="1518" y="1192"/>
                    </a:lnTo>
                    <a:lnTo>
                      <a:pt x="1520" y="1194"/>
                    </a:lnTo>
                    <a:lnTo>
                      <a:pt x="1524" y="1198"/>
                    </a:lnTo>
                    <a:lnTo>
                      <a:pt x="1524" y="1198"/>
                    </a:lnTo>
                    <a:lnTo>
                      <a:pt x="1528" y="1210"/>
                    </a:lnTo>
                    <a:lnTo>
                      <a:pt x="1534" y="1222"/>
                    </a:lnTo>
                    <a:lnTo>
                      <a:pt x="1542" y="1232"/>
                    </a:lnTo>
                    <a:lnTo>
                      <a:pt x="1554" y="1244"/>
                    </a:lnTo>
                    <a:lnTo>
                      <a:pt x="1554" y="1244"/>
                    </a:lnTo>
                    <a:lnTo>
                      <a:pt x="1558" y="1246"/>
                    </a:lnTo>
                    <a:lnTo>
                      <a:pt x="1560" y="1244"/>
                    </a:lnTo>
                    <a:lnTo>
                      <a:pt x="1562" y="1236"/>
                    </a:lnTo>
                    <a:lnTo>
                      <a:pt x="1564" y="1230"/>
                    </a:lnTo>
                    <a:lnTo>
                      <a:pt x="1566" y="1224"/>
                    </a:lnTo>
                    <a:lnTo>
                      <a:pt x="1574" y="1218"/>
                    </a:lnTo>
                    <a:lnTo>
                      <a:pt x="1584" y="1216"/>
                    </a:lnTo>
                    <a:lnTo>
                      <a:pt x="1584" y="1216"/>
                    </a:lnTo>
                    <a:lnTo>
                      <a:pt x="1592" y="1216"/>
                    </a:lnTo>
                    <a:lnTo>
                      <a:pt x="1594" y="1216"/>
                    </a:lnTo>
                    <a:lnTo>
                      <a:pt x="1586" y="1222"/>
                    </a:lnTo>
                    <a:lnTo>
                      <a:pt x="1582" y="1228"/>
                    </a:lnTo>
                    <a:lnTo>
                      <a:pt x="1578" y="1234"/>
                    </a:lnTo>
                    <a:lnTo>
                      <a:pt x="1574" y="1240"/>
                    </a:lnTo>
                    <a:lnTo>
                      <a:pt x="1576" y="1248"/>
                    </a:lnTo>
                    <a:lnTo>
                      <a:pt x="1576" y="1248"/>
                    </a:lnTo>
                    <a:lnTo>
                      <a:pt x="1582" y="1258"/>
                    </a:lnTo>
                    <a:lnTo>
                      <a:pt x="1586" y="1260"/>
                    </a:lnTo>
                    <a:lnTo>
                      <a:pt x="1588" y="1262"/>
                    </a:lnTo>
                    <a:lnTo>
                      <a:pt x="1590" y="1274"/>
                    </a:lnTo>
                    <a:lnTo>
                      <a:pt x="1590" y="1274"/>
                    </a:lnTo>
                    <a:lnTo>
                      <a:pt x="1592" y="1280"/>
                    </a:lnTo>
                    <a:lnTo>
                      <a:pt x="1596" y="1280"/>
                    </a:lnTo>
                    <a:lnTo>
                      <a:pt x="1600" y="1280"/>
                    </a:lnTo>
                    <a:lnTo>
                      <a:pt x="1604" y="1278"/>
                    </a:lnTo>
                    <a:lnTo>
                      <a:pt x="1608" y="1278"/>
                    </a:lnTo>
                    <a:lnTo>
                      <a:pt x="1610" y="1278"/>
                    </a:lnTo>
                    <a:lnTo>
                      <a:pt x="1610" y="1280"/>
                    </a:lnTo>
                    <a:lnTo>
                      <a:pt x="1606" y="1290"/>
                    </a:lnTo>
                    <a:lnTo>
                      <a:pt x="1606" y="1290"/>
                    </a:lnTo>
                    <a:lnTo>
                      <a:pt x="1598" y="1306"/>
                    </a:lnTo>
                    <a:lnTo>
                      <a:pt x="1596" y="1318"/>
                    </a:lnTo>
                    <a:lnTo>
                      <a:pt x="1598" y="1322"/>
                    </a:lnTo>
                    <a:lnTo>
                      <a:pt x="1600" y="1322"/>
                    </a:lnTo>
                    <a:lnTo>
                      <a:pt x="1600" y="1322"/>
                    </a:lnTo>
                    <a:lnTo>
                      <a:pt x="1602" y="1322"/>
                    </a:lnTo>
                    <a:lnTo>
                      <a:pt x="1602" y="1324"/>
                    </a:lnTo>
                    <a:lnTo>
                      <a:pt x="1602" y="1330"/>
                    </a:lnTo>
                    <a:lnTo>
                      <a:pt x="1602" y="1336"/>
                    </a:lnTo>
                    <a:lnTo>
                      <a:pt x="1604" y="1340"/>
                    </a:lnTo>
                    <a:lnTo>
                      <a:pt x="1608" y="1342"/>
                    </a:lnTo>
                    <a:lnTo>
                      <a:pt x="1608" y="1342"/>
                    </a:lnTo>
                    <a:lnTo>
                      <a:pt x="1610" y="1342"/>
                    </a:lnTo>
                    <a:lnTo>
                      <a:pt x="1612" y="1340"/>
                    </a:lnTo>
                    <a:lnTo>
                      <a:pt x="1614" y="1330"/>
                    </a:lnTo>
                    <a:lnTo>
                      <a:pt x="1616" y="1320"/>
                    </a:lnTo>
                    <a:lnTo>
                      <a:pt x="1618" y="1316"/>
                    </a:lnTo>
                    <a:lnTo>
                      <a:pt x="1622" y="1314"/>
                    </a:lnTo>
                    <a:lnTo>
                      <a:pt x="1622" y="1314"/>
                    </a:lnTo>
                    <a:lnTo>
                      <a:pt x="1630" y="1310"/>
                    </a:lnTo>
                    <a:lnTo>
                      <a:pt x="1636" y="1304"/>
                    </a:lnTo>
                    <a:lnTo>
                      <a:pt x="1642" y="1300"/>
                    </a:lnTo>
                    <a:lnTo>
                      <a:pt x="1642" y="1300"/>
                    </a:lnTo>
                    <a:lnTo>
                      <a:pt x="1644" y="1304"/>
                    </a:lnTo>
                    <a:lnTo>
                      <a:pt x="1644" y="1304"/>
                    </a:lnTo>
                    <a:lnTo>
                      <a:pt x="1646" y="1306"/>
                    </a:lnTo>
                    <a:lnTo>
                      <a:pt x="1648" y="1308"/>
                    </a:lnTo>
                    <a:lnTo>
                      <a:pt x="1654" y="1308"/>
                    </a:lnTo>
                    <a:lnTo>
                      <a:pt x="1660" y="1308"/>
                    </a:lnTo>
                    <a:lnTo>
                      <a:pt x="1660" y="1310"/>
                    </a:lnTo>
                    <a:lnTo>
                      <a:pt x="1660" y="1314"/>
                    </a:lnTo>
                    <a:lnTo>
                      <a:pt x="1660" y="1314"/>
                    </a:lnTo>
                    <a:lnTo>
                      <a:pt x="1660" y="1318"/>
                    </a:lnTo>
                    <a:lnTo>
                      <a:pt x="1658" y="1318"/>
                    </a:lnTo>
                    <a:lnTo>
                      <a:pt x="1656" y="1316"/>
                    </a:lnTo>
                    <a:lnTo>
                      <a:pt x="1652" y="1314"/>
                    </a:lnTo>
                    <a:lnTo>
                      <a:pt x="1648" y="1312"/>
                    </a:lnTo>
                    <a:lnTo>
                      <a:pt x="1642" y="1314"/>
                    </a:lnTo>
                    <a:lnTo>
                      <a:pt x="1634" y="1318"/>
                    </a:lnTo>
                    <a:lnTo>
                      <a:pt x="1634" y="1318"/>
                    </a:lnTo>
                    <a:lnTo>
                      <a:pt x="1622" y="1330"/>
                    </a:lnTo>
                    <a:lnTo>
                      <a:pt x="1618" y="1336"/>
                    </a:lnTo>
                    <a:lnTo>
                      <a:pt x="1618" y="1342"/>
                    </a:lnTo>
                    <a:lnTo>
                      <a:pt x="1618" y="1350"/>
                    </a:lnTo>
                    <a:lnTo>
                      <a:pt x="1618" y="1350"/>
                    </a:lnTo>
                    <a:lnTo>
                      <a:pt x="1620" y="1356"/>
                    </a:lnTo>
                    <a:lnTo>
                      <a:pt x="1622" y="1358"/>
                    </a:lnTo>
                    <a:lnTo>
                      <a:pt x="1626" y="1360"/>
                    </a:lnTo>
                    <a:lnTo>
                      <a:pt x="1628" y="1362"/>
                    </a:lnTo>
                    <a:lnTo>
                      <a:pt x="1624" y="1366"/>
                    </a:lnTo>
                    <a:lnTo>
                      <a:pt x="1624" y="1366"/>
                    </a:lnTo>
                    <a:lnTo>
                      <a:pt x="1622" y="1368"/>
                    </a:lnTo>
                    <a:lnTo>
                      <a:pt x="1622" y="1370"/>
                    </a:lnTo>
                    <a:lnTo>
                      <a:pt x="1624" y="1372"/>
                    </a:lnTo>
                    <a:lnTo>
                      <a:pt x="1626" y="1374"/>
                    </a:lnTo>
                    <a:lnTo>
                      <a:pt x="1624" y="1376"/>
                    </a:lnTo>
                    <a:lnTo>
                      <a:pt x="1624" y="1376"/>
                    </a:lnTo>
                    <a:lnTo>
                      <a:pt x="1620" y="1378"/>
                    </a:lnTo>
                    <a:lnTo>
                      <a:pt x="1620" y="1382"/>
                    </a:lnTo>
                    <a:lnTo>
                      <a:pt x="1620" y="1384"/>
                    </a:lnTo>
                    <a:lnTo>
                      <a:pt x="1622" y="1386"/>
                    </a:lnTo>
                    <a:lnTo>
                      <a:pt x="1630" y="1392"/>
                    </a:lnTo>
                    <a:lnTo>
                      <a:pt x="1642" y="1396"/>
                    </a:lnTo>
                    <a:lnTo>
                      <a:pt x="1642" y="1396"/>
                    </a:lnTo>
                    <a:lnTo>
                      <a:pt x="1650" y="1398"/>
                    </a:lnTo>
                    <a:lnTo>
                      <a:pt x="1656" y="1396"/>
                    </a:lnTo>
                    <a:lnTo>
                      <a:pt x="1662" y="1394"/>
                    </a:lnTo>
                    <a:lnTo>
                      <a:pt x="1670" y="1394"/>
                    </a:lnTo>
                    <a:lnTo>
                      <a:pt x="1670" y="1394"/>
                    </a:lnTo>
                    <a:lnTo>
                      <a:pt x="1676" y="1396"/>
                    </a:lnTo>
                    <a:lnTo>
                      <a:pt x="1676" y="1398"/>
                    </a:lnTo>
                    <a:lnTo>
                      <a:pt x="1676" y="1400"/>
                    </a:lnTo>
                    <a:lnTo>
                      <a:pt x="1682" y="1400"/>
                    </a:lnTo>
                    <a:lnTo>
                      <a:pt x="1682" y="1400"/>
                    </a:lnTo>
                    <a:lnTo>
                      <a:pt x="1688" y="1402"/>
                    </a:lnTo>
                    <a:lnTo>
                      <a:pt x="1688" y="1404"/>
                    </a:lnTo>
                    <a:lnTo>
                      <a:pt x="1686" y="1412"/>
                    </a:lnTo>
                    <a:lnTo>
                      <a:pt x="1686" y="1416"/>
                    </a:lnTo>
                    <a:lnTo>
                      <a:pt x="1686" y="1420"/>
                    </a:lnTo>
                    <a:lnTo>
                      <a:pt x="1688" y="1422"/>
                    </a:lnTo>
                    <a:lnTo>
                      <a:pt x="1694" y="1420"/>
                    </a:lnTo>
                    <a:lnTo>
                      <a:pt x="1694" y="1420"/>
                    </a:lnTo>
                    <a:lnTo>
                      <a:pt x="1700" y="1420"/>
                    </a:lnTo>
                    <a:lnTo>
                      <a:pt x="1702" y="1422"/>
                    </a:lnTo>
                    <a:lnTo>
                      <a:pt x="1706" y="1424"/>
                    </a:lnTo>
                    <a:lnTo>
                      <a:pt x="1714" y="1422"/>
                    </a:lnTo>
                    <a:lnTo>
                      <a:pt x="1714" y="1422"/>
                    </a:lnTo>
                    <a:lnTo>
                      <a:pt x="1718" y="1422"/>
                    </a:lnTo>
                    <a:lnTo>
                      <a:pt x="1722" y="1422"/>
                    </a:lnTo>
                    <a:lnTo>
                      <a:pt x="1730" y="1426"/>
                    </a:lnTo>
                    <a:lnTo>
                      <a:pt x="1736" y="1430"/>
                    </a:lnTo>
                    <a:lnTo>
                      <a:pt x="1738" y="1430"/>
                    </a:lnTo>
                    <a:lnTo>
                      <a:pt x="1742" y="1428"/>
                    </a:lnTo>
                    <a:lnTo>
                      <a:pt x="1742" y="1428"/>
                    </a:lnTo>
                    <a:lnTo>
                      <a:pt x="1744" y="1428"/>
                    </a:lnTo>
                    <a:lnTo>
                      <a:pt x="1748" y="1430"/>
                    </a:lnTo>
                    <a:lnTo>
                      <a:pt x="1750" y="1434"/>
                    </a:lnTo>
                    <a:lnTo>
                      <a:pt x="1750" y="1442"/>
                    </a:lnTo>
                    <a:lnTo>
                      <a:pt x="1748" y="1444"/>
                    </a:lnTo>
                    <a:lnTo>
                      <a:pt x="1744" y="1446"/>
                    </a:lnTo>
                    <a:lnTo>
                      <a:pt x="1744" y="1446"/>
                    </a:lnTo>
                    <a:lnTo>
                      <a:pt x="1742" y="1448"/>
                    </a:lnTo>
                    <a:lnTo>
                      <a:pt x="1742" y="1450"/>
                    </a:lnTo>
                    <a:lnTo>
                      <a:pt x="1748" y="1458"/>
                    </a:lnTo>
                    <a:lnTo>
                      <a:pt x="1758" y="1464"/>
                    </a:lnTo>
                    <a:lnTo>
                      <a:pt x="1764" y="1464"/>
                    </a:lnTo>
                    <a:lnTo>
                      <a:pt x="1768" y="1464"/>
                    </a:lnTo>
                    <a:lnTo>
                      <a:pt x="1768" y="1464"/>
                    </a:lnTo>
                    <a:lnTo>
                      <a:pt x="1774" y="1458"/>
                    </a:lnTo>
                    <a:lnTo>
                      <a:pt x="1778" y="1454"/>
                    </a:lnTo>
                    <a:lnTo>
                      <a:pt x="1778" y="1452"/>
                    </a:lnTo>
                    <a:lnTo>
                      <a:pt x="1778" y="1454"/>
                    </a:lnTo>
                    <a:lnTo>
                      <a:pt x="1780" y="1460"/>
                    </a:lnTo>
                    <a:lnTo>
                      <a:pt x="1780" y="1460"/>
                    </a:lnTo>
                    <a:lnTo>
                      <a:pt x="1780" y="1468"/>
                    </a:lnTo>
                    <a:lnTo>
                      <a:pt x="1784" y="1470"/>
                    </a:lnTo>
                    <a:lnTo>
                      <a:pt x="1786" y="1470"/>
                    </a:lnTo>
                    <a:lnTo>
                      <a:pt x="1786" y="1474"/>
                    </a:lnTo>
                    <a:lnTo>
                      <a:pt x="1786" y="1474"/>
                    </a:lnTo>
                    <a:lnTo>
                      <a:pt x="1784" y="1476"/>
                    </a:lnTo>
                    <a:lnTo>
                      <a:pt x="1782" y="1476"/>
                    </a:lnTo>
                    <a:lnTo>
                      <a:pt x="1780" y="1472"/>
                    </a:lnTo>
                    <a:lnTo>
                      <a:pt x="1776" y="1468"/>
                    </a:lnTo>
                    <a:lnTo>
                      <a:pt x="1774" y="1468"/>
                    </a:lnTo>
                    <a:lnTo>
                      <a:pt x="1772" y="1470"/>
                    </a:lnTo>
                    <a:lnTo>
                      <a:pt x="1772" y="1470"/>
                    </a:lnTo>
                    <a:lnTo>
                      <a:pt x="1770" y="1472"/>
                    </a:lnTo>
                    <a:lnTo>
                      <a:pt x="1772" y="1476"/>
                    </a:lnTo>
                    <a:lnTo>
                      <a:pt x="1780" y="1484"/>
                    </a:lnTo>
                    <a:lnTo>
                      <a:pt x="1790" y="1486"/>
                    </a:lnTo>
                    <a:lnTo>
                      <a:pt x="1794" y="1486"/>
                    </a:lnTo>
                    <a:lnTo>
                      <a:pt x="1794" y="1484"/>
                    </a:lnTo>
                    <a:lnTo>
                      <a:pt x="1794" y="1484"/>
                    </a:lnTo>
                    <a:lnTo>
                      <a:pt x="1796" y="1478"/>
                    </a:lnTo>
                    <a:lnTo>
                      <a:pt x="1800" y="1474"/>
                    </a:lnTo>
                    <a:lnTo>
                      <a:pt x="1804" y="1474"/>
                    </a:lnTo>
                    <a:lnTo>
                      <a:pt x="1804" y="1478"/>
                    </a:lnTo>
                    <a:lnTo>
                      <a:pt x="1804" y="1478"/>
                    </a:lnTo>
                    <a:lnTo>
                      <a:pt x="1804" y="1486"/>
                    </a:lnTo>
                    <a:lnTo>
                      <a:pt x="1806" y="1492"/>
                    </a:lnTo>
                    <a:lnTo>
                      <a:pt x="1808" y="1498"/>
                    </a:lnTo>
                    <a:lnTo>
                      <a:pt x="1808" y="1504"/>
                    </a:lnTo>
                    <a:lnTo>
                      <a:pt x="1808" y="1504"/>
                    </a:lnTo>
                    <a:lnTo>
                      <a:pt x="1808" y="1510"/>
                    </a:lnTo>
                    <a:lnTo>
                      <a:pt x="1810" y="1512"/>
                    </a:lnTo>
                    <a:lnTo>
                      <a:pt x="1812" y="1510"/>
                    </a:lnTo>
                    <a:lnTo>
                      <a:pt x="1816" y="1506"/>
                    </a:lnTo>
                    <a:lnTo>
                      <a:pt x="1816" y="1506"/>
                    </a:lnTo>
                    <a:lnTo>
                      <a:pt x="1818" y="1504"/>
                    </a:lnTo>
                    <a:lnTo>
                      <a:pt x="1820" y="1506"/>
                    </a:lnTo>
                    <a:lnTo>
                      <a:pt x="1822" y="1508"/>
                    </a:lnTo>
                    <a:lnTo>
                      <a:pt x="1822" y="1508"/>
                    </a:lnTo>
                    <a:lnTo>
                      <a:pt x="1822" y="1516"/>
                    </a:lnTo>
                    <a:lnTo>
                      <a:pt x="1824" y="1520"/>
                    </a:lnTo>
                    <a:lnTo>
                      <a:pt x="1828" y="1526"/>
                    </a:lnTo>
                    <a:lnTo>
                      <a:pt x="1832" y="1528"/>
                    </a:lnTo>
                    <a:lnTo>
                      <a:pt x="1832" y="1530"/>
                    </a:lnTo>
                    <a:lnTo>
                      <a:pt x="1832" y="1534"/>
                    </a:lnTo>
                    <a:lnTo>
                      <a:pt x="1832" y="1534"/>
                    </a:lnTo>
                    <a:lnTo>
                      <a:pt x="1832" y="1538"/>
                    </a:lnTo>
                    <a:lnTo>
                      <a:pt x="1830" y="1538"/>
                    </a:lnTo>
                    <a:lnTo>
                      <a:pt x="1826" y="1540"/>
                    </a:lnTo>
                    <a:lnTo>
                      <a:pt x="1824" y="1540"/>
                    </a:lnTo>
                    <a:lnTo>
                      <a:pt x="1824" y="1542"/>
                    </a:lnTo>
                    <a:lnTo>
                      <a:pt x="1830" y="1550"/>
                    </a:lnTo>
                    <a:lnTo>
                      <a:pt x="1830" y="1550"/>
                    </a:lnTo>
                    <a:lnTo>
                      <a:pt x="1836" y="1562"/>
                    </a:lnTo>
                    <a:lnTo>
                      <a:pt x="1840" y="1570"/>
                    </a:lnTo>
                    <a:lnTo>
                      <a:pt x="1840" y="1582"/>
                    </a:lnTo>
                    <a:lnTo>
                      <a:pt x="1840" y="1600"/>
                    </a:lnTo>
                    <a:lnTo>
                      <a:pt x="1840" y="1600"/>
                    </a:lnTo>
                    <a:lnTo>
                      <a:pt x="1838" y="1608"/>
                    </a:lnTo>
                    <a:lnTo>
                      <a:pt x="1836" y="1610"/>
                    </a:lnTo>
                    <a:lnTo>
                      <a:pt x="1834" y="1608"/>
                    </a:lnTo>
                    <a:lnTo>
                      <a:pt x="1834" y="1604"/>
                    </a:lnTo>
                    <a:lnTo>
                      <a:pt x="1828" y="1570"/>
                    </a:lnTo>
                    <a:lnTo>
                      <a:pt x="1828" y="1570"/>
                    </a:lnTo>
                    <a:lnTo>
                      <a:pt x="1824" y="1564"/>
                    </a:lnTo>
                    <a:lnTo>
                      <a:pt x="1816" y="1560"/>
                    </a:lnTo>
                    <a:lnTo>
                      <a:pt x="1808" y="1558"/>
                    </a:lnTo>
                    <a:lnTo>
                      <a:pt x="1798" y="1556"/>
                    </a:lnTo>
                    <a:lnTo>
                      <a:pt x="1776" y="1554"/>
                    </a:lnTo>
                    <a:lnTo>
                      <a:pt x="1766" y="1552"/>
                    </a:lnTo>
                    <a:lnTo>
                      <a:pt x="1758" y="1548"/>
                    </a:lnTo>
                    <a:lnTo>
                      <a:pt x="1758" y="1548"/>
                    </a:lnTo>
                    <a:lnTo>
                      <a:pt x="1752" y="1546"/>
                    </a:lnTo>
                    <a:lnTo>
                      <a:pt x="1746" y="1546"/>
                    </a:lnTo>
                    <a:lnTo>
                      <a:pt x="1744" y="1548"/>
                    </a:lnTo>
                    <a:lnTo>
                      <a:pt x="1742" y="1552"/>
                    </a:lnTo>
                    <a:lnTo>
                      <a:pt x="1744" y="1556"/>
                    </a:lnTo>
                    <a:lnTo>
                      <a:pt x="1746" y="1564"/>
                    </a:lnTo>
                    <a:lnTo>
                      <a:pt x="1754" y="1578"/>
                    </a:lnTo>
                    <a:lnTo>
                      <a:pt x="1754" y="1578"/>
                    </a:lnTo>
                    <a:lnTo>
                      <a:pt x="1758" y="1586"/>
                    </a:lnTo>
                    <a:lnTo>
                      <a:pt x="1764" y="1598"/>
                    </a:lnTo>
                    <a:lnTo>
                      <a:pt x="1770" y="1626"/>
                    </a:lnTo>
                    <a:lnTo>
                      <a:pt x="1774" y="1658"/>
                    </a:lnTo>
                    <a:lnTo>
                      <a:pt x="1774" y="1690"/>
                    </a:lnTo>
                    <a:lnTo>
                      <a:pt x="1774" y="1690"/>
                    </a:lnTo>
                    <a:lnTo>
                      <a:pt x="1774" y="1726"/>
                    </a:lnTo>
                    <a:lnTo>
                      <a:pt x="1770" y="1768"/>
                    </a:lnTo>
                    <a:lnTo>
                      <a:pt x="1766" y="1810"/>
                    </a:lnTo>
                    <a:lnTo>
                      <a:pt x="1762" y="1828"/>
                    </a:lnTo>
                    <a:lnTo>
                      <a:pt x="1756" y="1842"/>
                    </a:lnTo>
                    <a:lnTo>
                      <a:pt x="1756" y="1842"/>
                    </a:lnTo>
                    <a:lnTo>
                      <a:pt x="1754" y="1854"/>
                    </a:lnTo>
                    <a:lnTo>
                      <a:pt x="1754" y="1870"/>
                    </a:lnTo>
                    <a:lnTo>
                      <a:pt x="1756" y="1886"/>
                    </a:lnTo>
                    <a:lnTo>
                      <a:pt x="1760" y="1904"/>
                    </a:lnTo>
                    <a:lnTo>
                      <a:pt x="1764" y="1920"/>
                    </a:lnTo>
                    <a:lnTo>
                      <a:pt x="1766" y="1938"/>
                    </a:lnTo>
                    <a:lnTo>
                      <a:pt x="1766" y="1956"/>
                    </a:lnTo>
                    <a:lnTo>
                      <a:pt x="1762" y="1972"/>
                    </a:lnTo>
                    <a:lnTo>
                      <a:pt x="1762" y="1972"/>
                    </a:lnTo>
                    <a:lnTo>
                      <a:pt x="1760" y="1986"/>
                    </a:lnTo>
                    <a:lnTo>
                      <a:pt x="1758" y="1996"/>
                    </a:lnTo>
                    <a:lnTo>
                      <a:pt x="1762" y="2006"/>
                    </a:lnTo>
                    <a:lnTo>
                      <a:pt x="1766" y="2012"/>
                    </a:lnTo>
                    <a:lnTo>
                      <a:pt x="1774" y="2030"/>
                    </a:lnTo>
                    <a:lnTo>
                      <a:pt x="1778" y="2042"/>
                    </a:lnTo>
                    <a:lnTo>
                      <a:pt x="1780" y="2056"/>
                    </a:lnTo>
                    <a:lnTo>
                      <a:pt x="1780" y="2056"/>
                    </a:lnTo>
                    <a:lnTo>
                      <a:pt x="1784" y="2072"/>
                    </a:lnTo>
                    <a:lnTo>
                      <a:pt x="1786" y="2082"/>
                    </a:lnTo>
                    <a:lnTo>
                      <a:pt x="1792" y="2090"/>
                    </a:lnTo>
                    <a:lnTo>
                      <a:pt x="1798" y="2096"/>
                    </a:lnTo>
                    <a:lnTo>
                      <a:pt x="1808" y="2104"/>
                    </a:lnTo>
                    <a:lnTo>
                      <a:pt x="1812" y="2110"/>
                    </a:lnTo>
                    <a:lnTo>
                      <a:pt x="1814" y="2118"/>
                    </a:lnTo>
                    <a:lnTo>
                      <a:pt x="1814" y="2118"/>
                    </a:lnTo>
                    <a:lnTo>
                      <a:pt x="1816" y="2124"/>
                    </a:lnTo>
                    <a:lnTo>
                      <a:pt x="1818" y="2128"/>
                    </a:lnTo>
                    <a:lnTo>
                      <a:pt x="1824" y="2132"/>
                    </a:lnTo>
                    <a:lnTo>
                      <a:pt x="1828" y="2136"/>
                    </a:lnTo>
                    <a:lnTo>
                      <a:pt x="1832" y="2140"/>
                    </a:lnTo>
                    <a:lnTo>
                      <a:pt x="1834" y="2146"/>
                    </a:lnTo>
                    <a:lnTo>
                      <a:pt x="1836" y="2158"/>
                    </a:lnTo>
                    <a:lnTo>
                      <a:pt x="1836" y="2158"/>
                    </a:lnTo>
                    <a:lnTo>
                      <a:pt x="1838" y="2170"/>
                    </a:lnTo>
                    <a:lnTo>
                      <a:pt x="1842" y="2178"/>
                    </a:lnTo>
                    <a:lnTo>
                      <a:pt x="1846" y="2182"/>
                    </a:lnTo>
                    <a:lnTo>
                      <a:pt x="1852" y="2186"/>
                    </a:lnTo>
                    <a:lnTo>
                      <a:pt x="1856" y="2188"/>
                    </a:lnTo>
                    <a:lnTo>
                      <a:pt x="1860" y="2190"/>
                    </a:lnTo>
                    <a:lnTo>
                      <a:pt x="1862" y="2194"/>
                    </a:lnTo>
                    <a:lnTo>
                      <a:pt x="1860" y="2200"/>
                    </a:lnTo>
                    <a:lnTo>
                      <a:pt x="1860" y="2200"/>
                    </a:lnTo>
                    <a:lnTo>
                      <a:pt x="1858" y="2208"/>
                    </a:lnTo>
                    <a:lnTo>
                      <a:pt x="1858" y="2214"/>
                    </a:lnTo>
                    <a:lnTo>
                      <a:pt x="1860" y="2218"/>
                    </a:lnTo>
                    <a:lnTo>
                      <a:pt x="1862" y="2224"/>
                    </a:lnTo>
                    <a:lnTo>
                      <a:pt x="1872" y="2238"/>
                    </a:lnTo>
                    <a:lnTo>
                      <a:pt x="1890" y="2260"/>
                    </a:lnTo>
                    <a:lnTo>
                      <a:pt x="1890" y="2260"/>
                    </a:lnTo>
                    <a:lnTo>
                      <a:pt x="1900" y="2272"/>
                    </a:lnTo>
                    <a:lnTo>
                      <a:pt x="1904" y="2282"/>
                    </a:lnTo>
                    <a:lnTo>
                      <a:pt x="1908" y="2292"/>
                    </a:lnTo>
                    <a:lnTo>
                      <a:pt x="1908" y="2298"/>
                    </a:lnTo>
                    <a:lnTo>
                      <a:pt x="1910" y="2310"/>
                    </a:lnTo>
                    <a:lnTo>
                      <a:pt x="1912" y="2314"/>
                    </a:lnTo>
                    <a:lnTo>
                      <a:pt x="1916" y="2318"/>
                    </a:lnTo>
                    <a:lnTo>
                      <a:pt x="1916" y="2318"/>
                    </a:lnTo>
                    <a:lnTo>
                      <a:pt x="1920" y="2322"/>
                    </a:lnTo>
                    <a:lnTo>
                      <a:pt x="1926" y="2324"/>
                    </a:lnTo>
                    <a:lnTo>
                      <a:pt x="1940" y="2326"/>
                    </a:lnTo>
                    <a:lnTo>
                      <a:pt x="1948" y="2328"/>
                    </a:lnTo>
                    <a:lnTo>
                      <a:pt x="1958" y="2332"/>
                    </a:lnTo>
                    <a:lnTo>
                      <a:pt x="1968" y="2336"/>
                    </a:lnTo>
                    <a:lnTo>
                      <a:pt x="1978" y="2344"/>
                    </a:lnTo>
                    <a:lnTo>
                      <a:pt x="1978" y="2344"/>
                    </a:lnTo>
                    <a:lnTo>
                      <a:pt x="1986" y="2352"/>
                    </a:lnTo>
                    <a:lnTo>
                      <a:pt x="1994" y="2358"/>
                    </a:lnTo>
                    <a:lnTo>
                      <a:pt x="2006" y="2360"/>
                    </a:lnTo>
                    <a:lnTo>
                      <a:pt x="2016" y="2364"/>
                    </a:lnTo>
                    <a:lnTo>
                      <a:pt x="2022" y="2368"/>
                    </a:lnTo>
                    <a:lnTo>
                      <a:pt x="2030" y="2374"/>
                    </a:lnTo>
                    <a:lnTo>
                      <a:pt x="2030" y="2374"/>
                    </a:lnTo>
                    <a:lnTo>
                      <a:pt x="2036" y="2382"/>
                    </a:lnTo>
                    <a:lnTo>
                      <a:pt x="2040" y="2388"/>
                    </a:lnTo>
                    <a:lnTo>
                      <a:pt x="2046" y="2400"/>
                    </a:lnTo>
                    <a:lnTo>
                      <a:pt x="2048" y="2410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52" y="2424"/>
                    </a:lnTo>
                    <a:lnTo>
                      <a:pt x="2066" y="2454"/>
                    </a:lnTo>
                    <a:lnTo>
                      <a:pt x="2078" y="2480"/>
                    </a:lnTo>
                    <a:lnTo>
                      <a:pt x="2092" y="2520"/>
                    </a:lnTo>
                    <a:lnTo>
                      <a:pt x="2100" y="2548"/>
                    </a:lnTo>
                    <a:lnTo>
                      <a:pt x="2106" y="2560"/>
                    </a:lnTo>
                    <a:lnTo>
                      <a:pt x="2112" y="2568"/>
                    </a:lnTo>
                    <a:lnTo>
                      <a:pt x="2112" y="2568"/>
                    </a:lnTo>
                    <a:lnTo>
                      <a:pt x="2120" y="2578"/>
                    </a:lnTo>
                    <a:lnTo>
                      <a:pt x="2130" y="2586"/>
                    </a:lnTo>
                    <a:lnTo>
                      <a:pt x="2150" y="2604"/>
                    </a:lnTo>
                    <a:lnTo>
                      <a:pt x="2160" y="2614"/>
                    </a:lnTo>
                    <a:lnTo>
                      <a:pt x="2166" y="2624"/>
                    </a:lnTo>
                    <a:lnTo>
                      <a:pt x="2170" y="2636"/>
                    </a:lnTo>
                    <a:lnTo>
                      <a:pt x="2170" y="2650"/>
                    </a:lnTo>
                    <a:lnTo>
                      <a:pt x="2170" y="2650"/>
                    </a:lnTo>
                    <a:lnTo>
                      <a:pt x="2170" y="2656"/>
                    </a:lnTo>
                    <a:lnTo>
                      <a:pt x="2168" y="2662"/>
                    </a:lnTo>
                    <a:lnTo>
                      <a:pt x="2164" y="2664"/>
                    </a:lnTo>
                    <a:lnTo>
                      <a:pt x="2162" y="2668"/>
                    </a:lnTo>
                    <a:lnTo>
                      <a:pt x="2154" y="2668"/>
                    </a:lnTo>
                    <a:lnTo>
                      <a:pt x="2148" y="2668"/>
                    </a:lnTo>
                    <a:lnTo>
                      <a:pt x="2142" y="2668"/>
                    </a:lnTo>
                    <a:lnTo>
                      <a:pt x="2138" y="2668"/>
                    </a:lnTo>
                    <a:lnTo>
                      <a:pt x="2140" y="2672"/>
                    </a:lnTo>
                    <a:lnTo>
                      <a:pt x="2146" y="2682"/>
                    </a:lnTo>
                    <a:lnTo>
                      <a:pt x="2146" y="2682"/>
                    </a:lnTo>
                    <a:lnTo>
                      <a:pt x="2156" y="2692"/>
                    </a:lnTo>
                    <a:lnTo>
                      <a:pt x="2166" y="2700"/>
                    </a:lnTo>
                    <a:lnTo>
                      <a:pt x="2188" y="2716"/>
                    </a:lnTo>
                    <a:lnTo>
                      <a:pt x="2212" y="2730"/>
                    </a:lnTo>
                    <a:lnTo>
                      <a:pt x="2226" y="2738"/>
                    </a:lnTo>
                    <a:lnTo>
                      <a:pt x="2238" y="2748"/>
                    </a:lnTo>
                    <a:lnTo>
                      <a:pt x="2238" y="2748"/>
                    </a:lnTo>
                    <a:lnTo>
                      <a:pt x="2244" y="2754"/>
                    </a:lnTo>
                    <a:lnTo>
                      <a:pt x="2248" y="2758"/>
                    </a:lnTo>
                    <a:lnTo>
                      <a:pt x="2250" y="2764"/>
                    </a:lnTo>
                    <a:lnTo>
                      <a:pt x="2252" y="2770"/>
                    </a:lnTo>
                    <a:lnTo>
                      <a:pt x="2250" y="2782"/>
                    </a:lnTo>
                    <a:lnTo>
                      <a:pt x="2250" y="2794"/>
                    </a:lnTo>
                    <a:lnTo>
                      <a:pt x="2248" y="2808"/>
                    </a:lnTo>
                    <a:lnTo>
                      <a:pt x="2250" y="2814"/>
                    </a:lnTo>
                    <a:lnTo>
                      <a:pt x="2252" y="2820"/>
                    </a:lnTo>
                    <a:lnTo>
                      <a:pt x="2256" y="2828"/>
                    </a:lnTo>
                    <a:lnTo>
                      <a:pt x="2262" y="2834"/>
                    </a:lnTo>
                    <a:lnTo>
                      <a:pt x="2270" y="2842"/>
                    </a:lnTo>
                    <a:lnTo>
                      <a:pt x="2280" y="2850"/>
                    </a:lnTo>
                    <a:lnTo>
                      <a:pt x="2280" y="2850"/>
                    </a:lnTo>
                    <a:lnTo>
                      <a:pt x="2300" y="2866"/>
                    </a:lnTo>
                    <a:lnTo>
                      <a:pt x="2316" y="2882"/>
                    </a:lnTo>
                    <a:lnTo>
                      <a:pt x="2326" y="2894"/>
                    </a:lnTo>
                    <a:lnTo>
                      <a:pt x="2332" y="2906"/>
                    </a:lnTo>
                    <a:lnTo>
                      <a:pt x="2336" y="2914"/>
                    </a:lnTo>
                    <a:lnTo>
                      <a:pt x="2340" y="2918"/>
                    </a:lnTo>
                    <a:lnTo>
                      <a:pt x="2344" y="2920"/>
                    </a:lnTo>
                    <a:lnTo>
                      <a:pt x="2350" y="2916"/>
                    </a:lnTo>
                    <a:lnTo>
                      <a:pt x="2350" y="2916"/>
                    </a:lnTo>
                    <a:lnTo>
                      <a:pt x="2358" y="2910"/>
                    </a:lnTo>
                    <a:lnTo>
                      <a:pt x="2362" y="2906"/>
                    </a:lnTo>
                    <a:lnTo>
                      <a:pt x="2364" y="2900"/>
                    </a:lnTo>
                    <a:lnTo>
                      <a:pt x="2364" y="2896"/>
                    </a:lnTo>
                    <a:lnTo>
                      <a:pt x="2358" y="2884"/>
                    </a:lnTo>
                    <a:lnTo>
                      <a:pt x="2346" y="2864"/>
                    </a:lnTo>
                    <a:lnTo>
                      <a:pt x="2346" y="2864"/>
                    </a:lnTo>
                    <a:lnTo>
                      <a:pt x="2340" y="2856"/>
                    </a:lnTo>
                    <a:lnTo>
                      <a:pt x="2336" y="2850"/>
                    </a:lnTo>
                    <a:lnTo>
                      <a:pt x="2332" y="2850"/>
                    </a:lnTo>
                    <a:lnTo>
                      <a:pt x="2330" y="2850"/>
                    </a:lnTo>
                    <a:lnTo>
                      <a:pt x="2324" y="2854"/>
                    </a:lnTo>
                    <a:lnTo>
                      <a:pt x="2320" y="2854"/>
                    </a:lnTo>
                    <a:lnTo>
                      <a:pt x="2316" y="2850"/>
                    </a:lnTo>
                    <a:lnTo>
                      <a:pt x="2316" y="2850"/>
                    </a:lnTo>
                    <a:lnTo>
                      <a:pt x="2312" y="2846"/>
                    </a:lnTo>
                    <a:lnTo>
                      <a:pt x="2310" y="2842"/>
                    </a:lnTo>
                    <a:lnTo>
                      <a:pt x="2310" y="2832"/>
                    </a:lnTo>
                    <a:lnTo>
                      <a:pt x="2310" y="2826"/>
                    </a:lnTo>
                    <a:lnTo>
                      <a:pt x="2310" y="2820"/>
                    </a:lnTo>
                    <a:lnTo>
                      <a:pt x="2306" y="2810"/>
                    </a:lnTo>
                    <a:lnTo>
                      <a:pt x="2300" y="2798"/>
                    </a:lnTo>
                    <a:lnTo>
                      <a:pt x="2300" y="2798"/>
                    </a:lnTo>
                    <a:lnTo>
                      <a:pt x="2290" y="2776"/>
                    </a:lnTo>
                    <a:lnTo>
                      <a:pt x="2286" y="2762"/>
                    </a:lnTo>
                    <a:lnTo>
                      <a:pt x="2282" y="2748"/>
                    </a:lnTo>
                    <a:lnTo>
                      <a:pt x="2276" y="2730"/>
                    </a:lnTo>
                    <a:lnTo>
                      <a:pt x="2276" y="2730"/>
                    </a:lnTo>
                    <a:lnTo>
                      <a:pt x="2270" y="2718"/>
                    </a:lnTo>
                    <a:lnTo>
                      <a:pt x="2264" y="2708"/>
                    </a:lnTo>
                    <a:lnTo>
                      <a:pt x="2250" y="2690"/>
                    </a:lnTo>
                    <a:lnTo>
                      <a:pt x="2236" y="2672"/>
                    </a:lnTo>
                    <a:lnTo>
                      <a:pt x="2230" y="2662"/>
                    </a:lnTo>
                    <a:lnTo>
                      <a:pt x="2224" y="2648"/>
                    </a:lnTo>
                    <a:lnTo>
                      <a:pt x="2224" y="2648"/>
                    </a:lnTo>
                    <a:lnTo>
                      <a:pt x="2220" y="2636"/>
                    </a:lnTo>
                    <a:lnTo>
                      <a:pt x="2214" y="2624"/>
                    </a:lnTo>
                    <a:lnTo>
                      <a:pt x="2198" y="2604"/>
                    </a:lnTo>
                    <a:lnTo>
                      <a:pt x="2182" y="2584"/>
                    </a:lnTo>
                    <a:lnTo>
                      <a:pt x="2168" y="2564"/>
                    </a:lnTo>
                    <a:lnTo>
                      <a:pt x="2168" y="2564"/>
                    </a:lnTo>
                    <a:lnTo>
                      <a:pt x="2160" y="2550"/>
                    </a:lnTo>
                    <a:lnTo>
                      <a:pt x="2154" y="2534"/>
                    </a:lnTo>
                    <a:lnTo>
                      <a:pt x="2148" y="2516"/>
                    </a:lnTo>
                    <a:lnTo>
                      <a:pt x="2144" y="2498"/>
                    </a:lnTo>
                    <a:lnTo>
                      <a:pt x="2142" y="2482"/>
                    </a:lnTo>
                    <a:lnTo>
                      <a:pt x="2142" y="2470"/>
                    </a:lnTo>
                    <a:lnTo>
                      <a:pt x="2144" y="2466"/>
                    </a:lnTo>
                    <a:lnTo>
                      <a:pt x="2146" y="2464"/>
                    </a:lnTo>
                    <a:lnTo>
                      <a:pt x="2148" y="2464"/>
                    </a:lnTo>
                    <a:lnTo>
                      <a:pt x="2154" y="2466"/>
                    </a:lnTo>
                    <a:lnTo>
                      <a:pt x="2154" y="2466"/>
                    </a:lnTo>
                    <a:lnTo>
                      <a:pt x="2168" y="2474"/>
                    </a:lnTo>
                    <a:lnTo>
                      <a:pt x="2172" y="2476"/>
                    </a:lnTo>
                    <a:lnTo>
                      <a:pt x="2178" y="2474"/>
                    </a:lnTo>
                    <a:lnTo>
                      <a:pt x="2186" y="2478"/>
                    </a:lnTo>
                    <a:lnTo>
                      <a:pt x="2186" y="2478"/>
                    </a:lnTo>
                    <a:lnTo>
                      <a:pt x="2198" y="2484"/>
                    </a:lnTo>
                    <a:lnTo>
                      <a:pt x="2202" y="2488"/>
                    </a:lnTo>
                    <a:lnTo>
                      <a:pt x="2206" y="2492"/>
                    </a:lnTo>
                    <a:lnTo>
                      <a:pt x="2214" y="2508"/>
                    </a:lnTo>
                    <a:lnTo>
                      <a:pt x="2222" y="2536"/>
                    </a:lnTo>
                    <a:lnTo>
                      <a:pt x="2222" y="2536"/>
                    </a:lnTo>
                    <a:lnTo>
                      <a:pt x="2228" y="2556"/>
                    </a:lnTo>
                    <a:lnTo>
                      <a:pt x="2236" y="2574"/>
                    </a:lnTo>
                    <a:lnTo>
                      <a:pt x="2244" y="2594"/>
                    </a:lnTo>
                    <a:lnTo>
                      <a:pt x="2254" y="2612"/>
                    </a:lnTo>
                    <a:lnTo>
                      <a:pt x="2264" y="2628"/>
                    </a:lnTo>
                    <a:lnTo>
                      <a:pt x="2276" y="2642"/>
                    </a:lnTo>
                    <a:lnTo>
                      <a:pt x="2288" y="2654"/>
                    </a:lnTo>
                    <a:lnTo>
                      <a:pt x="2300" y="2664"/>
                    </a:lnTo>
                    <a:lnTo>
                      <a:pt x="2300" y="2664"/>
                    </a:lnTo>
                    <a:lnTo>
                      <a:pt x="2308" y="2672"/>
                    </a:lnTo>
                    <a:lnTo>
                      <a:pt x="2314" y="2678"/>
                    </a:lnTo>
                    <a:lnTo>
                      <a:pt x="2320" y="2694"/>
                    </a:lnTo>
                    <a:lnTo>
                      <a:pt x="2324" y="2700"/>
                    </a:lnTo>
                    <a:lnTo>
                      <a:pt x="2328" y="2706"/>
                    </a:lnTo>
                    <a:lnTo>
                      <a:pt x="2338" y="2714"/>
                    </a:lnTo>
                    <a:lnTo>
                      <a:pt x="2352" y="2722"/>
                    </a:lnTo>
                    <a:lnTo>
                      <a:pt x="2352" y="2722"/>
                    </a:lnTo>
                    <a:lnTo>
                      <a:pt x="2360" y="2724"/>
                    </a:lnTo>
                    <a:lnTo>
                      <a:pt x="2364" y="2728"/>
                    </a:lnTo>
                    <a:lnTo>
                      <a:pt x="2368" y="2732"/>
                    </a:lnTo>
                    <a:lnTo>
                      <a:pt x="2370" y="2736"/>
                    </a:lnTo>
                    <a:lnTo>
                      <a:pt x="2368" y="2746"/>
                    </a:lnTo>
                    <a:lnTo>
                      <a:pt x="2366" y="2754"/>
                    </a:lnTo>
                    <a:lnTo>
                      <a:pt x="2364" y="2764"/>
                    </a:lnTo>
                    <a:lnTo>
                      <a:pt x="2362" y="2772"/>
                    </a:lnTo>
                    <a:lnTo>
                      <a:pt x="2364" y="2776"/>
                    </a:lnTo>
                    <a:lnTo>
                      <a:pt x="2368" y="2782"/>
                    </a:lnTo>
                    <a:lnTo>
                      <a:pt x="2372" y="2786"/>
                    </a:lnTo>
                    <a:lnTo>
                      <a:pt x="2380" y="2790"/>
                    </a:lnTo>
                    <a:lnTo>
                      <a:pt x="2380" y="2790"/>
                    </a:lnTo>
                    <a:lnTo>
                      <a:pt x="2394" y="2798"/>
                    </a:lnTo>
                    <a:lnTo>
                      <a:pt x="2402" y="2804"/>
                    </a:lnTo>
                    <a:lnTo>
                      <a:pt x="2408" y="2810"/>
                    </a:lnTo>
                    <a:lnTo>
                      <a:pt x="2410" y="2816"/>
                    </a:lnTo>
                    <a:lnTo>
                      <a:pt x="2422" y="2834"/>
                    </a:lnTo>
                    <a:lnTo>
                      <a:pt x="2432" y="2848"/>
                    </a:lnTo>
                    <a:lnTo>
                      <a:pt x="2450" y="2864"/>
                    </a:lnTo>
                    <a:lnTo>
                      <a:pt x="2450" y="2864"/>
                    </a:lnTo>
                    <a:lnTo>
                      <a:pt x="2476" y="2890"/>
                    </a:lnTo>
                    <a:lnTo>
                      <a:pt x="2494" y="2912"/>
                    </a:lnTo>
                    <a:lnTo>
                      <a:pt x="2504" y="2928"/>
                    </a:lnTo>
                    <a:lnTo>
                      <a:pt x="2512" y="2942"/>
                    </a:lnTo>
                    <a:lnTo>
                      <a:pt x="2516" y="2954"/>
                    </a:lnTo>
                    <a:lnTo>
                      <a:pt x="2518" y="2964"/>
                    </a:lnTo>
                    <a:lnTo>
                      <a:pt x="2522" y="2976"/>
                    </a:lnTo>
                    <a:lnTo>
                      <a:pt x="2526" y="2988"/>
                    </a:lnTo>
                    <a:lnTo>
                      <a:pt x="2526" y="2988"/>
                    </a:lnTo>
                    <a:lnTo>
                      <a:pt x="2530" y="2998"/>
                    </a:lnTo>
                    <a:lnTo>
                      <a:pt x="2530" y="3010"/>
                    </a:lnTo>
                    <a:lnTo>
                      <a:pt x="2528" y="3020"/>
                    </a:lnTo>
                    <a:lnTo>
                      <a:pt x="2524" y="3028"/>
                    </a:lnTo>
                    <a:lnTo>
                      <a:pt x="2518" y="3038"/>
                    </a:lnTo>
                    <a:lnTo>
                      <a:pt x="2516" y="3050"/>
                    </a:lnTo>
                    <a:lnTo>
                      <a:pt x="2516" y="3060"/>
                    </a:lnTo>
                    <a:lnTo>
                      <a:pt x="2520" y="3072"/>
                    </a:lnTo>
                    <a:lnTo>
                      <a:pt x="2520" y="3072"/>
                    </a:lnTo>
                    <a:lnTo>
                      <a:pt x="2528" y="3084"/>
                    </a:lnTo>
                    <a:lnTo>
                      <a:pt x="2534" y="3094"/>
                    </a:lnTo>
                    <a:lnTo>
                      <a:pt x="2550" y="3106"/>
                    </a:lnTo>
                    <a:lnTo>
                      <a:pt x="2570" y="3120"/>
                    </a:lnTo>
                    <a:lnTo>
                      <a:pt x="2580" y="3130"/>
                    </a:lnTo>
                    <a:lnTo>
                      <a:pt x="2594" y="3140"/>
                    </a:lnTo>
                    <a:lnTo>
                      <a:pt x="2594" y="3140"/>
                    </a:lnTo>
                    <a:lnTo>
                      <a:pt x="2606" y="3152"/>
                    </a:lnTo>
                    <a:lnTo>
                      <a:pt x="2618" y="3158"/>
                    </a:lnTo>
                    <a:lnTo>
                      <a:pt x="2628" y="3162"/>
                    </a:lnTo>
                    <a:lnTo>
                      <a:pt x="2638" y="3164"/>
                    </a:lnTo>
                    <a:lnTo>
                      <a:pt x="2648" y="3168"/>
                    </a:lnTo>
                    <a:lnTo>
                      <a:pt x="2658" y="3170"/>
                    </a:lnTo>
                    <a:lnTo>
                      <a:pt x="2668" y="3176"/>
                    </a:lnTo>
                    <a:lnTo>
                      <a:pt x="2680" y="3186"/>
                    </a:lnTo>
                    <a:lnTo>
                      <a:pt x="2680" y="3186"/>
                    </a:lnTo>
                    <a:lnTo>
                      <a:pt x="2694" y="3198"/>
                    </a:lnTo>
                    <a:lnTo>
                      <a:pt x="2714" y="3210"/>
                    </a:lnTo>
                    <a:lnTo>
                      <a:pt x="2736" y="3224"/>
                    </a:lnTo>
                    <a:lnTo>
                      <a:pt x="2762" y="3236"/>
                    </a:lnTo>
                    <a:lnTo>
                      <a:pt x="2814" y="3260"/>
                    </a:lnTo>
                    <a:lnTo>
                      <a:pt x="2862" y="3278"/>
                    </a:lnTo>
                    <a:lnTo>
                      <a:pt x="2862" y="3278"/>
                    </a:lnTo>
                    <a:lnTo>
                      <a:pt x="2880" y="3282"/>
                    </a:lnTo>
                    <a:lnTo>
                      <a:pt x="2894" y="3282"/>
                    </a:lnTo>
                    <a:lnTo>
                      <a:pt x="2906" y="3278"/>
                    </a:lnTo>
                    <a:lnTo>
                      <a:pt x="2916" y="3272"/>
                    </a:lnTo>
                    <a:lnTo>
                      <a:pt x="2926" y="3266"/>
                    </a:lnTo>
                    <a:lnTo>
                      <a:pt x="2938" y="3260"/>
                    </a:lnTo>
                    <a:lnTo>
                      <a:pt x="2950" y="3258"/>
                    </a:lnTo>
                    <a:lnTo>
                      <a:pt x="2968" y="3260"/>
                    </a:lnTo>
                    <a:lnTo>
                      <a:pt x="2968" y="3260"/>
                    </a:lnTo>
                    <a:lnTo>
                      <a:pt x="2984" y="3264"/>
                    </a:lnTo>
                    <a:lnTo>
                      <a:pt x="2996" y="3272"/>
                    </a:lnTo>
                    <a:lnTo>
                      <a:pt x="3006" y="3280"/>
                    </a:lnTo>
                    <a:lnTo>
                      <a:pt x="3014" y="3290"/>
                    </a:lnTo>
                    <a:lnTo>
                      <a:pt x="3032" y="3314"/>
                    </a:lnTo>
                    <a:lnTo>
                      <a:pt x="3042" y="3326"/>
                    </a:lnTo>
                    <a:lnTo>
                      <a:pt x="3054" y="3338"/>
                    </a:lnTo>
                    <a:lnTo>
                      <a:pt x="3054" y="3338"/>
                    </a:lnTo>
                    <a:lnTo>
                      <a:pt x="3072" y="3356"/>
                    </a:lnTo>
                    <a:lnTo>
                      <a:pt x="3086" y="3364"/>
                    </a:lnTo>
                    <a:lnTo>
                      <a:pt x="3094" y="3368"/>
                    </a:lnTo>
                    <a:lnTo>
                      <a:pt x="3104" y="3368"/>
                    </a:lnTo>
                    <a:lnTo>
                      <a:pt x="3104" y="3368"/>
                    </a:lnTo>
                    <a:lnTo>
                      <a:pt x="3116" y="3368"/>
                    </a:lnTo>
                    <a:lnTo>
                      <a:pt x="3124" y="3370"/>
                    </a:lnTo>
                    <a:lnTo>
                      <a:pt x="3140" y="3376"/>
                    </a:lnTo>
                    <a:lnTo>
                      <a:pt x="3140" y="3376"/>
                    </a:lnTo>
                    <a:lnTo>
                      <a:pt x="3146" y="3382"/>
                    </a:lnTo>
                    <a:lnTo>
                      <a:pt x="3150" y="3386"/>
                    </a:lnTo>
                    <a:lnTo>
                      <a:pt x="3152" y="3388"/>
                    </a:lnTo>
                    <a:lnTo>
                      <a:pt x="3160" y="3390"/>
                    </a:lnTo>
                    <a:lnTo>
                      <a:pt x="3160" y="3390"/>
                    </a:lnTo>
                    <a:lnTo>
                      <a:pt x="3174" y="3392"/>
                    </a:lnTo>
                    <a:lnTo>
                      <a:pt x="3186" y="3398"/>
                    </a:lnTo>
                    <a:lnTo>
                      <a:pt x="3196" y="3404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6"/>
                    </a:lnTo>
                    <a:lnTo>
                      <a:pt x="3204" y="3404"/>
                    </a:lnTo>
                    <a:lnTo>
                      <a:pt x="3202" y="3402"/>
                    </a:lnTo>
                    <a:lnTo>
                      <a:pt x="3202" y="3400"/>
                    </a:lnTo>
                    <a:lnTo>
                      <a:pt x="3210" y="3404"/>
                    </a:lnTo>
                    <a:lnTo>
                      <a:pt x="3210" y="3404"/>
                    </a:lnTo>
                    <a:lnTo>
                      <a:pt x="3212" y="3406"/>
                    </a:lnTo>
                    <a:lnTo>
                      <a:pt x="3218" y="3406"/>
                    </a:lnTo>
                    <a:lnTo>
                      <a:pt x="3226" y="3406"/>
                    </a:lnTo>
                    <a:lnTo>
                      <a:pt x="3234" y="3404"/>
                    </a:lnTo>
                    <a:lnTo>
                      <a:pt x="3236" y="3402"/>
                    </a:lnTo>
                    <a:lnTo>
                      <a:pt x="3234" y="3400"/>
                    </a:lnTo>
                    <a:lnTo>
                      <a:pt x="3234" y="3400"/>
                    </a:lnTo>
                    <a:lnTo>
                      <a:pt x="3230" y="3398"/>
                    </a:lnTo>
                    <a:lnTo>
                      <a:pt x="3230" y="3396"/>
                    </a:lnTo>
                    <a:lnTo>
                      <a:pt x="3230" y="3394"/>
                    </a:lnTo>
                    <a:lnTo>
                      <a:pt x="3232" y="3394"/>
                    </a:lnTo>
                    <a:lnTo>
                      <a:pt x="3232" y="3394"/>
                    </a:lnTo>
                    <a:lnTo>
                      <a:pt x="3236" y="3396"/>
                    </a:lnTo>
                    <a:lnTo>
                      <a:pt x="3238" y="3396"/>
                    </a:lnTo>
                    <a:lnTo>
                      <a:pt x="3240" y="3392"/>
                    </a:lnTo>
                    <a:lnTo>
                      <a:pt x="3240" y="3392"/>
                    </a:lnTo>
                    <a:lnTo>
                      <a:pt x="3242" y="3398"/>
                    </a:lnTo>
                    <a:lnTo>
                      <a:pt x="3242" y="3398"/>
                    </a:lnTo>
                    <a:lnTo>
                      <a:pt x="3248" y="3406"/>
                    </a:lnTo>
                    <a:lnTo>
                      <a:pt x="3252" y="3410"/>
                    </a:lnTo>
                    <a:lnTo>
                      <a:pt x="3254" y="3412"/>
                    </a:lnTo>
                    <a:lnTo>
                      <a:pt x="3252" y="3416"/>
                    </a:lnTo>
                    <a:lnTo>
                      <a:pt x="3252" y="3416"/>
                    </a:lnTo>
                    <a:lnTo>
                      <a:pt x="3250" y="3418"/>
                    </a:lnTo>
                    <a:lnTo>
                      <a:pt x="3250" y="3418"/>
                    </a:lnTo>
                    <a:lnTo>
                      <a:pt x="3246" y="3416"/>
                    </a:lnTo>
                    <a:lnTo>
                      <a:pt x="3244" y="3412"/>
                    </a:lnTo>
                    <a:lnTo>
                      <a:pt x="3242" y="3412"/>
                    </a:lnTo>
                    <a:lnTo>
                      <a:pt x="3240" y="3414"/>
                    </a:lnTo>
                    <a:lnTo>
                      <a:pt x="3240" y="3414"/>
                    </a:lnTo>
                    <a:lnTo>
                      <a:pt x="3238" y="3418"/>
                    </a:lnTo>
                    <a:lnTo>
                      <a:pt x="3242" y="3422"/>
                    </a:lnTo>
                    <a:lnTo>
                      <a:pt x="3246" y="3426"/>
                    </a:lnTo>
                    <a:lnTo>
                      <a:pt x="3252" y="3434"/>
                    </a:lnTo>
                    <a:lnTo>
                      <a:pt x="3252" y="3434"/>
                    </a:lnTo>
                    <a:lnTo>
                      <a:pt x="3258" y="3442"/>
                    </a:lnTo>
                    <a:lnTo>
                      <a:pt x="3266" y="3448"/>
                    </a:lnTo>
                    <a:lnTo>
                      <a:pt x="3274" y="3454"/>
                    </a:lnTo>
                    <a:lnTo>
                      <a:pt x="3278" y="3460"/>
                    </a:lnTo>
                    <a:lnTo>
                      <a:pt x="3282" y="3466"/>
                    </a:lnTo>
                    <a:lnTo>
                      <a:pt x="3282" y="3466"/>
                    </a:lnTo>
                    <a:lnTo>
                      <a:pt x="3288" y="3478"/>
                    </a:lnTo>
                    <a:lnTo>
                      <a:pt x="3294" y="3486"/>
                    </a:lnTo>
                    <a:lnTo>
                      <a:pt x="3304" y="3494"/>
                    </a:lnTo>
                    <a:lnTo>
                      <a:pt x="3316" y="3506"/>
                    </a:lnTo>
                    <a:lnTo>
                      <a:pt x="3316" y="3506"/>
                    </a:lnTo>
                    <a:lnTo>
                      <a:pt x="3318" y="3510"/>
                    </a:lnTo>
                    <a:lnTo>
                      <a:pt x="3318" y="3512"/>
                    </a:lnTo>
                    <a:lnTo>
                      <a:pt x="3314" y="3514"/>
                    </a:lnTo>
                    <a:lnTo>
                      <a:pt x="3310" y="3518"/>
                    </a:lnTo>
                    <a:lnTo>
                      <a:pt x="3310" y="3518"/>
                    </a:lnTo>
                    <a:lnTo>
                      <a:pt x="3310" y="3520"/>
                    </a:lnTo>
                    <a:lnTo>
                      <a:pt x="3310" y="3520"/>
                    </a:lnTo>
                    <a:lnTo>
                      <a:pt x="3316" y="3522"/>
                    </a:lnTo>
                    <a:lnTo>
                      <a:pt x="3318" y="3522"/>
                    </a:lnTo>
                    <a:lnTo>
                      <a:pt x="3318" y="3522"/>
                    </a:lnTo>
                    <a:lnTo>
                      <a:pt x="3318" y="3528"/>
                    </a:lnTo>
                    <a:lnTo>
                      <a:pt x="3318" y="3528"/>
                    </a:lnTo>
                    <a:lnTo>
                      <a:pt x="3318" y="3534"/>
                    </a:lnTo>
                    <a:lnTo>
                      <a:pt x="3316" y="3534"/>
                    </a:lnTo>
                    <a:lnTo>
                      <a:pt x="3314" y="3536"/>
                    </a:lnTo>
                    <a:lnTo>
                      <a:pt x="3312" y="3540"/>
                    </a:lnTo>
                    <a:lnTo>
                      <a:pt x="3312" y="3540"/>
                    </a:lnTo>
                    <a:lnTo>
                      <a:pt x="3312" y="3550"/>
                    </a:lnTo>
                    <a:lnTo>
                      <a:pt x="3314" y="3558"/>
                    </a:lnTo>
                    <a:lnTo>
                      <a:pt x="3318" y="3564"/>
                    </a:lnTo>
                    <a:lnTo>
                      <a:pt x="3322" y="3566"/>
                    </a:lnTo>
                    <a:lnTo>
                      <a:pt x="3322" y="3566"/>
                    </a:lnTo>
                    <a:lnTo>
                      <a:pt x="3330" y="3570"/>
                    </a:lnTo>
                    <a:lnTo>
                      <a:pt x="3334" y="3574"/>
                    </a:lnTo>
                    <a:lnTo>
                      <a:pt x="3338" y="3578"/>
                    </a:lnTo>
                    <a:lnTo>
                      <a:pt x="3338" y="3578"/>
                    </a:lnTo>
                    <a:lnTo>
                      <a:pt x="3340" y="3582"/>
                    </a:lnTo>
                    <a:lnTo>
                      <a:pt x="3342" y="3580"/>
                    </a:lnTo>
                    <a:lnTo>
                      <a:pt x="3348" y="3574"/>
                    </a:lnTo>
                    <a:lnTo>
                      <a:pt x="3348" y="3574"/>
                    </a:lnTo>
                    <a:lnTo>
                      <a:pt x="3350" y="3572"/>
                    </a:lnTo>
                    <a:lnTo>
                      <a:pt x="3350" y="3570"/>
                    </a:lnTo>
                    <a:lnTo>
                      <a:pt x="3348" y="3566"/>
                    </a:lnTo>
                    <a:lnTo>
                      <a:pt x="3338" y="3558"/>
                    </a:lnTo>
                    <a:lnTo>
                      <a:pt x="3338" y="3558"/>
                    </a:lnTo>
                    <a:lnTo>
                      <a:pt x="3336" y="3554"/>
                    </a:lnTo>
                    <a:lnTo>
                      <a:pt x="3336" y="3552"/>
                    </a:lnTo>
                    <a:lnTo>
                      <a:pt x="3336" y="3550"/>
                    </a:lnTo>
                    <a:lnTo>
                      <a:pt x="3338" y="3552"/>
                    </a:lnTo>
                    <a:lnTo>
                      <a:pt x="3338" y="3552"/>
                    </a:lnTo>
                    <a:lnTo>
                      <a:pt x="3342" y="3554"/>
                    </a:lnTo>
                    <a:lnTo>
                      <a:pt x="3348" y="3558"/>
                    </a:lnTo>
                    <a:lnTo>
                      <a:pt x="3354" y="3562"/>
                    </a:lnTo>
                    <a:lnTo>
                      <a:pt x="3358" y="3566"/>
                    </a:lnTo>
                    <a:lnTo>
                      <a:pt x="3358" y="3566"/>
                    </a:lnTo>
                    <a:lnTo>
                      <a:pt x="3358" y="3576"/>
                    </a:lnTo>
                    <a:lnTo>
                      <a:pt x="3360" y="3578"/>
                    </a:lnTo>
                    <a:lnTo>
                      <a:pt x="3362" y="3582"/>
                    </a:lnTo>
                    <a:lnTo>
                      <a:pt x="3362" y="3582"/>
                    </a:lnTo>
                    <a:lnTo>
                      <a:pt x="3366" y="3584"/>
                    </a:lnTo>
                    <a:lnTo>
                      <a:pt x="3368" y="3586"/>
                    </a:lnTo>
                    <a:lnTo>
                      <a:pt x="3374" y="3586"/>
                    </a:lnTo>
                    <a:lnTo>
                      <a:pt x="3384" y="3592"/>
                    </a:lnTo>
                    <a:lnTo>
                      <a:pt x="3384" y="3592"/>
                    </a:lnTo>
                    <a:lnTo>
                      <a:pt x="3398" y="3604"/>
                    </a:lnTo>
                    <a:lnTo>
                      <a:pt x="3402" y="3608"/>
                    </a:lnTo>
                    <a:lnTo>
                      <a:pt x="3402" y="3612"/>
                    </a:lnTo>
                    <a:lnTo>
                      <a:pt x="3402" y="3612"/>
                    </a:lnTo>
                    <a:lnTo>
                      <a:pt x="3402" y="3620"/>
                    </a:lnTo>
                    <a:lnTo>
                      <a:pt x="3400" y="3624"/>
                    </a:lnTo>
                    <a:lnTo>
                      <a:pt x="3398" y="3626"/>
                    </a:lnTo>
                    <a:lnTo>
                      <a:pt x="3398" y="3626"/>
                    </a:lnTo>
                    <a:lnTo>
                      <a:pt x="3398" y="3628"/>
                    </a:lnTo>
                    <a:lnTo>
                      <a:pt x="3396" y="3630"/>
                    </a:lnTo>
                    <a:lnTo>
                      <a:pt x="3400" y="3634"/>
                    </a:lnTo>
                    <a:lnTo>
                      <a:pt x="3404" y="3636"/>
                    </a:lnTo>
                    <a:lnTo>
                      <a:pt x="3408" y="3638"/>
                    </a:lnTo>
                    <a:lnTo>
                      <a:pt x="3408" y="3638"/>
                    </a:lnTo>
                    <a:lnTo>
                      <a:pt x="3410" y="3640"/>
                    </a:lnTo>
                    <a:lnTo>
                      <a:pt x="3414" y="3640"/>
                    </a:lnTo>
                    <a:lnTo>
                      <a:pt x="3414" y="3642"/>
                    </a:lnTo>
                    <a:lnTo>
                      <a:pt x="3416" y="3640"/>
                    </a:lnTo>
                    <a:lnTo>
                      <a:pt x="3416" y="3640"/>
                    </a:lnTo>
                    <a:lnTo>
                      <a:pt x="3416" y="3636"/>
                    </a:lnTo>
                    <a:lnTo>
                      <a:pt x="3414" y="3634"/>
                    </a:lnTo>
                    <a:lnTo>
                      <a:pt x="3410" y="3630"/>
                    </a:lnTo>
                    <a:lnTo>
                      <a:pt x="3406" y="3626"/>
                    </a:lnTo>
                    <a:lnTo>
                      <a:pt x="3408" y="3626"/>
                    </a:lnTo>
                    <a:lnTo>
                      <a:pt x="3410" y="3624"/>
                    </a:lnTo>
                    <a:lnTo>
                      <a:pt x="3410" y="3624"/>
                    </a:lnTo>
                    <a:lnTo>
                      <a:pt x="3414" y="3622"/>
                    </a:lnTo>
                    <a:lnTo>
                      <a:pt x="3414" y="3624"/>
                    </a:lnTo>
                    <a:lnTo>
                      <a:pt x="3416" y="3628"/>
                    </a:lnTo>
                    <a:lnTo>
                      <a:pt x="3418" y="3630"/>
                    </a:lnTo>
                    <a:lnTo>
                      <a:pt x="3418" y="3630"/>
                    </a:lnTo>
                    <a:lnTo>
                      <a:pt x="3420" y="3630"/>
                    </a:lnTo>
                    <a:lnTo>
                      <a:pt x="3422" y="3632"/>
                    </a:lnTo>
                    <a:lnTo>
                      <a:pt x="3422" y="3636"/>
                    </a:lnTo>
                    <a:lnTo>
                      <a:pt x="3422" y="3642"/>
                    </a:lnTo>
                    <a:lnTo>
                      <a:pt x="3422" y="3646"/>
                    </a:lnTo>
                    <a:lnTo>
                      <a:pt x="3422" y="3646"/>
                    </a:lnTo>
                    <a:lnTo>
                      <a:pt x="3428" y="3654"/>
                    </a:lnTo>
                    <a:lnTo>
                      <a:pt x="3430" y="3656"/>
                    </a:lnTo>
                    <a:lnTo>
                      <a:pt x="3432" y="3656"/>
                    </a:lnTo>
                    <a:lnTo>
                      <a:pt x="3432" y="3656"/>
                    </a:lnTo>
                    <a:lnTo>
                      <a:pt x="3434" y="3648"/>
                    </a:lnTo>
                    <a:lnTo>
                      <a:pt x="3436" y="3646"/>
                    </a:lnTo>
                    <a:lnTo>
                      <a:pt x="3440" y="3644"/>
                    </a:lnTo>
                    <a:lnTo>
                      <a:pt x="3440" y="3644"/>
                    </a:lnTo>
                    <a:lnTo>
                      <a:pt x="3452" y="3646"/>
                    </a:lnTo>
                    <a:lnTo>
                      <a:pt x="3464" y="3650"/>
                    </a:lnTo>
                    <a:lnTo>
                      <a:pt x="3472" y="3652"/>
                    </a:lnTo>
                    <a:lnTo>
                      <a:pt x="3476" y="3654"/>
                    </a:lnTo>
                    <a:lnTo>
                      <a:pt x="3476" y="3654"/>
                    </a:lnTo>
                    <a:lnTo>
                      <a:pt x="3478" y="3652"/>
                    </a:lnTo>
                    <a:lnTo>
                      <a:pt x="3480" y="3654"/>
                    </a:lnTo>
                    <a:lnTo>
                      <a:pt x="3482" y="3662"/>
                    </a:lnTo>
                    <a:lnTo>
                      <a:pt x="3482" y="3662"/>
                    </a:lnTo>
                    <a:lnTo>
                      <a:pt x="3484" y="3666"/>
                    </a:lnTo>
                    <a:lnTo>
                      <a:pt x="3484" y="3670"/>
                    </a:lnTo>
                    <a:lnTo>
                      <a:pt x="3486" y="3672"/>
                    </a:lnTo>
                    <a:lnTo>
                      <a:pt x="3490" y="3676"/>
                    </a:lnTo>
                    <a:lnTo>
                      <a:pt x="3490" y="3676"/>
                    </a:lnTo>
                    <a:lnTo>
                      <a:pt x="3496" y="3678"/>
                    </a:lnTo>
                    <a:lnTo>
                      <a:pt x="3498" y="3678"/>
                    </a:lnTo>
                    <a:lnTo>
                      <a:pt x="3498" y="3674"/>
                    </a:lnTo>
                    <a:lnTo>
                      <a:pt x="3498" y="3674"/>
                    </a:lnTo>
                    <a:lnTo>
                      <a:pt x="3500" y="3668"/>
                    </a:lnTo>
                    <a:lnTo>
                      <a:pt x="3502" y="3666"/>
                    </a:lnTo>
                    <a:lnTo>
                      <a:pt x="3504" y="3666"/>
                    </a:lnTo>
                    <a:lnTo>
                      <a:pt x="3504" y="3668"/>
                    </a:lnTo>
                    <a:lnTo>
                      <a:pt x="3504" y="3668"/>
                    </a:lnTo>
                    <a:lnTo>
                      <a:pt x="3504" y="3672"/>
                    </a:lnTo>
                    <a:lnTo>
                      <a:pt x="3508" y="3680"/>
                    </a:lnTo>
                    <a:lnTo>
                      <a:pt x="3510" y="3686"/>
                    </a:lnTo>
                    <a:lnTo>
                      <a:pt x="3510" y="3694"/>
                    </a:lnTo>
                    <a:lnTo>
                      <a:pt x="3510" y="3694"/>
                    </a:lnTo>
                    <a:lnTo>
                      <a:pt x="3510" y="3696"/>
                    </a:lnTo>
                    <a:lnTo>
                      <a:pt x="3510" y="3698"/>
                    </a:lnTo>
                    <a:lnTo>
                      <a:pt x="3516" y="3698"/>
                    </a:lnTo>
                    <a:lnTo>
                      <a:pt x="3528" y="3696"/>
                    </a:lnTo>
                    <a:lnTo>
                      <a:pt x="3528" y="3696"/>
                    </a:lnTo>
                    <a:lnTo>
                      <a:pt x="3530" y="3696"/>
                    </a:lnTo>
                    <a:lnTo>
                      <a:pt x="3532" y="3696"/>
                    </a:lnTo>
                    <a:lnTo>
                      <a:pt x="3532" y="3692"/>
                    </a:lnTo>
                    <a:lnTo>
                      <a:pt x="3532" y="3690"/>
                    </a:lnTo>
                    <a:lnTo>
                      <a:pt x="3538" y="3688"/>
                    </a:lnTo>
                    <a:lnTo>
                      <a:pt x="3538" y="3688"/>
                    </a:lnTo>
                    <a:lnTo>
                      <a:pt x="3544" y="3688"/>
                    </a:lnTo>
                    <a:lnTo>
                      <a:pt x="3546" y="3686"/>
                    </a:lnTo>
                    <a:lnTo>
                      <a:pt x="3548" y="3684"/>
                    </a:lnTo>
                    <a:lnTo>
                      <a:pt x="3546" y="3680"/>
                    </a:lnTo>
                    <a:lnTo>
                      <a:pt x="3542" y="3672"/>
                    </a:lnTo>
                    <a:lnTo>
                      <a:pt x="3542" y="3672"/>
                    </a:lnTo>
                    <a:lnTo>
                      <a:pt x="3536" y="3664"/>
                    </a:lnTo>
                    <a:lnTo>
                      <a:pt x="3534" y="3660"/>
                    </a:lnTo>
                    <a:lnTo>
                      <a:pt x="3534" y="3658"/>
                    </a:lnTo>
                    <a:lnTo>
                      <a:pt x="3532" y="3658"/>
                    </a:lnTo>
                    <a:lnTo>
                      <a:pt x="3532" y="3658"/>
                    </a:lnTo>
                    <a:lnTo>
                      <a:pt x="3530" y="3658"/>
                    </a:lnTo>
                    <a:lnTo>
                      <a:pt x="3528" y="3656"/>
                    </a:lnTo>
                    <a:lnTo>
                      <a:pt x="3526" y="3652"/>
                    </a:lnTo>
                    <a:lnTo>
                      <a:pt x="3528" y="3648"/>
                    </a:lnTo>
                    <a:lnTo>
                      <a:pt x="3530" y="3646"/>
                    </a:lnTo>
                    <a:lnTo>
                      <a:pt x="3532" y="3646"/>
                    </a:lnTo>
                    <a:lnTo>
                      <a:pt x="3532" y="3646"/>
                    </a:lnTo>
                    <a:lnTo>
                      <a:pt x="3538" y="3644"/>
                    </a:lnTo>
                    <a:lnTo>
                      <a:pt x="3544" y="3642"/>
                    </a:lnTo>
                    <a:lnTo>
                      <a:pt x="3550" y="3636"/>
                    </a:lnTo>
                    <a:lnTo>
                      <a:pt x="3556" y="3628"/>
                    </a:lnTo>
                    <a:lnTo>
                      <a:pt x="3556" y="3628"/>
                    </a:lnTo>
                    <a:lnTo>
                      <a:pt x="3558" y="3624"/>
                    </a:lnTo>
                    <a:lnTo>
                      <a:pt x="3558" y="3622"/>
                    </a:lnTo>
                    <a:lnTo>
                      <a:pt x="3558" y="3618"/>
                    </a:lnTo>
                    <a:lnTo>
                      <a:pt x="3562" y="3616"/>
                    </a:lnTo>
                    <a:lnTo>
                      <a:pt x="3562" y="3616"/>
                    </a:lnTo>
                    <a:lnTo>
                      <a:pt x="3566" y="3614"/>
                    </a:lnTo>
                    <a:lnTo>
                      <a:pt x="3568" y="3612"/>
                    </a:lnTo>
                    <a:lnTo>
                      <a:pt x="3570" y="3610"/>
                    </a:lnTo>
                    <a:lnTo>
                      <a:pt x="3576" y="3610"/>
                    </a:lnTo>
                    <a:lnTo>
                      <a:pt x="3576" y="3610"/>
                    </a:lnTo>
                    <a:lnTo>
                      <a:pt x="3586" y="3612"/>
                    </a:lnTo>
                    <a:lnTo>
                      <a:pt x="3598" y="3620"/>
                    </a:lnTo>
                    <a:lnTo>
                      <a:pt x="3606" y="3626"/>
                    </a:lnTo>
                    <a:lnTo>
                      <a:pt x="3608" y="3630"/>
                    </a:lnTo>
                    <a:lnTo>
                      <a:pt x="3608" y="3632"/>
                    </a:lnTo>
                    <a:lnTo>
                      <a:pt x="3608" y="3632"/>
                    </a:lnTo>
                    <a:lnTo>
                      <a:pt x="3606" y="3636"/>
                    </a:lnTo>
                    <a:lnTo>
                      <a:pt x="3608" y="3638"/>
                    </a:lnTo>
                    <a:lnTo>
                      <a:pt x="3610" y="3640"/>
                    </a:lnTo>
                    <a:lnTo>
                      <a:pt x="3612" y="3640"/>
                    </a:lnTo>
                    <a:lnTo>
                      <a:pt x="3612" y="3640"/>
                    </a:lnTo>
                    <a:lnTo>
                      <a:pt x="3616" y="3638"/>
                    </a:lnTo>
                    <a:lnTo>
                      <a:pt x="3616" y="3638"/>
                    </a:lnTo>
                    <a:lnTo>
                      <a:pt x="3618" y="3638"/>
                    </a:lnTo>
                    <a:lnTo>
                      <a:pt x="3620" y="3638"/>
                    </a:lnTo>
                    <a:lnTo>
                      <a:pt x="3620" y="3638"/>
                    </a:lnTo>
                    <a:lnTo>
                      <a:pt x="3622" y="3638"/>
                    </a:lnTo>
                    <a:lnTo>
                      <a:pt x="3620" y="3640"/>
                    </a:lnTo>
                    <a:lnTo>
                      <a:pt x="3618" y="3648"/>
                    </a:lnTo>
                    <a:lnTo>
                      <a:pt x="3614" y="3658"/>
                    </a:lnTo>
                    <a:lnTo>
                      <a:pt x="3612" y="3662"/>
                    </a:lnTo>
                    <a:lnTo>
                      <a:pt x="3614" y="3666"/>
                    </a:lnTo>
                    <a:lnTo>
                      <a:pt x="3614" y="3666"/>
                    </a:lnTo>
                    <a:lnTo>
                      <a:pt x="3622" y="3682"/>
                    </a:lnTo>
                    <a:lnTo>
                      <a:pt x="3626" y="3690"/>
                    </a:lnTo>
                    <a:lnTo>
                      <a:pt x="3632" y="3696"/>
                    </a:lnTo>
                    <a:lnTo>
                      <a:pt x="3632" y="3696"/>
                    </a:lnTo>
                    <a:lnTo>
                      <a:pt x="3636" y="3700"/>
                    </a:lnTo>
                    <a:lnTo>
                      <a:pt x="3638" y="3702"/>
                    </a:lnTo>
                    <a:lnTo>
                      <a:pt x="3640" y="3704"/>
                    </a:lnTo>
                    <a:lnTo>
                      <a:pt x="3640" y="3708"/>
                    </a:lnTo>
                    <a:lnTo>
                      <a:pt x="3672" y="3654"/>
                    </a:lnTo>
                    <a:lnTo>
                      <a:pt x="3672" y="3654"/>
                    </a:lnTo>
                    <a:lnTo>
                      <a:pt x="3654" y="3626"/>
                    </a:lnTo>
                    <a:lnTo>
                      <a:pt x="3654" y="3626"/>
                    </a:lnTo>
                    <a:close/>
                    <a:moveTo>
                      <a:pt x="3590" y="1870"/>
                    </a:moveTo>
                    <a:lnTo>
                      <a:pt x="3590" y="1870"/>
                    </a:lnTo>
                    <a:lnTo>
                      <a:pt x="3570" y="1886"/>
                    </a:lnTo>
                    <a:lnTo>
                      <a:pt x="3558" y="1894"/>
                    </a:lnTo>
                    <a:lnTo>
                      <a:pt x="3546" y="1900"/>
                    </a:lnTo>
                    <a:lnTo>
                      <a:pt x="3546" y="1900"/>
                    </a:lnTo>
                    <a:lnTo>
                      <a:pt x="3536" y="1904"/>
                    </a:lnTo>
                    <a:lnTo>
                      <a:pt x="3524" y="1910"/>
                    </a:lnTo>
                    <a:lnTo>
                      <a:pt x="3508" y="1920"/>
                    </a:lnTo>
                    <a:lnTo>
                      <a:pt x="3488" y="1932"/>
                    </a:lnTo>
                    <a:lnTo>
                      <a:pt x="3488" y="1932"/>
                    </a:lnTo>
                    <a:lnTo>
                      <a:pt x="3466" y="1938"/>
                    </a:lnTo>
                    <a:lnTo>
                      <a:pt x="3448" y="1942"/>
                    </a:lnTo>
                    <a:lnTo>
                      <a:pt x="3434" y="1942"/>
                    </a:lnTo>
                    <a:lnTo>
                      <a:pt x="3426" y="1940"/>
                    </a:lnTo>
                    <a:lnTo>
                      <a:pt x="3426" y="1940"/>
                    </a:lnTo>
                    <a:lnTo>
                      <a:pt x="3424" y="1938"/>
                    </a:lnTo>
                    <a:lnTo>
                      <a:pt x="3424" y="1938"/>
                    </a:lnTo>
                    <a:lnTo>
                      <a:pt x="3430" y="1936"/>
                    </a:lnTo>
                    <a:lnTo>
                      <a:pt x="3434" y="1936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34" y="1934"/>
                    </a:lnTo>
                    <a:lnTo>
                      <a:pt x="3426" y="1932"/>
                    </a:lnTo>
                    <a:lnTo>
                      <a:pt x="3418" y="1930"/>
                    </a:lnTo>
                    <a:lnTo>
                      <a:pt x="3410" y="1930"/>
                    </a:lnTo>
                    <a:lnTo>
                      <a:pt x="3408" y="1928"/>
                    </a:lnTo>
                    <a:lnTo>
                      <a:pt x="3406" y="1926"/>
                    </a:lnTo>
                    <a:lnTo>
                      <a:pt x="3406" y="1926"/>
                    </a:lnTo>
                    <a:lnTo>
                      <a:pt x="3408" y="1922"/>
                    </a:lnTo>
                    <a:lnTo>
                      <a:pt x="3410" y="1916"/>
                    </a:lnTo>
                    <a:lnTo>
                      <a:pt x="3414" y="1910"/>
                    </a:lnTo>
                    <a:lnTo>
                      <a:pt x="3416" y="1900"/>
                    </a:lnTo>
                    <a:lnTo>
                      <a:pt x="3416" y="1900"/>
                    </a:lnTo>
                    <a:lnTo>
                      <a:pt x="3420" y="1892"/>
                    </a:lnTo>
                    <a:lnTo>
                      <a:pt x="3422" y="1890"/>
                    </a:lnTo>
                    <a:lnTo>
                      <a:pt x="3426" y="1886"/>
                    </a:lnTo>
                    <a:lnTo>
                      <a:pt x="3430" y="1880"/>
                    </a:lnTo>
                    <a:lnTo>
                      <a:pt x="3430" y="1880"/>
                    </a:lnTo>
                    <a:lnTo>
                      <a:pt x="3434" y="1872"/>
                    </a:lnTo>
                    <a:lnTo>
                      <a:pt x="3436" y="1870"/>
                    </a:lnTo>
                    <a:lnTo>
                      <a:pt x="3438" y="1872"/>
                    </a:lnTo>
                    <a:lnTo>
                      <a:pt x="3440" y="1880"/>
                    </a:lnTo>
                    <a:lnTo>
                      <a:pt x="3440" y="1880"/>
                    </a:lnTo>
                    <a:lnTo>
                      <a:pt x="3446" y="1882"/>
                    </a:lnTo>
                    <a:lnTo>
                      <a:pt x="3448" y="1884"/>
                    </a:lnTo>
                    <a:lnTo>
                      <a:pt x="3450" y="1886"/>
                    </a:lnTo>
                    <a:lnTo>
                      <a:pt x="3448" y="1888"/>
                    </a:lnTo>
                    <a:lnTo>
                      <a:pt x="3442" y="1892"/>
                    </a:lnTo>
                    <a:lnTo>
                      <a:pt x="3432" y="1894"/>
                    </a:lnTo>
                    <a:lnTo>
                      <a:pt x="3432" y="1894"/>
                    </a:lnTo>
                    <a:lnTo>
                      <a:pt x="3426" y="1894"/>
                    </a:lnTo>
                    <a:lnTo>
                      <a:pt x="3424" y="1896"/>
                    </a:lnTo>
                    <a:lnTo>
                      <a:pt x="3422" y="1898"/>
                    </a:lnTo>
                    <a:lnTo>
                      <a:pt x="3422" y="1902"/>
                    </a:lnTo>
                    <a:lnTo>
                      <a:pt x="3422" y="1904"/>
                    </a:lnTo>
                    <a:lnTo>
                      <a:pt x="3424" y="1906"/>
                    </a:lnTo>
                    <a:lnTo>
                      <a:pt x="3428" y="1908"/>
                    </a:lnTo>
                    <a:lnTo>
                      <a:pt x="3432" y="1908"/>
                    </a:lnTo>
                    <a:lnTo>
                      <a:pt x="3432" y="1908"/>
                    </a:lnTo>
                    <a:lnTo>
                      <a:pt x="3438" y="1908"/>
                    </a:lnTo>
                    <a:lnTo>
                      <a:pt x="3442" y="1910"/>
                    </a:lnTo>
                    <a:lnTo>
                      <a:pt x="3444" y="1912"/>
                    </a:lnTo>
                    <a:lnTo>
                      <a:pt x="3446" y="1910"/>
                    </a:lnTo>
                    <a:lnTo>
                      <a:pt x="3446" y="1910"/>
                    </a:lnTo>
                    <a:lnTo>
                      <a:pt x="3450" y="1904"/>
                    </a:lnTo>
                    <a:lnTo>
                      <a:pt x="3456" y="1900"/>
                    </a:lnTo>
                    <a:lnTo>
                      <a:pt x="3466" y="1896"/>
                    </a:lnTo>
                    <a:lnTo>
                      <a:pt x="3466" y="1896"/>
                    </a:lnTo>
                    <a:lnTo>
                      <a:pt x="3470" y="1892"/>
                    </a:lnTo>
                    <a:lnTo>
                      <a:pt x="3474" y="1888"/>
                    </a:lnTo>
                    <a:lnTo>
                      <a:pt x="3482" y="1880"/>
                    </a:lnTo>
                    <a:lnTo>
                      <a:pt x="3488" y="1876"/>
                    </a:lnTo>
                    <a:lnTo>
                      <a:pt x="3496" y="1874"/>
                    </a:lnTo>
                    <a:lnTo>
                      <a:pt x="3504" y="1874"/>
                    </a:lnTo>
                    <a:lnTo>
                      <a:pt x="3518" y="1876"/>
                    </a:lnTo>
                    <a:lnTo>
                      <a:pt x="3518" y="1876"/>
                    </a:lnTo>
                    <a:lnTo>
                      <a:pt x="3534" y="1880"/>
                    </a:lnTo>
                    <a:lnTo>
                      <a:pt x="3538" y="1880"/>
                    </a:lnTo>
                    <a:lnTo>
                      <a:pt x="3536" y="1878"/>
                    </a:lnTo>
                    <a:lnTo>
                      <a:pt x="3532" y="1876"/>
                    </a:lnTo>
                    <a:lnTo>
                      <a:pt x="3532" y="1872"/>
                    </a:lnTo>
                    <a:lnTo>
                      <a:pt x="3532" y="1870"/>
                    </a:lnTo>
                    <a:lnTo>
                      <a:pt x="3532" y="1870"/>
                    </a:lnTo>
                    <a:lnTo>
                      <a:pt x="3536" y="1866"/>
                    </a:lnTo>
                    <a:lnTo>
                      <a:pt x="3540" y="1864"/>
                    </a:lnTo>
                    <a:lnTo>
                      <a:pt x="3560" y="1862"/>
                    </a:lnTo>
                    <a:lnTo>
                      <a:pt x="3560" y="1862"/>
                    </a:lnTo>
                    <a:lnTo>
                      <a:pt x="3580" y="1860"/>
                    </a:lnTo>
                    <a:lnTo>
                      <a:pt x="3584" y="1860"/>
                    </a:lnTo>
                    <a:lnTo>
                      <a:pt x="3586" y="1858"/>
                    </a:lnTo>
                    <a:lnTo>
                      <a:pt x="3586" y="1858"/>
                    </a:lnTo>
                    <a:lnTo>
                      <a:pt x="3586" y="1854"/>
                    </a:lnTo>
                    <a:lnTo>
                      <a:pt x="3586" y="1852"/>
                    </a:lnTo>
                    <a:lnTo>
                      <a:pt x="3588" y="1850"/>
                    </a:lnTo>
                    <a:lnTo>
                      <a:pt x="3588" y="1850"/>
                    </a:lnTo>
                    <a:lnTo>
                      <a:pt x="3590" y="1850"/>
                    </a:lnTo>
                    <a:lnTo>
                      <a:pt x="3592" y="1852"/>
                    </a:lnTo>
                    <a:lnTo>
                      <a:pt x="3594" y="1858"/>
                    </a:lnTo>
                    <a:lnTo>
                      <a:pt x="3592" y="1864"/>
                    </a:lnTo>
                    <a:lnTo>
                      <a:pt x="3590" y="1870"/>
                    </a:lnTo>
                    <a:lnTo>
                      <a:pt x="3590" y="1870"/>
                    </a:lnTo>
                    <a:close/>
                    <a:moveTo>
                      <a:pt x="3578" y="1812"/>
                    </a:moveTo>
                    <a:lnTo>
                      <a:pt x="3578" y="1812"/>
                    </a:lnTo>
                    <a:lnTo>
                      <a:pt x="3586" y="1806"/>
                    </a:lnTo>
                    <a:lnTo>
                      <a:pt x="3596" y="1804"/>
                    </a:lnTo>
                    <a:lnTo>
                      <a:pt x="3624" y="1798"/>
                    </a:lnTo>
                    <a:lnTo>
                      <a:pt x="3624" y="1798"/>
                    </a:lnTo>
                    <a:lnTo>
                      <a:pt x="3636" y="1796"/>
                    </a:lnTo>
                    <a:lnTo>
                      <a:pt x="3642" y="1794"/>
                    </a:lnTo>
                    <a:lnTo>
                      <a:pt x="3656" y="1802"/>
                    </a:lnTo>
                    <a:lnTo>
                      <a:pt x="3656" y="1802"/>
                    </a:lnTo>
                    <a:lnTo>
                      <a:pt x="3662" y="1804"/>
                    </a:lnTo>
                    <a:lnTo>
                      <a:pt x="3664" y="1804"/>
                    </a:lnTo>
                    <a:lnTo>
                      <a:pt x="3668" y="1804"/>
                    </a:lnTo>
                    <a:lnTo>
                      <a:pt x="3668" y="1802"/>
                    </a:lnTo>
                    <a:lnTo>
                      <a:pt x="3672" y="1794"/>
                    </a:lnTo>
                    <a:lnTo>
                      <a:pt x="3674" y="1790"/>
                    </a:lnTo>
                    <a:lnTo>
                      <a:pt x="3678" y="1788"/>
                    </a:lnTo>
                    <a:lnTo>
                      <a:pt x="3678" y="1788"/>
                    </a:lnTo>
                    <a:lnTo>
                      <a:pt x="3686" y="1782"/>
                    </a:lnTo>
                    <a:lnTo>
                      <a:pt x="3696" y="1778"/>
                    </a:lnTo>
                    <a:lnTo>
                      <a:pt x="3706" y="1776"/>
                    </a:lnTo>
                    <a:lnTo>
                      <a:pt x="3716" y="1770"/>
                    </a:lnTo>
                    <a:lnTo>
                      <a:pt x="3716" y="1770"/>
                    </a:lnTo>
                    <a:lnTo>
                      <a:pt x="3714" y="1774"/>
                    </a:lnTo>
                    <a:lnTo>
                      <a:pt x="3712" y="1778"/>
                    </a:lnTo>
                    <a:lnTo>
                      <a:pt x="3708" y="1782"/>
                    </a:lnTo>
                    <a:lnTo>
                      <a:pt x="3702" y="1784"/>
                    </a:lnTo>
                    <a:lnTo>
                      <a:pt x="3702" y="1784"/>
                    </a:lnTo>
                    <a:lnTo>
                      <a:pt x="3698" y="1786"/>
                    </a:lnTo>
                    <a:lnTo>
                      <a:pt x="3694" y="1790"/>
                    </a:lnTo>
                    <a:lnTo>
                      <a:pt x="3696" y="1794"/>
                    </a:lnTo>
                    <a:lnTo>
                      <a:pt x="3698" y="1798"/>
                    </a:lnTo>
                    <a:lnTo>
                      <a:pt x="3698" y="1798"/>
                    </a:lnTo>
                    <a:lnTo>
                      <a:pt x="3702" y="1800"/>
                    </a:lnTo>
                    <a:lnTo>
                      <a:pt x="3702" y="1802"/>
                    </a:lnTo>
                    <a:lnTo>
                      <a:pt x="3700" y="1806"/>
                    </a:lnTo>
                    <a:lnTo>
                      <a:pt x="3700" y="1814"/>
                    </a:lnTo>
                    <a:lnTo>
                      <a:pt x="3700" y="1814"/>
                    </a:lnTo>
                    <a:lnTo>
                      <a:pt x="3700" y="1820"/>
                    </a:lnTo>
                    <a:lnTo>
                      <a:pt x="3696" y="1822"/>
                    </a:lnTo>
                    <a:lnTo>
                      <a:pt x="3690" y="1826"/>
                    </a:lnTo>
                    <a:lnTo>
                      <a:pt x="3684" y="1830"/>
                    </a:lnTo>
                    <a:lnTo>
                      <a:pt x="3684" y="1830"/>
                    </a:lnTo>
                    <a:lnTo>
                      <a:pt x="3680" y="1834"/>
                    </a:lnTo>
                    <a:lnTo>
                      <a:pt x="3676" y="1836"/>
                    </a:lnTo>
                    <a:lnTo>
                      <a:pt x="3662" y="1838"/>
                    </a:lnTo>
                    <a:lnTo>
                      <a:pt x="3648" y="1838"/>
                    </a:lnTo>
                    <a:lnTo>
                      <a:pt x="3638" y="1834"/>
                    </a:lnTo>
                    <a:lnTo>
                      <a:pt x="3638" y="1834"/>
                    </a:lnTo>
                    <a:lnTo>
                      <a:pt x="3628" y="1832"/>
                    </a:lnTo>
                    <a:lnTo>
                      <a:pt x="3616" y="1830"/>
                    </a:lnTo>
                    <a:lnTo>
                      <a:pt x="3604" y="1832"/>
                    </a:lnTo>
                    <a:lnTo>
                      <a:pt x="3594" y="1834"/>
                    </a:lnTo>
                    <a:lnTo>
                      <a:pt x="3594" y="1834"/>
                    </a:lnTo>
                    <a:lnTo>
                      <a:pt x="3588" y="1838"/>
                    </a:lnTo>
                    <a:lnTo>
                      <a:pt x="3582" y="1840"/>
                    </a:lnTo>
                    <a:lnTo>
                      <a:pt x="3574" y="1842"/>
                    </a:lnTo>
                    <a:lnTo>
                      <a:pt x="3574" y="1842"/>
                    </a:lnTo>
                    <a:lnTo>
                      <a:pt x="3568" y="1842"/>
                    </a:lnTo>
                    <a:lnTo>
                      <a:pt x="3562" y="1842"/>
                    </a:lnTo>
                    <a:lnTo>
                      <a:pt x="3560" y="1840"/>
                    </a:lnTo>
                    <a:lnTo>
                      <a:pt x="3558" y="1838"/>
                    </a:lnTo>
                    <a:lnTo>
                      <a:pt x="3558" y="1834"/>
                    </a:lnTo>
                    <a:lnTo>
                      <a:pt x="3560" y="1828"/>
                    </a:lnTo>
                    <a:lnTo>
                      <a:pt x="3560" y="1828"/>
                    </a:lnTo>
                    <a:lnTo>
                      <a:pt x="3564" y="1820"/>
                    </a:lnTo>
                    <a:lnTo>
                      <a:pt x="3570" y="1818"/>
                    </a:lnTo>
                    <a:lnTo>
                      <a:pt x="3574" y="1816"/>
                    </a:lnTo>
                    <a:lnTo>
                      <a:pt x="3578" y="1812"/>
                    </a:lnTo>
                    <a:lnTo>
                      <a:pt x="3578" y="1812"/>
                    </a:lnTo>
                    <a:close/>
                    <a:moveTo>
                      <a:pt x="3092" y="1606"/>
                    </a:moveTo>
                    <a:lnTo>
                      <a:pt x="3092" y="1606"/>
                    </a:lnTo>
                    <a:lnTo>
                      <a:pt x="3104" y="1594"/>
                    </a:lnTo>
                    <a:lnTo>
                      <a:pt x="3118" y="1586"/>
                    </a:lnTo>
                    <a:lnTo>
                      <a:pt x="3158" y="1566"/>
                    </a:lnTo>
                    <a:lnTo>
                      <a:pt x="3158" y="1566"/>
                    </a:lnTo>
                    <a:lnTo>
                      <a:pt x="3164" y="1564"/>
                    </a:lnTo>
                    <a:lnTo>
                      <a:pt x="3164" y="1564"/>
                    </a:lnTo>
                    <a:lnTo>
                      <a:pt x="3168" y="1560"/>
                    </a:lnTo>
                    <a:lnTo>
                      <a:pt x="3172" y="1556"/>
                    </a:lnTo>
                    <a:lnTo>
                      <a:pt x="3176" y="1544"/>
                    </a:lnTo>
                    <a:lnTo>
                      <a:pt x="3176" y="1544"/>
                    </a:lnTo>
                    <a:lnTo>
                      <a:pt x="3180" y="1538"/>
                    </a:lnTo>
                    <a:lnTo>
                      <a:pt x="3184" y="1534"/>
                    </a:lnTo>
                    <a:lnTo>
                      <a:pt x="3188" y="1534"/>
                    </a:lnTo>
                    <a:lnTo>
                      <a:pt x="3190" y="1536"/>
                    </a:lnTo>
                    <a:lnTo>
                      <a:pt x="3190" y="1538"/>
                    </a:lnTo>
                    <a:lnTo>
                      <a:pt x="3190" y="1542"/>
                    </a:lnTo>
                    <a:lnTo>
                      <a:pt x="3190" y="1542"/>
                    </a:lnTo>
                    <a:lnTo>
                      <a:pt x="3188" y="1548"/>
                    </a:lnTo>
                    <a:lnTo>
                      <a:pt x="3192" y="1544"/>
                    </a:lnTo>
                    <a:lnTo>
                      <a:pt x="3196" y="1536"/>
                    </a:lnTo>
                    <a:lnTo>
                      <a:pt x="3200" y="1524"/>
                    </a:lnTo>
                    <a:lnTo>
                      <a:pt x="3200" y="1524"/>
                    </a:lnTo>
                    <a:lnTo>
                      <a:pt x="3204" y="1516"/>
                    </a:lnTo>
                    <a:lnTo>
                      <a:pt x="3206" y="1516"/>
                    </a:lnTo>
                    <a:lnTo>
                      <a:pt x="3208" y="1516"/>
                    </a:lnTo>
                    <a:lnTo>
                      <a:pt x="3208" y="1522"/>
                    </a:lnTo>
                    <a:lnTo>
                      <a:pt x="3206" y="1532"/>
                    </a:lnTo>
                    <a:lnTo>
                      <a:pt x="3206" y="1532"/>
                    </a:lnTo>
                    <a:lnTo>
                      <a:pt x="3204" y="1538"/>
                    </a:lnTo>
                    <a:lnTo>
                      <a:pt x="3204" y="1540"/>
                    </a:lnTo>
                    <a:lnTo>
                      <a:pt x="3204" y="1540"/>
                    </a:lnTo>
                    <a:lnTo>
                      <a:pt x="3216" y="1532"/>
                    </a:lnTo>
                    <a:lnTo>
                      <a:pt x="3216" y="1532"/>
                    </a:lnTo>
                    <a:lnTo>
                      <a:pt x="3218" y="1530"/>
                    </a:lnTo>
                    <a:lnTo>
                      <a:pt x="3220" y="1526"/>
                    </a:lnTo>
                    <a:lnTo>
                      <a:pt x="3218" y="1520"/>
                    </a:lnTo>
                    <a:lnTo>
                      <a:pt x="3216" y="1514"/>
                    </a:lnTo>
                    <a:lnTo>
                      <a:pt x="3216" y="1512"/>
                    </a:lnTo>
                    <a:lnTo>
                      <a:pt x="3216" y="1510"/>
                    </a:lnTo>
                    <a:lnTo>
                      <a:pt x="3216" y="1510"/>
                    </a:lnTo>
                    <a:lnTo>
                      <a:pt x="3220" y="1508"/>
                    </a:lnTo>
                    <a:lnTo>
                      <a:pt x="3224" y="1510"/>
                    </a:lnTo>
                    <a:lnTo>
                      <a:pt x="3236" y="1514"/>
                    </a:lnTo>
                    <a:lnTo>
                      <a:pt x="3248" y="1520"/>
                    </a:lnTo>
                    <a:lnTo>
                      <a:pt x="3254" y="1522"/>
                    </a:lnTo>
                    <a:lnTo>
                      <a:pt x="3260" y="1522"/>
                    </a:lnTo>
                    <a:lnTo>
                      <a:pt x="3260" y="1522"/>
                    </a:lnTo>
                    <a:lnTo>
                      <a:pt x="3268" y="1522"/>
                    </a:lnTo>
                    <a:lnTo>
                      <a:pt x="3272" y="1522"/>
                    </a:lnTo>
                    <a:lnTo>
                      <a:pt x="3276" y="1522"/>
                    </a:lnTo>
                    <a:lnTo>
                      <a:pt x="3284" y="1522"/>
                    </a:lnTo>
                    <a:lnTo>
                      <a:pt x="3284" y="1522"/>
                    </a:lnTo>
                    <a:lnTo>
                      <a:pt x="3288" y="1524"/>
                    </a:lnTo>
                    <a:lnTo>
                      <a:pt x="3292" y="1528"/>
                    </a:lnTo>
                    <a:lnTo>
                      <a:pt x="3296" y="1542"/>
                    </a:lnTo>
                    <a:lnTo>
                      <a:pt x="3298" y="1550"/>
                    </a:lnTo>
                    <a:lnTo>
                      <a:pt x="3302" y="1558"/>
                    </a:lnTo>
                    <a:lnTo>
                      <a:pt x="3308" y="1566"/>
                    </a:lnTo>
                    <a:lnTo>
                      <a:pt x="3314" y="1570"/>
                    </a:lnTo>
                    <a:lnTo>
                      <a:pt x="3314" y="1570"/>
                    </a:lnTo>
                    <a:lnTo>
                      <a:pt x="3320" y="1572"/>
                    </a:lnTo>
                    <a:lnTo>
                      <a:pt x="3328" y="1572"/>
                    </a:lnTo>
                    <a:lnTo>
                      <a:pt x="3340" y="1570"/>
                    </a:lnTo>
                    <a:lnTo>
                      <a:pt x="3344" y="1570"/>
                    </a:lnTo>
                    <a:lnTo>
                      <a:pt x="3348" y="1570"/>
                    </a:lnTo>
                    <a:lnTo>
                      <a:pt x="3348" y="1574"/>
                    </a:lnTo>
                    <a:lnTo>
                      <a:pt x="3346" y="1580"/>
                    </a:lnTo>
                    <a:lnTo>
                      <a:pt x="3346" y="1580"/>
                    </a:lnTo>
                    <a:lnTo>
                      <a:pt x="3344" y="1588"/>
                    </a:lnTo>
                    <a:lnTo>
                      <a:pt x="3346" y="1594"/>
                    </a:lnTo>
                    <a:lnTo>
                      <a:pt x="3358" y="1604"/>
                    </a:lnTo>
                    <a:lnTo>
                      <a:pt x="3358" y="1604"/>
                    </a:lnTo>
                    <a:lnTo>
                      <a:pt x="3360" y="1606"/>
                    </a:lnTo>
                    <a:lnTo>
                      <a:pt x="3360" y="1610"/>
                    </a:lnTo>
                    <a:lnTo>
                      <a:pt x="3358" y="1618"/>
                    </a:lnTo>
                    <a:lnTo>
                      <a:pt x="3354" y="1624"/>
                    </a:lnTo>
                    <a:lnTo>
                      <a:pt x="3354" y="1626"/>
                    </a:lnTo>
                    <a:lnTo>
                      <a:pt x="3356" y="1630"/>
                    </a:lnTo>
                    <a:lnTo>
                      <a:pt x="3356" y="1630"/>
                    </a:lnTo>
                    <a:lnTo>
                      <a:pt x="3362" y="1630"/>
                    </a:lnTo>
                    <a:lnTo>
                      <a:pt x="3364" y="1630"/>
                    </a:lnTo>
                    <a:lnTo>
                      <a:pt x="3366" y="1630"/>
                    </a:lnTo>
                    <a:lnTo>
                      <a:pt x="3368" y="1632"/>
                    </a:lnTo>
                    <a:lnTo>
                      <a:pt x="3368" y="1632"/>
                    </a:lnTo>
                    <a:lnTo>
                      <a:pt x="3370" y="1634"/>
                    </a:lnTo>
                    <a:lnTo>
                      <a:pt x="3368" y="1636"/>
                    </a:lnTo>
                    <a:lnTo>
                      <a:pt x="3364" y="1640"/>
                    </a:lnTo>
                    <a:lnTo>
                      <a:pt x="3362" y="1642"/>
                    </a:lnTo>
                    <a:lnTo>
                      <a:pt x="3362" y="1648"/>
                    </a:lnTo>
                    <a:lnTo>
                      <a:pt x="3362" y="1648"/>
                    </a:lnTo>
                    <a:lnTo>
                      <a:pt x="3362" y="1652"/>
                    </a:lnTo>
                    <a:lnTo>
                      <a:pt x="3364" y="1654"/>
                    </a:lnTo>
                    <a:lnTo>
                      <a:pt x="3372" y="1652"/>
                    </a:lnTo>
                    <a:lnTo>
                      <a:pt x="3380" y="1652"/>
                    </a:lnTo>
                    <a:lnTo>
                      <a:pt x="3382" y="1652"/>
                    </a:lnTo>
                    <a:lnTo>
                      <a:pt x="3382" y="1656"/>
                    </a:lnTo>
                    <a:lnTo>
                      <a:pt x="3382" y="1656"/>
                    </a:lnTo>
                    <a:lnTo>
                      <a:pt x="3382" y="1662"/>
                    </a:lnTo>
                    <a:lnTo>
                      <a:pt x="3386" y="1664"/>
                    </a:lnTo>
                    <a:lnTo>
                      <a:pt x="3392" y="1666"/>
                    </a:lnTo>
                    <a:lnTo>
                      <a:pt x="3402" y="1668"/>
                    </a:lnTo>
                    <a:lnTo>
                      <a:pt x="3402" y="1668"/>
                    </a:lnTo>
                    <a:lnTo>
                      <a:pt x="3416" y="1672"/>
                    </a:lnTo>
                    <a:lnTo>
                      <a:pt x="3430" y="1674"/>
                    </a:lnTo>
                    <a:lnTo>
                      <a:pt x="3446" y="1674"/>
                    </a:lnTo>
                    <a:lnTo>
                      <a:pt x="3460" y="1676"/>
                    </a:lnTo>
                    <a:lnTo>
                      <a:pt x="3460" y="1676"/>
                    </a:lnTo>
                    <a:lnTo>
                      <a:pt x="3470" y="1676"/>
                    </a:lnTo>
                    <a:lnTo>
                      <a:pt x="3478" y="1676"/>
                    </a:lnTo>
                    <a:lnTo>
                      <a:pt x="3484" y="1678"/>
                    </a:lnTo>
                    <a:lnTo>
                      <a:pt x="3484" y="1678"/>
                    </a:lnTo>
                    <a:lnTo>
                      <a:pt x="3484" y="1680"/>
                    </a:lnTo>
                    <a:lnTo>
                      <a:pt x="3484" y="1680"/>
                    </a:lnTo>
                    <a:lnTo>
                      <a:pt x="3484" y="1682"/>
                    </a:lnTo>
                    <a:lnTo>
                      <a:pt x="3484" y="1684"/>
                    </a:lnTo>
                    <a:lnTo>
                      <a:pt x="3490" y="1686"/>
                    </a:lnTo>
                    <a:lnTo>
                      <a:pt x="3508" y="1686"/>
                    </a:lnTo>
                    <a:lnTo>
                      <a:pt x="3508" y="1686"/>
                    </a:lnTo>
                    <a:lnTo>
                      <a:pt x="3514" y="1688"/>
                    </a:lnTo>
                    <a:lnTo>
                      <a:pt x="3518" y="1692"/>
                    </a:lnTo>
                    <a:lnTo>
                      <a:pt x="3526" y="1704"/>
                    </a:lnTo>
                    <a:lnTo>
                      <a:pt x="3532" y="1716"/>
                    </a:lnTo>
                    <a:lnTo>
                      <a:pt x="3534" y="1718"/>
                    </a:lnTo>
                    <a:lnTo>
                      <a:pt x="3536" y="1718"/>
                    </a:lnTo>
                    <a:lnTo>
                      <a:pt x="3536" y="1718"/>
                    </a:lnTo>
                    <a:lnTo>
                      <a:pt x="3540" y="1716"/>
                    </a:lnTo>
                    <a:lnTo>
                      <a:pt x="3542" y="1716"/>
                    </a:lnTo>
                    <a:lnTo>
                      <a:pt x="3544" y="1720"/>
                    </a:lnTo>
                    <a:lnTo>
                      <a:pt x="3544" y="1726"/>
                    </a:lnTo>
                    <a:lnTo>
                      <a:pt x="3544" y="1726"/>
                    </a:lnTo>
                    <a:lnTo>
                      <a:pt x="3544" y="1730"/>
                    </a:lnTo>
                    <a:lnTo>
                      <a:pt x="3546" y="1734"/>
                    </a:lnTo>
                    <a:lnTo>
                      <a:pt x="3552" y="1742"/>
                    </a:lnTo>
                    <a:lnTo>
                      <a:pt x="3556" y="1748"/>
                    </a:lnTo>
                    <a:lnTo>
                      <a:pt x="3560" y="1756"/>
                    </a:lnTo>
                    <a:lnTo>
                      <a:pt x="3560" y="1756"/>
                    </a:lnTo>
                    <a:lnTo>
                      <a:pt x="3558" y="1758"/>
                    </a:lnTo>
                    <a:lnTo>
                      <a:pt x="3558" y="1758"/>
                    </a:lnTo>
                    <a:lnTo>
                      <a:pt x="3554" y="1754"/>
                    </a:lnTo>
                    <a:lnTo>
                      <a:pt x="3548" y="1750"/>
                    </a:lnTo>
                    <a:lnTo>
                      <a:pt x="3546" y="1750"/>
                    </a:lnTo>
                    <a:lnTo>
                      <a:pt x="3544" y="1750"/>
                    </a:lnTo>
                    <a:lnTo>
                      <a:pt x="3544" y="1750"/>
                    </a:lnTo>
                    <a:lnTo>
                      <a:pt x="3542" y="1752"/>
                    </a:lnTo>
                    <a:lnTo>
                      <a:pt x="3542" y="1754"/>
                    </a:lnTo>
                    <a:lnTo>
                      <a:pt x="3546" y="1760"/>
                    </a:lnTo>
                    <a:lnTo>
                      <a:pt x="3548" y="1766"/>
                    </a:lnTo>
                    <a:lnTo>
                      <a:pt x="3546" y="1768"/>
                    </a:lnTo>
                    <a:lnTo>
                      <a:pt x="3544" y="1770"/>
                    </a:lnTo>
                    <a:lnTo>
                      <a:pt x="3544" y="1770"/>
                    </a:lnTo>
                    <a:lnTo>
                      <a:pt x="3542" y="1772"/>
                    </a:lnTo>
                    <a:lnTo>
                      <a:pt x="3538" y="1770"/>
                    </a:lnTo>
                    <a:lnTo>
                      <a:pt x="3530" y="1764"/>
                    </a:lnTo>
                    <a:lnTo>
                      <a:pt x="3520" y="1760"/>
                    </a:lnTo>
                    <a:lnTo>
                      <a:pt x="3516" y="1758"/>
                    </a:lnTo>
                    <a:lnTo>
                      <a:pt x="3512" y="1760"/>
                    </a:lnTo>
                    <a:lnTo>
                      <a:pt x="3512" y="1760"/>
                    </a:lnTo>
                    <a:lnTo>
                      <a:pt x="3508" y="1762"/>
                    </a:lnTo>
                    <a:lnTo>
                      <a:pt x="3508" y="1758"/>
                    </a:lnTo>
                    <a:lnTo>
                      <a:pt x="3508" y="1754"/>
                    </a:lnTo>
                    <a:lnTo>
                      <a:pt x="3508" y="1754"/>
                    </a:lnTo>
                    <a:lnTo>
                      <a:pt x="3504" y="1754"/>
                    </a:lnTo>
                    <a:lnTo>
                      <a:pt x="3504" y="1754"/>
                    </a:lnTo>
                    <a:lnTo>
                      <a:pt x="3502" y="1754"/>
                    </a:lnTo>
                    <a:lnTo>
                      <a:pt x="3502" y="1754"/>
                    </a:lnTo>
                    <a:lnTo>
                      <a:pt x="3504" y="1750"/>
                    </a:lnTo>
                    <a:lnTo>
                      <a:pt x="3506" y="1746"/>
                    </a:lnTo>
                    <a:lnTo>
                      <a:pt x="3504" y="1744"/>
                    </a:lnTo>
                    <a:lnTo>
                      <a:pt x="3502" y="1742"/>
                    </a:lnTo>
                    <a:lnTo>
                      <a:pt x="3502" y="1742"/>
                    </a:lnTo>
                    <a:lnTo>
                      <a:pt x="3498" y="1742"/>
                    </a:lnTo>
                    <a:lnTo>
                      <a:pt x="3496" y="1740"/>
                    </a:lnTo>
                    <a:lnTo>
                      <a:pt x="3494" y="1734"/>
                    </a:lnTo>
                    <a:lnTo>
                      <a:pt x="3494" y="1728"/>
                    </a:lnTo>
                    <a:lnTo>
                      <a:pt x="3492" y="1728"/>
                    </a:lnTo>
                    <a:lnTo>
                      <a:pt x="3490" y="1726"/>
                    </a:lnTo>
                    <a:lnTo>
                      <a:pt x="3490" y="1726"/>
                    </a:lnTo>
                    <a:lnTo>
                      <a:pt x="3486" y="1726"/>
                    </a:lnTo>
                    <a:lnTo>
                      <a:pt x="3482" y="1726"/>
                    </a:lnTo>
                    <a:lnTo>
                      <a:pt x="3480" y="1724"/>
                    </a:lnTo>
                    <a:lnTo>
                      <a:pt x="3478" y="1726"/>
                    </a:lnTo>
                    <a:lnTo>
                      <a:pt x="3478" y="1726"/>
                    </a:lnTo>
                    <a:lnTo>
                      <a:pt x="3480" y="1730"/>
                    </a:lnTo>
                    <a:lnTo>
                      <a:pt x="3484" y="1736"/>
                    </a:lnTo>
                    <a:lnTo>
                      <a:pt x="3490" y="1744"/>
                    </a:lnTo>
                    <a:lnTo>
                      <a:pt x="3496" y="1756"/>
                    </a:lnTo>
                    <a:lnTo>
                      <a:pt x="3496" y="1756"/>
                    </a:lnTo>
                    <a:lnTo>
                      <a:pt x="3496" y="1762"/>
                    </a:lnTo>
                    <a:lnTo>
                      <a:pt x="3494" y="1766"/>
                    </a:lnTo>
                    <a:lnTo>
                      <a:pt x="3486" y="1776"/>
                    </a:lnTo>
                    <a:lnTo>
                      <a:pt x="3482" y="1782"/>
                    </a:lnTo>
                    <a:lnTo>
                      <a:pt x="3480" y="1788"/>
                    </a:lnTo>
                    <a:lnTo>
                      <a:pt x="3476" y="1796"/>
                    </a:lnTo>
                    <a:lnTo>
                      <a:pt x="3476" y="1806"/>
                    </a:lnTo>
                    <a:lnTo>
                      <a:pt x="3476" y="1806"/>
                    </a:lnTo>
                    <a:lnTo>
                      <a:pt x="3476" y="1826"/>
                    </a:lnTo>
                    <a:lnTo>
                      <a:pt x="3476" y="1832"/>
                    </a:lnTo>
                    <a:lnTo>
                      <a:pt x="3472" y="1838"/>
                    </a:lnTo>
                    <a:lnTo>
                      <a:pt x="3468" y="1842"/>
                    </a:lnTo>
                    <a:lnTo>
                      <a:pt x="3464" y="1844"/>
                    </a:lnTo>
                    <a:lnTo>
                      <a:pt x="3448" y="1852"/>
                    </a:lnTo>
                    <a:lnTo>
                      <a:pt x="3448" y="1852"/>
                    </a:lnTo>
                    <a:lnTo>
                      <a:pt x="3446" y="1846"/>
                    </a:lnTo>
                    <a:lnTo>
                      <a:pt x="3444" y="1838"/>
                    </a:lnTo>
                    <a:lnTo>
                      <a:pt x="3440" y="1818"/>
                    </a:lnTo>
                    <a:lnTo>
                      <a:pt x="3438" y="1808"/>
                    </a:lnTo>
                    <a:lnTo>
                      <a:pt x="3434" y="1802"/>
                    </a:lnTo>
                    <a:lnTo>
                      <a:pt x="3428" y="1796"/>
                    </a:lnTo>
                    <a:lnTo>
                      <a:pt x="3424" y="1796"/>
                    </a:lnTo>
                    <a:lnTo>
                      <a:pt x="3424" y="1796"/>
                    </a:lnTo>
                    <a:lnTo>
                      <a:pt x="3418" y="1798"/>
                    </a:lnTo>
                    <a:lnTo>
                      <a:pt x="3414" y="1800"/>
                    </a:lnTo>
                    <a:lnTo>
                      <a:pt x="3408" y="1808"/>
                    </a:lnTo>
                    <a:lnTo>
                      <a:pt x="3404" y="1816"/>
                    </a:lnTo>
                    <a:lnTo>
                      <a:pt x="3400" y="1818"/>
                    </a:lnTo>
                    <a:lnTo>
                      <a:pt x="3398" y="1820"/>
                    </a:lnTo>
                    <a:lnTo>
                      <a:pt x="3398" y="1820"/>
                    </a:lnTo>
                    <a:lnTo>
                      <a:pt x="3394" y="1818"/>
                    </a:lnTo>
                    <a:lnTo>
                      <a:pt x="3392" y="1816"/>
                    </a:lnTo>
                    <a:lnTo>
                      <a:pt x="3388" y="1810"/>
                    </a:lnTo>
                    <a:lnTo>
                      <a:pt x="3390" y="1802"/>
                    </a:lnTo>
                    <a:lnTo>
                      <a:pt x="3392" y="1798"/>
                    </a:lnTo>
                    <a:lnTo>
                      <a:pt x="3394" y="1796"/>
                    </a:lnTo>
                    <a:lnTo>
                      <a:pt x="3394" y="1796"/>
                    </a:lnTo>
                    <a:lnTo>
                      <a:pt x="3400" y="1790"/>
                    </a:lnTo>
                    <a:lnTo>
                      <a:pt x="3406" y="1784"/>
                    </a:lnTo>
                    <a:lnTo>
                      <a:pt x="3410" y="1776"/>
                    </a:lnTo>
                    <a:lnTo>
                      <a:pt x="3412" y="1764"/>
                    </a:lnTo>
                    <a:lnTo>
                      <a:pt x="3412" y="1764"/>
                    </a:lnTo>
                    <a:lnTo>
                      <a:pt x="3412" y="1758"/>
                    </a:lnTo>
                    <a:lnTo>
                      <a:pt x="3412" y="1754"/>
                    </a:lnTo>
                    <a:lnTo>
                      <a:pt x="3410" y="1746"/>
                    </a:lnTo>
                    <a:lnTo>
                      <a:pt x="3408" y="1740"/>
                    </a:lnTo>
                    <a:lnTo>
                      <a:pt x="3408" y="1738"/>
                    </a:lnTo>
                    <a:lnTo>
                      <a:pt x="3410" y="1738"/>
                    </a:lnTo>
                    <a:lnTo>
                      <a:pt x="3410" y="1738"/>
                    </a:lnTo>
                    <a:lnTo>
                      <a:pt x="3414" y="1736"/>
                    </a:lnTo>
                    <a:lnTo>
                      <a:pt x="3414" y="1734"/>
                    </a:lnTo>
                    <a:lnTo>
                      <a:pt x="3410" y="1728"/>
                    </a:lnTo>
                    <a:lnTo>
                      <a:pt x="3402" y="1722"/>
                    </a:lnTo>
                    <a:lnTo>
                      <a:pt x="3392" y="1716"/>
                    </a:lnTo>
                    <a:lnTo>
                      <a:pt x="3392" y="1716"/>
                    </a:lnTo>
                    <a:lnTo>
                      <a:pt x="3382" y="1712"/>
                    </a:lnTo>
                    <a:lnTo>
                      <a:pt x="3380" y="1708"/>
                    </a:lnTo>
                    <a:lnTo>
                      <a:pt x="3378" y="1706"/>
                    </a:lnTo>
                    <a:lnTo>
                      <a:pt x="3372" y="1704"/>
                    </a:lnTo>
                    <a:lnTo>
                      <a:pt x="3372" y="1704"/>
                    </a:lnTo>
                    <a:lnTo>
                      <a:pt x="3366" y="1702"/>
                    </a:lnTo>
                    <a:lnTo>
                      <a:pt x="3362" y="1698"/>
                    </a:lnTo>
                    <a:lnTo>
                      <a:pt x="3358" y="1696"/>
                    </a:lnTo>
                    <a:lnTo>
                      <a:pt x="3356" y="1696"/>
                    </a:lnTo>
                    <a:lnTo>
                      <a:pt x="3352" y="1698"/>
                    </a:lnTo>
                    <a:lnTo>
                      <a:pt x="3346" y="1702"/>
                    </a:lnTo>
                    <a:lnTo>
                      <a:pt x="3346" y="1702"/>
                    </a:lnTo>
                    <a:lnTo>
                      <a:pt x="3342" y="1706"/>
                    </a:lnTo>
                    <a:lnTo>
                      <a:pt x="3340" y="1710"/>
                    </a:lnTo>
                    <a:lnTo>
                      <a:pt x="3342" y="1712"/>
                    </a:lnTo>
                    <a:lnTo>
                      <a:pt x="3344" y="1714"/>
                    </a:lnTo>
                    <a:lnTo>
                      <a:pt x="3346" y="1718"/>
                    </a:lnTo>
                    <a:lnTo>
                      <a:pt x="3340" y="1720"/>
                    </a:lnTo>
                    <a:lnTo>
                      <a:pt x="3340" y="1720"/>
                    </a:lnTo>
                    <a:lnTo>
                      <a:pt x="3334" y="1722"/>
                    </a:lnTo>
                    <a:lnTo>
                      <a:pt x="3330" y="1726"/>
                    </a:lnTo>
                    <a:lnTo>
                      <a:pt x="3328" y="1732"/>
                    </a:lnTo>
                    <a:lnTo>
                      <a:pt x="3328" y="1738"/>
                    </a:lnTo>
                    <a:lnTo>
                      <a:pt x="3326" y="1748"/>
                    </a:lnTo>
                    <a:lnTo>
                      <a:pt x="3324" y="1752"/>
                    </a:lnTo>
                    <a:lnTo>
                      <a:pt x="3322" y="1752"/>
                    </a:lnTo>
                    <a:lnTo>
                      <a:pt x="3322" y="1752"/>
                    </a:lnTo>
                    <a:lnTo>
                      <a:pt x="3320" y="1752"/>
                    </a:lnTo>
                    <a:lnTo>
                      <a:pt x="3318" y="1748"/>
                    </a:lnTo>
                    <a:lnTo>
                      <a:pt x="3318" y="1738"/>
                    </a:lnTo>
                    <a:lnTo>
                      <a:pt x="3318" y="1734"/>
                    </a:lnTo>
                    <a:lnTo>
                      <a:pt x="3316" y="1734"/>
                    </a:lnTo>
                    <a:lnTo>
                      <a:pt x="3314" y="1736"/>
                    </a:lnTo>
                    <a:lnTo>
                      <a:pt x="3308" y="1744"/>
                    </a:lnTo>
                    <a:lnTo>
                      <a:pt x="3308" y="1744"/>
                    </a:lnTo>
                    <a:lnTo>
                      <a:pt x="3300" y="1752"/>
                    </a:lnTo>
                    <a:lnTo>
                      <a:pt x="3296" y="1754"/>
                    </a:lnTo>
                    <a:lnTo>
                      <a:pt x="3294" y="1756"/>
                    </a:lnTo>
                    <a:lnTo>
                      <a:pt x="3294" y="1766"/>
                    </a:lnTo>
                    <a:lnTo>
                      <a:pt x="3294" y="1766"/>
                    </a:lnTo>
                    <a:lnTo>
                      <a:pt x="3296" y="1772"/>
                    </a:lnTo>
                    <a:lnTo>
                      <a:pt x="3294" y="1778"/>
                    </a:lnTo>
                    <a:lnTo>
                      <a:pt x="3290" y="1786"/>
                    </a:lnTo>
                    <a:lnTo>
                      <a:pt x="3286" y="1792"/>
                    </a:lnTo>
                    <a:lnTo>
                      <a:pt x="3286" y="1796"/>
                    </a:lnTo>
                    <a:lnTo>
                      <a:pt x="3286" y="1800"/>
                    </a:lnTo>
                    <a:lnTo>
                      <a:pt x="3286" y="1800"/>
                    </a:lnTo>
                    <a:lnTo>
                      <a:pt x="3288" y="1808"/>
                    </a:lnTo>
                    <a:lnTo>
                      <a:pt x="3286" y="1812"/>
                    </a:lnTo>
                    <a:lnTo>
                      <a:pt x="3284" y="1818"/>
                    </a:lnTo>
                    <a:lnTo>
                      <a:pt x="3286" y="1828"/>
                    </a:lnTo>
                    <a:lnTo>
                      <a:pt x="3286" y="1828"/>
                    </a:lnTo>
                    <a:lnTo>
                      <a:pt x="3292" y="1840"/>
                    </a:lnTo>
                    <a:lnTo>
                      <a:pt x="3294" y="1852"/>
                    </a:lnTo>
                    <a:lnTo>
                      <a:pt x="3296" y="1862"/>
                    </a:lnTo>
                    <a:lnTo>
                      <a:pt x="3294" y="1872"/>
                    </a:lnTo>
                    <a:lnTo>
                      <a:pt x="3294" y="1880"/>
                    </a:lnTo>
                    <a:lnTo>
                      <a:pt x="3290" y="1890"/>
                    </a:lnTo>
                    <a:lnTo>
                      <a:pt x="3282" y="1908"/>
                    </a:lnTo>
                    <a:lnTo>
                      <a:pt x="3282" y="1908"/>
                    </a:lnTo>
                    <a:lnTo>
                      <a:pt x="3276" y="1916"/>
                    </a:lnTo>
                    <a:lnTo>
                      <a:pt x="3270" y="1922"/>
                    </a:lnTo>
                    <a:lnTo>
                      <a:pt x="3264" y="1928"/>
                    </a:lnTo>
                    <a:lnTo>
                      <a:pt x="3258" y="1930"/>
                    </a:lnTo>
                    <a:lnTo>
                      <a:pt x="3252" y="1930"/>
                    </a:lnTo>
                    <a:lnTo>
                      <a:pt x="3246" y="1926"/>
                    </a:lnTo>
                    <a:lnTo>
                      <a:pt x="3242" y="1922"/>
                    </a:lnTo>
                    <a:lnTo>
                      <a:pt x="3236" y="1914"/>
                    </a:lnTo>
                    <a:lnTo>
                      <a:pt x="3236" y="1914"/>
                    </a:lnTo>
                    <a:lnTo>
                      <a:pt x="3232" y="1904"/>
                    </a:lnTo>
                    <a:lnTo>
                      <a:pt x="3230" y="1898"/>
                    </a:lnTo>
                    <a:lnTo>
                      <a:pt x="3230" y="1884"/>
                    </a:lnTo>
                    <a:lnTo>
                      <a:pt x="3230" y="1872"/>
                    </a:lnTo>
                    <a:lnTo>
                      <a:pt x="3230" y="1864"/>
                    </a:lnTo>
                    <a:lnTo>
                      <a:pt x="3230" y="1856"/>
                    </a:lnTo>
                    <a:lnTo>
                      <a:pt x="3230" y="1856"/>
                    </a:lnTo>
                    <a:lnTo>
                      <a:pt x="3228" y="1842"/>
                    </a:lnTo>
                    <a:lnTo>
                      <a:pt x="3228" y="1834"/>
                    </a:lnTo>
                    <a:lnTo>
                      <a:pt x="3232" y="1824"/>
                    </a:lnTo>
                    <a:lnTo>
                      <a:pt x="3234" y="1810"/>
                    </a:lnTo>
                    <a:lnTo>
                      <a:pt x="3234" y="1810"/>
                    </a:lnTo>
                    <a:lnTo>
                      <a:pt x="3234" y="1802"/>
                    </a:lnTo>
                    <a:lnTo>
                      <a:pt x="3236" y="1796"/>
                    </a:lnTo>
                    <a:lnTo>
                      <a:pt x="3238" y="1792"/>
                    </a:lnTo>
                    <a:lnTo>
                      <a:pt x="3240" y="1792"/>
                    </a:lnTo>
                    <a:lnTo>
                      <a:pt x="3242" y="1790"/>
                    </a:lnTo>
                    <a:lnTo>
                      <a:pt x="3242" y="1784"/>
                    </a:lnTo>
                    <a:lnTo>
                      <a:pt x="3242" y="1784"/>
                    </a:lnTo>
                    <a:lnTo>
                      <a:pt x="3240" y="1780"/>
                    </a:lnTo>
                    <a:lnTo>
                      <a:pt x="3242" y="1776"/>
                    </a:lnTo>
                    <a:lnTo>
                      <a:pt x="3246" y="1764"/>
                    </a:lnTo>
                    <a:lnTo>
                      <a:pt x="3248" y="1754"/>
                    </a:lnTo>
                    <a:lnTo>
                      <a:pt x="3248" y="1752"/>
                    </a:lnTo>
                    <a:lnTo>
                      <a:pt x="3246" y="1748"/>
                    </a:lnTo>
                    <a:lnTo>
                      <a:pt x="3246" y="1748"/>
                    </a:lnTo>
                    <a:lnTo>
                      <a:pt x="3240" y="1748"/>
                    </a:lnTo>
                    <a:lnTo>
                      <a:pt x="3238" y="1752"/>
                    </a:lnTo>
                    <a:lnTo>
                      <a:pt x="3234" y="1758"/>
                    </a:lnTo>
                    <a:lnTo>
                      <a:pt x="3228" y="1764"/>
                    </a:lnTo>
                    <a:lnTo>
                      <a:pt x="3228" y="1764"/>
                    </a:lnTo>
                    <a:lnTo>
                      <a:pt x="3226" y="1766"/>
                    </a:lnTo>
                    <a:lnTo>
                      <a:pt x="3224" y="1766"/>
                    </a:lnTo>
                    <a:lnTo>
                      <a:pt x="3224" y="1758"/>
                    </a:lnTo>
                    <a:lnTo>
                      <a:pt x="3226" y="1750"/>
                    </a:lnTo>
                    <a:lnTo>
                      <a:pt x="3230" y="1746"/>
                    </a:lnTo>
                    <a:lnTo>
                      <a:pt x="3232" y="1742"/>
                    </a:lnTo>
                    <a:lnTo>
                      <a:pt x="3232" y="1742"/>
                    </a:lnTo>
                    <a:lnTo>
                      <a:pt x="3236" y="1740"/>
                    </a:lnTo>
                    <a:lnTo>
                      <a:pt x="3238" y="1736"/>
                    </a:lnTo>
                    <a:lnTo>
                      <a:pt x="3240" y="1732"/>
                    </a:lnTo>
                    <a:lnTo>
                      <a:pt x="3244" y="1726"/>
                    </a:lnTo>
                    <a:lnTo>
                      <a:pt x="3244" y="1726"/>
                    </a:lnTo>
                    <a:lnTo>
                      <a:pt x="3252" y="1714"/>
                    </a:lnTo>
                    <a:lnTo>
                      <a:pt x="3258" y="1700"/>
                    </a:lnTo>
                    <a:lnTo>
                      <a:pt x="3264" y="1692"/>
                    </a:lnTo>
                    <a:lnTo>
                      <a:pt x="3266" y="1690"/>
                    </a:lnTo>
                    <a:lnTo>
                      <a:pt x="3266" y="1692"/>
                    </a:lnTo>
                    <a:lnTo>
                      <a:pt x="3266" y="1692"/>
                    </a:lnTo>
                    <a:lnTo>
                      <a:pt x="3268" y="1696"/>
                    </a:lnTo>
                    <a:lnTo>
                      <a:pt x="3270" y="1696"/>
                    </a:lnTo>
                    <a:lnTo>
                      <a:pt x="3274" y="1694"/>
                    </a:lnTo>
                    <a:lnTo>
                      <a:pt x="3278" y="1692"/>
                    </a:lnTo>
                    <a:lnTo>
                      <a:pt x="3280" y="1692"/>
                    </a:lnTo>
                    <a:lnTo>
                      <a:pt x="3278" y="1698"/>
                    </a:lnTo>
                    <a:lnTo>
                      <a:pt x="3278" y="1698"/>
                    </a:lnTo>
                    <a:lnTo>
                      <a:pt x="3278" y="1702"/>
                    </a:lnTo>
                    <a:lnTo>
                      <a:pt x="3278" y="1702"/>
                    </a:lnTo>
                    <a:lnTo>
                      <a:pt x="3284" y="1696"/>
                    </a:lnTo>
                    <a:lnTo>
                      <a:pt x="3292" y="1688"/>
                    </a:lnTo>
                    <a:lnTo>
                      <a:pt x="3296" y="1686"/>
                    </a:lnTo>
                    <a:lnTo>
                      <a:pt x="3300" y="1684"/>
                    </a:lnTo>
                    <a:lnTo>
                      <a:pt x="3300" y="1684"/>
                    </a:lnTo>
                    <a:lnTo>
                      <a:pt x="3310" y="1684"/>
                    </a:lnTo>
                    <a:lnTo>
                      <a:pt x="3314" y="1684"/>
                    </a:lnTo>
                    <a:lnTo>
                      <a:pt x="3320" y="1678"/>
                    </a:lnTo>
                    <a:lnTo>
                      <a:pt x="3324" y="1676"/>
                    </a:lnTo>
                    <a:lnTo>
                      <a:pt x="3328" y="1678"/>
                    </a:lnTo>
                    <a:lnTo>
                      <a:pt x="3336" y="1680"/>
                    </a:lnTo>
                    <a:lnTo>
                      <a:pt x="3346" y="1686"/>
                    </a:lnTo>
                    <a:lnTo>
                      <a:pt x="3346" y="1686"/>
                    </a:lnTo>
                    <a:lnTo>
                      <a:pt x="3352" y="1690"/>
                    </a:lnTo>
                    <a:lnTo>
                      <a:pt x="3354" y="1690"/>
                    </a:lnTo>
                    <a:lnTo>
                      <a:pt x="3356" y="1688"/>
                    </a:lnTo>
                    <a:lnTo>
                      <a:pt x="3358" y="1686"/>
                    </a:lnTo>
                    <a:lnTo>
                      <a:pt x="3358" y="1682"/>
                    </a:lnTo>
                    <a:lnTo>
                      <a:pt x="3360" y="1680"/>
                    </a:lnTo>
                    <a:lnTo>
                      <a:pt x="3362" y="1680"/>
                    </a:lnTo>
                    <a:lnTo>
                      <a:pt x="3362" y="1680"/>
                    </a:lnTo>
                    <a:lnTo>
                      <a:pt x="3370" y="1684"/>
                    </a:lnTo>
                    <a:lnTo>
                      <a:pt x="3380" y="1686"/>
                    </a:lnTo>
                    <a:lnTo>
                      <a:pt x="3386" y="1684"/>
                    </a:lnTo>
                    <a:lnTo>
                      <a:pt x="3388" y="1682"/>
                    </a:lnTo>
                    <a:lnTo>
                      <a:pt x="3388" y="1678"/>
                    </a:lnTo>
                    <a:lnTo>
                      <a:pt x="3388" y="1678"/>
                    </a:lnTo>
                    <a:lnTo>
                      <a:pt x="3384" y="1674"/>
                    </a:lnTo>
                    <a:lnTo>
                      <a:pt x="3380" y="1672"/>
                    </a:lnTo>
                    <a:lnTo>
                      <a:pt x="3376" y="1670"/>
                    </a:lnTo>
                    <a:lnTo>
                      <a:pt x="3374" y="1662"/>
                    </a:lnTo>
                    <a:lnTo>
                      <a:pt x="3374" y="1662"/>
                    </a:lnTo>
                    <a:lnTo>
                      <a:pt x="3374" y="1658"/>
                    </a:lnTo>
                    <a:lnTo>
                      <a:pt x="3372" y="1658"/>
                    </a:lnTo>
                    <a:lnTo>
                      <a:pt x="3368" y="1658"/>
                    </a:lnTo>
                    <a:lnTo>
                      <a:pt x="3360" y="1658"/>
                    </a:lnTo>
                    <a:lnTo>
                      <a:pt x="3348" y="1654"/>
                    </a:lnTo>
                    <a:lnTo>
                      <a:pt x="3348" y="1654"/>
                    </a:lnTo>
                    <a:lnTo>
                      <a:pt x="3346" y="1652"/>
                    </a:lnTo>
                    <a:lnTo>
                      <a:pt x="3344" y="1650"/>
                    </a:lnTo>
                    <a:lnTo>
                      <a:pt x="3344" y="1644"/>
                    </a:lnTo>
                    <a:lnTo>
                      <a:pt x="3346" y="1638"/>
                    </a:lnTo>
                    <a:lnTo>
                      <a:pt x="3344" y="1638"/>
                    </a:lnTo>
                    <a:lnTo>
                      <a:pt x="3340" y="1640"/>
                    </a:lnTo>
                    <a:lnTo>
                      <a:pt x="3340" y="1640"/>
                    </a:lnTo>
                    <a:lnTo>
                      <a:pt x="3330" y="1642"/>
                    </a:lnTo>
                    <a:lnTo>
                      <a:pt x="3314" y="1644"/>
                    </a:lnTo>
                    <a:lnTo>
                      <a:pt x="3300" y="1646"/>
                    </a:lnTo>
                    <a:lnTo>
                      <a:pt x="3294" y="1648"/>
                    </a:lnTo>
                    <a:lnTo>
                      <a:pt x="3288" y="1652"/>
                    </a:lnTo>
                    <a:lnTo>
                      <a:pt x="3288" y="1652"/>
                    </a:lnTo>
                    <a:lnTo>
                      <a:pt x="3280" y="1656"/>
                    </a:lnTo>
                    <a:lnTo>
                      <a:pt x="3274" y="1656"/>
                    </a:lnTo>
                    <a:lnTo>
                      <a:pt x="3268" y="1656"/>
                    </a:lnTo>
                    <a:lnTo>
                      <a:pt x="3258" y="1654"/>
                    </a:lnTo>
                    <a:lnTo>
                      <a:pt x="3258" y="1654"/>
                    </a:lnTo>
                    <a:lnTo>
                      <a:pt x="3252" y="1654"/>
                    </a:lnTo>
                    <a:lnTo>
                      <a:pt x="3250" y="1652"/>
                    </a:lnTo>
                    <a:lnTo>
                      <a:pt x="3244" y="1646"/>
                    </a:lnTo>
                    <a:lnTo>
                      <a:pt x="3238" y="1636"/>
                    </a:lnTo>
                    <a:lnTo>
                      <a:pt x="3234" y="1632"/>
                    </a:lnTo>
                    <a:lnTo>
                      <a:pt x="3228" y="1630"/>
                    </a:lnTo>
                    <a:lnTo>
                      <a:pt x="3228" y="1630"/>
                    </a:lnTo>
                    <a:lnTo>
                      <a:pt x="3222" y="1628"/>
                    </a:lnTo>
                    <a:lnTo>
                      <a:pt x="3218" y="1628"/>
                    </a:lnTo>
                    <a:lnTo>
                      <a:pt x="3210" y="1632"/>
                    </a:lnTo>
                    <a:lnTo>
                      <a:pt x="3208" y="1634"/>
                    </a:lnTo>
                    <a:lnTo>
                      <a:pt x="3206" y="1634"/>
                    </a:lnTo>
                    <a:lnTo>
                      <a:pt x="3206" y="1632"/>
                    </a:lnTo>
                    <a:lnTo>
                      <a:pt x="3204" y="1628"/>
                    </a:lnTo>
                    <a:lnTo>
                      <a:pt x="3204" y="1628"/>
                    </a:lnTo>
                    <a:lnTo>
                      <a:pt x="3202" y="1618"/>
                    </a:lnTo>
                    <a:lnTo>
                      <a:pt x="3200" y="1616"/>
                    </a:lnTo>
                    <a:lnTo>
                      <a:pt x="3198" y="1614"/>
                    </a:lnTo>
                    <a:lnTo>
                      <a:pt x="3190" y="1618"/>
                    </a:lnTo>
                    <a:lnTo>
                      <a:pt x="3180" y="1628"/>
                    </a:lnTo>
                    <a:lnTo>
                      <a:pt x="3180" y="1628"/>
                    </a:lnTo>
                    <a:lnTo>
                      <a:pt x="3176" y="1632"/>
                    </a:lnTo>
                    <a:lnTo>
                      <a:pt x="3170" y="1634"/>
                    </a:lnTo>
                    <a:lnTo>
                      <a:pt x="3164" y="1636"/>
                    </a:lnTo>
                    <a:lnTo>
                      <a:pt x="3156" y="1636"/>
                    </a:lnTo>
                    <a:lnTo>
                      <a:pt x="3150" y="1638"/>
                    </a:lnTo>
                    <a:lnTo>
                      <a:pt x="3144" y="1642"/>
                    </a:lnTo>
                    <a:lnTo>
                      <a:pt x="3144" y="1642"/>
                    </a:lnTo>
                    <a:lnTo>
                      <a:pt x="3134" y="1648"/>
                    </a:lnTo>
                    <a:lnTo>
                      <a:pt x="3126" y="1650"/>
                    </a:lnTo>
                    <a:lnTo>
                      <a:pt x="3118" y="1648"/>
                    </a:lnTo>
                    <a:lnTo>
                      <a:pt x="3110" y="1648"/>
                    </a:lnTo>
                    <a:lnTo>
                      <a:pt x="3110" y="1648"/>
                    </a:lnTo>
                    <a:lnTo>
                      <a:pt x="3106" y="1650"/>
                    </a:lnTo>
                    <a:lnTo>
                      <a:pt x="3104" y="1648"/>
                    </a:lnTo>
                    <a:lnTo>
                      <a:pt x="3108" y="1640"/>
                    </a:lnTo>
                    <a:lnTo>
                      <a:pt x="3112" y="1632"/>
                    </a:lnTo>
                    <a:lnTo>
                      <a:pt x="3110" y="1630"/>
                    </a:lnTo>
                    <a:lnTo>
                      <a:pt x="3108" y="1628"/>
                    </a:lnTo>
                    <a:lnTo>
                      <a:pt x="3108" y="1628"/>
                    </a:lnTo>
                    <a:lnTo>
                      <a:pt x="3104" y="1628"/>
                    </a:lnTo>
                    <a:lnTo>
                      <a:pt x="3098" y="1630"/>
                    </a:lnTo>
                    <a:lnTo>
                      <a:pt x="3086" y="1636"/>
                    </a:lnTo>
                    <a:lnTo>
                      <a:pt x="3074" y="1642"/>
                    </a:lnTo>
                    <a:lnTo>
                      <a:pt x="3068" y="1642"/>
                    </a:lnTo>
                    <a:lnTo>
                      <a:pt x="3062" y="1642"/>
                    </a:lnTo>
                    <a:lnTo>
                      <a:pt x="3062" y="1642"/>
                    </a:lnTo>
                    <a:lnTo>
                      <a:pt x="3058" y="1640"/>
                    </a:lnTo>
                    <a:lnTo>
                      <a:pt x="3058" y="1638"/>
                    </a:lnTo>
                    <a:lnTo>
                      <a:pt x="3060" y="1636"/>
                    </a:lnTo>
                    <a:lnTo>
                      <a:pt x="3064" y="1632"/>
                    </a:lnTo>
                    <a:lnTo>
                      <a:pt x="3076" y="1620"/>
                    </a:lnTo>
                    <a:lnTo>
                      <a:pt x="3092" y="1606"/>
                    </a:lnTo>
                    <a:lnTo>
                      <a:pt x="3092" y="160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2" name="Freeform 6087">
                <a:extLst>
                  <a:ext uri="{FF2B5EF4-FFF2-40B4-BE49-F238E27FC236}">
                    <a16:creationId xmlns:a16="http://schemas.microsoft.com/office/drawing/2014/main" id="{3DDF8171-F9A8-446A-BA26-75F45C54981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7860" y="823913"/>
                <a:ext cx="304800" cy="171450"/>
              </a:xfrm>
              <a:custGeom>
                <a:avLst/>
                <a:gdLst/>
                <a:ahLst/>
                <a:cxnLst>
                  <a:cxn ang="0">
                    <a:pos x="78" y="174"/>
                  </a:cxn>
                  <a:cxn ang="0">
                    <a:pos x="110" y="166"/>
                  </a:cxn>
                  <a:cxn ang="0">
                    <a:pos x="110" y="174"/>
                  </a:cxn>
                  <a:cxn ang="0">
                    <a:pos x="176" y="164"/>
                  </a:cxn>
                  <a:cxn ang="0">
                    <a:pos x="174" y="172"/>
                  </a:cxn>
                  <a:cxn ang="0">
                    <a:pos x="118" y="192"/>
                  </a:cxn>
                  <a:cxn ang="0">
                    <a:pos x="108" y="204"/>
                  </a:cxn>
                  <a:cxn ang="0">
                    <a:pos x="148" y="238"/>
                  </a:cxn>
                  <a:cxn ang="0">
                    <a:pos x="224" y="268"/>
                  </a:cxn>
                  <a:cxn ang="0">
                    <a:pos x="260" y="262"/>
                  </a:cxn>
                  <a:cxn ang="0">
                    <a:pos x="268" y="252"/>
                  </a:cxn>
                  <a:cxn ang="0">
                    <a:pos x="288" y="260"/>
                  </a:cxn>
                  <a:cxn ang="0">
                    <a:pos x="282" y="242"/>
                  </a:cxn>
                  <a:cxn ang="0">
                    <a:pos x="296" y="246"/>
                  </a:cxn>
                  <a:cxn ang="0">
                    <a:pos x="322" y="266"/>
                  </a:cxn>
                  <a:cxn ang="0">
                    <a:pos x="328" y="246"/>
                  </a:cxn>
                  <a:cxn ang="0">
                    <a:pos x="340" y="234"/>
                  </a:cxn>
                  <a:cxn ang="0">
                    <a:pos x="364" y="230"/>
                  </a:cxn>
                  <a:cxn ang="0">
                    <a:pos x="426" y="192"/>
                  </a:cxn>
                  <a:cxn ang="0">
                    <a:pos x="480" y="174"/>
                  </a:cxn>
                  <a:cxn ang="0">
                    <a:pos x="472" y="166"/>
                  </a:cxn>
                  <a:cxn ang="0">
                    <a:pos x="438" y="146"/>
                  </a:cxn>
                  <a:cxn ang="0">
                    <a:pos x="400" y="146"/>
                  </a:cxn>
                  <a:cxn ang="0">
                    <a:pos x="390" y="142"/>
                  </a:cxn>
                  <a:cxn ang="0">
                    <a:pos x="400" y="122"/>
                  </a:cxn>
                  <a:cxn ang="0">
                    <a:pos x="382" y="108"/>
                  </a:cxn>
                  <a:cxn ang="0">
                    <a:pos x="376" y="86"/>
                  </a:cxn>
                  <a:cxn ang="0">
                    <a:pos x="352" y="78"/>
                  </a:cxn>
                  <a:cxn ang="0">
                    <a:pos x="328" y="90"/>
                  </a:cxn>
                  <a:cxn ang="0">
                    <a:pos x="326" y="102"/>
                  </a:cxn>
                  <a:cxn ang="0">
                    <a:pos x="306" y="92"/>
                  </a:cxn>
                  <a:cxn ang="0">
                    <a:pos x="306" y="74"/>
                  </a:cxn>
                  <a:cxn ang="0">
                    <a:pos x="274" y="68"/>
                  </a:cxn>
                  <a:cxn ang="0">
                    <a:pos x="192" y="20"/>
                  </a:cxn>
                  <a:cxn ang="0">
                    <a:pos x="134" y="0"/>
                  </a:cxn>
                  <a:cxn ang="0">
                    <a:pos x="100" y="4"/>
                  </a:cxn>
                  <a:cxn ang="0">
                    <a:pos x="112" y="20"/>
                  </a:cxn>
                  <a:cxn ang="0">
                    <a:pos x="98" y="28"/>
                  </a:cxn>
                  <a:cxn ang="0">
                    <a:pos x="66" y="32"/>
                  </a:cxn>
                  <a:cxn ang="0">
                    <a:pos x="54" y="54"/>
                  </a:cxn>
                  <a:cxn ang="0">
                    <a:pos x="26" y="76"/>
                  </a:cxn>
                  <a:cxn ang="0">
                    <a:pos x="18" y="92"/>
                  </a:cxn>
                  <a:cxn ang="0">
                    <a:pos x="50" y="100"/>
                  </a:cxn>
                  <a:cxn ang="0">
                    <a:pos x="90" y="104"/>
                  </a:cxn>
                  <a:cxn ang="0">
                    <a:pos x="72" y="112"/>
                  </a:cxn>
                  <a:cxn ang="0">
                    <a:pos x="4" y="106"/>
                  </a:cxn>
                  <a:cxn ang="0">
                    <a:pos x="2" y="116"/>
                  </a:cxn>
                  <a:cxn ang="0">
                    <a:pos x="32" y="148"/>
                  </a:cxn>
                </a:cxnLst>
                <a:rect l="0" t="0" r="r" b="b"/>
                <a:pathLst>
                  <a:path w="480" h="270">
                    <a:moveTo>
                      <a:pt x="54" y="164"/>
                    </a:moveTo>
                    <a:lnTo>
                      <a:pt x="54" y="164"/>
                    </a:lnTo>
                    <a:lnTo>
                      <a:pt x="66" y="172"/>
                    </a:lnTo>
                    <a:lnTo>
                      <a:pt x="78" y="174"/>
                    </a:lnTo>
                    <a:lnTo>
                      <a:pt x="88" y="172"/>
                    </a:lnTo>
                    <a:lnTo>
                      <a:pt x="98" y="170"/>
                    </a:lnTo>
                    <a:lnTo>
                      <a:pt x="108" y="164"/>
                    </a:lnTo>
                    <a:lnTo>
                      <a:pt x="110" y="166"/>
                    </a:lnTo>
                    <a:lnTo>
                      <a:pt x="108" y="170"/>
                    </a:lnTo>
                    <a:lnTo>
                      <a:pt x="108" y="170"/>
                    </a:lnTo>
                    <a:lnTo>
                      <a:pt x="108" y="172"/>
                    </a:lnTo>
                    <a:lnTo>
                      <a:pt x="110" y="174"/>
                    </a:lnTo>
                    <a:lnTo>
                      <a:pt x="116" y="176"/>
                    </a:lnTo>
                    <a:lnTo>
                      <a:pt x="142" y="168"/>
                    </a:lnTo>
                    <a:lnTo>
                      <a:pt x="168" y="162"/>
                    </a:lnTo>
                    <a:lnTo>
                      <a:pt x="176" y="164"/>
                    </a:lnTo>
                    <a:lnTo>
                      <a:pt x="176" y="164"/>
                    </a:lnTo>
                    <a:lnTo>
                      <a:pt x="176" y="168"/>
                    </a:lnTo>
                    <a:lnTo>
                      <a:pt x="176" y="168"/>
                    </a:lnTo>
                    <a:lnTo>
                      <a:pt x="174" y="172"/>
                    </a:lnTo>
                    <a:lnTo>
                      <a:pt x="170" y="174"/>
                    </a:lnTo>
                    <a:lnTo>
                      <a:pt x="158" y="180"/>
                    </a:lnTo>
                    <a:lnTo>
                      <a:pt x="130" y="188"/>
                    </a:lnTo>
                    <a:lnTo>
                      <a:pt x="118" y="192"/>
                    </a:lnTo>
                    <a:lnTo>
                      <a:pt x="108" y="196"/>
                    </a:lnTo>
                    <a:lnTo>
                      <a:pt x="104" y="200"/>
                    </a:lnTo>
                    <a:lnTo>
                      <a:pt x="106" y="202"/>
                    </a:lnTo>
                    <a:lnTo>
                      <a:pt x="108" y="204"/>
                    </a:lnTo>
                    <a:lnTo>
                      <a:pt x="108" y="204"/>
                    </a:lnTo>
                    <a:lnTo>
                      <a:pt x="122" y="214"/>
                    </a:lnTo>
                    <a:lnTo>
                      <a:pt x="134" y="226"/>
                    </a:lnTo>
                    <a:lnTo>
                      <a:pt x="148" y="238"/>
                    </a:lnTo>
                    <a:lnTo>
                      <a:pt x="166" y="250"/>
                    </a:lnTo>
                    <a:lnTo>
                      <a:pt x="166" y="250"/>
                    </a:lnTo>
                    <a:lnTo>
                      <a:pt x="194" y="260"/>
                    </a:lnTo>
                    <a:lnTo>
                      <a:pt x="224" y="268"/>
                    </a:lnTo>
                    <a:lnTo>
                      <a:pt x="238" y="270"/>
                    </a:lnTo>
                    <a:lnTo>
                      <a:pt x="250" y="270"/>
                    </a:lnTo>
                    <a:lnTo>
                      <a:pt x="258" y="266"/>
                    </a:lnTo>
                    <a:lnTo>
                      <a:pt x="260" y="262"/>
                    </a:lnTo>
                    <a:lnTo>
                      <a:pt x="262" y="260"/>
                    </a:lnTo>
                    <a:lnTo>
                      <a:pt x="262" y="260"/>
                    </a:lnTo>
                    <a:lnTo>
                      <a:pt x="262" y="254"/>
                    </a:lnTo>
                    <a:lnTo>
                      <a:pt x="268" y="252"/>
                    </a:lnTo>
                    <a:lnTo>
                      <a:pt x="274" y="254"/>
                    </a:lnTo>
                    <a:lnTo>
                      <a:pt x="280" y="256"/>
                    </a:lnTo>
                    <a:lnTo>
                      <a:pt x="284" y="258"/>
                    </a:lnTo>
                    <a:lnTo>
                      <a:pt x="288" y="260"/>
                    </a:lnTo>
                    <a:lnTo>
                      <a:pt x="290" y="258"/>
                    </a:lnTo>
                    <a:lnTo>
                      <a:pt x="286" y="250"/>
                    </a:lnTo>
                    <a:lnTo>
                      <a:pt x="286" y="250"/>
                    </a:lnTo>
                    <a:lnTo>
                      <a:pt x="282" y="242"/>
                    </a:lnTo>
                    <a:lnTo>
                      <a:pt x="280" y="236"/>
                    </a:lnTo>
                    <a:lnTo>
                      <a:pt x="282" y="236"/>
                    </a:lnTo>
                    <a:lnTo>
                      <a:pt x="284" y="236"/>
                    </a:lnTo>
                    <a:lnTo>
                      <a:pt x="296" y="246"/>
                    </a:lnTo>
                    <a:lnTo>
                      <a:pt x="314" y="260"/>
                    </a:lnTo>
                    <a:lnTo>
                      <a:pt x="314" y="260"/>
                    </a:lnTo>
                    <a:lnTo>
                      <a:pt x="320" y="266"/>
                    </a:lnTo>
                    <a:lnTo>
                      <a:pt x="322" y="266"/>
                    </a:lnTo>
                    <a:lnTo>
                      <a:pt x="324" y="266"/>
                    </a:lnTo>
                    <a:lnTo>
                      <a:pt x="326" y="262"/>
                    </a:lnTo>
                    <a:lnTo>
                      <a:pt x="328" y="254"/>
                    </a:lnTo>
                    <a:lnTo>
                      <a:pt x="328" y="246"/>
                    </a:lnTo>
                    <a:lnTo>
                      <a:pt x="330" y="240"/>
                    </a:lnTo>
                    <a:lnTo>
                      <a:pt x="334" y="236"/>
                    </a:lnTo>
                    <a:lnTo>
                      <a:pt x="336" y="234"/>
                    </a:lnTo>
                    <a:lnTo>
                      <a:pt x="340" y="234"/>
                    </a:lnTo>
                    <a:lnTo>
                      <a:pt x="340" y="234"/>
                    </a:lnTo>
                    <a:lnTo>
                      <a:pt x="348" y="236"/>
                    </a:lnTo>
                    <a:lnTo>
                      <a:pt x="356" y="234"/>
                    </a:lnTo>
                    <a:lnTo>
                      <a:pt x="364" y="230"/>
                    </a:lnTo>
                    <a:lnTo>
                      <a:pt x="374" y="226"/>
                    </a:lnTo>
                    <a:lnTo>
                      <a:pt x="414" y="198"/>
                    </a:lnTo>
                    <a:lnTo>
                      <a:pt x="414" y="198"/>
                    </a:lnTo>
                    <a:lnTo>
                      <a:pt x="426" y="192"/>
                    </a:lnTo>
                    <a:lnTo>
                      <a:pt x="440" y="186"/>
                    </a:lnTo>
                    <a:lnTo>
                      <a:pt x="466" y="180"/>
                    </a:lnTo>
                    <a:lnTo>
                      <a:pt x="474" y="176"/>
                    </a:lnTo>
                    <a:lnTo>
                      <a:pt x="480" y="174"/>
                    </a:lnTo>
                    <a:lnTo>
                      <a:pt x="480" y="172"/>
                    </a:lnTo>
                    <a:lnTo>
                      <a:pt x="480" y="170"/>
                    </a:lnTo>
                    <a:lnTo>
                      <a:pt x="472" y="166"/>
                    </a:lnTo>
                    <a:lnTo>
                      <a:pt x="472" y="166"/>
                    </a:lnTo>
                    <a:lnTo>
                      <a:pt x="464" y="162"/>
                    </a:lnTo>
                    <a:lnTo>
                      <a:pt x="456" y="156"/>
                    </a:lnTo>
                    <a:lnTo>
                      <a:pt x="444" y="148"/>
                    </a:lnTo>
                    <a:lnTo>
                      <a:pt x="438" y="146"/>
                    </a:lnTo>
                    <a:lnTo>
                      <a:pt x="430" y="144"/>
                    </a:lnTo>
                    <a:lnTo>
                      <a:pt x="418" y="144"/>
                    </a:lnTo>
                    <a:lnTo>
                      <a:pt x="400" y="146"/>
                    </a:lnTo>
                    <a:lnTo>
                      <a:pt x="400" y="146"/>
                    </a:lnTo>
                    <a:lnTo>
                      <a:pt x="388" y="148"/>
                    </a:lnTo>
                    <a:lnTo>
                      <a:pt x="384" y="148"/>
                    </a:lnTo>
                    <a:lnTo>
                      <a:pt x="386" y="146"/>
                    </a:lnTo>
                    <a:lnTo>
                      <a:pt x="390" y="142"/>
                    </a:lnTo>
                    <a:lnTo>
                      <a:pt x="396" y="136"/>
                    </a:lnTo>
                    <a:lnTo>
                      <a:pt x="400" y="130"/>
                    </a:lnTo>
                    <a:lnTo>
                      <a:pt x="400" y="126"/>
                    </a:lnTo>
                    <a:lnTo>
                      <a:pt x="400" y="122"/>
                    </a:lnTo>
                    <a:lnTo>
                      <a:pt x="396" y="118"/>
                    </a:lnTo>
                    <a:lnTo>
                      <a:pt x="392" y="114"/>
                    </a:lnTo>
                    <a:lnTo>
                      <a:pt x="392" y="114"/>
                    </a:lnTo>
                    <a:lnTo>
                      <a:pt x="382" y="108"/>
                    </a:lnTo>
                    <a:lnTo>
                      <a:pt x="376" y="100"/>
                    </a:lnTo>
                    <a:lnTo>
                      <a:pt x="376" y="96"/>
                    </a:lnTo>
                    <a:lnTo>
                      <a:pt x="376" y="90"/>
                    </a:lnTo>
                    <a:lnTo>
                      <a:pt x="376" y="86"/>
                    </a:lnTo>
                    <a:lnTo>
                      <a:pt x="372" y="82"/>
                    </a:lnTo>
                    <a:lnTo>
                      <a:pt x="366" y="80"/>
                    </a:lnTo>
                    <a:lnTo>
                      <a:pt x="352" y="78"/>
                    </a:lnTo>
                    <a:lnTo>
                      <a:pt x="352" y="78"/>
                    </a:lnTo>
                    <a:lnTo>
                      <a:pt x="338" y="76"/>
                    </a:lnTo>
                    <a:lnTo>
                      <a:pt x="330" y="80"/>
                    </a:lnTo>
                    <a:lnTo>
                      <a:pt x="328" y="84"/>
                    </a:lnTo>
                    <a:lnTo>
                      <a:pt x="328" y="90"/>
                    </a:lnTo>
                    <a:lnTo>
                      <a:pt x="330" y="96"/>
                    </a:lnTo>
                    <a:lnTo>
                      <a:pt x="328" y="100"/>
                    </a:lnTo>
                    <a:lnTo>
                      <a:pt x="328" y="102"/>
                    </a:lnTo>
                    <a:lnTo>
                      <a:pt x="326" y="102"/>
                    </a:lnTo>
                    <a:lnTo>
                      <a:pt x="318" y="100"/>
                    </a:lnTo>
                    <a:lnTo>
                      <a:pt x="318" y="100"/>
                    </a:lnTo>
                    <a:lnTo>
                      <a:pt x="310" y="96"/>
                    </a:lnTo>
                    <a:lnTo>
                      <a:pt x="306" y="92"/>
                    </a:lnTo>
                    <a:lnTo>
                      <a:pt x="306" y="86"/>
                    </a:lnTo>
                    <a:lnTo>
                      <a:pt x="308" y="82"/>
                    </a:lnTo>
                    <a:lnTo>
                      <a:pt x="308" y="78"/>
                    </a:lnTo>
                    <a:lnTo>
                      <a:pt x="306" y="74"/>
                    </a:lnTo>
                    <a:lnTo>
                      <a:pt x="298" y="70"/>
                    </a:lnTo>
                    <a:lnTo>
                      <a:pt x="284" y="70"/>
                    </a:lnTo>
                    <a:lnTo>
                      <a:pt x="284" y="70"/>
                    </a:lnTo>
                    <a:lnTo>
                      <a:pt x="274" y="68"/>
                    </a:lnTo>
                    <a:lnTo>
                      <a:pt x="266" y="66"/>
                    </a:lnTo>
                    <a:lnTo>
                      <a:pt x="248" y="56"/>
                    </a:lnTo>
                    <a:lnTo>
                      <a:pt x="212" y="32"/>
                    </a:lnTo>
                    <a:lnTo>
                      <a:pt x="192" y="20"/>
                    </a:lnTo>
                    <a:lnTo>
                      <a:pt x="170" y="10"/>
                    </a:lnTo>
                    <a:lnTo>
                      <a:pt x="158" y="6"/>
                    </a:lnTo>
                    <a:lnTo>
                      <a:pt x="146" y="2"/>
                    </a:lnTo>
                    <a:lnTo>
                      <a:pt x="134" y="0"/>
                    </a:lnTo>
                    <a:lnTo>
                      <a:pt x="118" y="0"/>
                    </a:lnTo>
                    <a:lnTo>
                      <a:pt x="118" y="0"/>
                    </a:lnTo>
                    <a:lnTo>
                      <a:pt x="104" y="2"/>
                    </a:lnTo>
                    <a:lnTo>
                      <a:pt x="100" y="4"/>
                    </a:lnTo>
                    <a:lnTo>
                      <a:pt x="100" y="6"/>
                    </a:lnTo>
                    <a:lnTo>
                      <a:pt x="102" y="10"/>
                    </a:lnTo>
                    <a:lnTo>
                      <a:pt x="108" y="14"/>
                    </a:lnTo>
                    <a:lnTo>
                      <a:pt x="112" y="20"/>
                    </a:lnTo>
                    <a:lnTo>
                      <a:pt x="114" y="24"/>
                    </a:lnTo>
                    <a:lnTo>
                      <a:pt x="114" y="24"/>
                    </a:lnTo>
                    <a:lnTo>
                      <a:pt x="110" y="26"/>
                    </a:lnTo>
                    <a:lnTo>
                      <a:pt x="98" y="28"/>
                    </a:lnTo>
                    <a:lnTo>
                      <a:pt x="98" y="28"/>
                    </a:lnTo>
                    <a:lnTo>
                      <a:pt x="82" y="28"/>
                    </a:lnTo>
                    <a:lnTo>
                      <a:pt x="70" y="30"/>
                    </a:lnTo>
                    <a:lnTo>
                      <a:pt x="66" y="32"/>
                    </a:lnTo>
                    <a:lnTo>
                      <a:pt x="64" y="36"/>
                    </a:lnTo>
                    <a:lnTo>
                      <a:pt x="58" y="48"/>
                    </a:lnTo>
                    <a:lnTo>
                      <a:pt x="58" y="48"/>
                    </a:lnTo>
                    <a:lnTo>
                      <a:pt x="54" y="54"/>
                    </a:lnTo>
                    <a:lnTo>
                      <a:pt x="52" y="58"/>
                    </a:lnTo>
                    <a:lnTo>
                      <a:pt x="42" y="64"/>
                    </a:lnTo>
                    <a:lnTo>
                      <a:pt x="32" y="72"/>
                    </a:lnTo>
                    <a:lnTo>
                      <a:pt x="26" y="76"/>
                    </a:lnTo>
                    <a:lnTo>
                      <a:pt x="20" y="84"/>
                    </a:lnTo>
                    <a:lnTo>
                      <a:pt x="20" y="84"/>
                    </a:lnTo>
                    <a:lnTo>
                      <a:pt x="18" y="88"/>
                    </a:lnTo>
                    <a:lnTo>
                      <a:pt x="18" y="92"/>
                    </a:lnTo>
                    <a:lnTo>
                      <a:pt x="20" y="94"/>
                    </a:lnTo>
                    <a:lnTo>
                      <a:pt x="24" y="96"/>
                    </a:lnTo>
                    <a:lnTo>
                      <a:pt x="34" y="98"/>
                    </a:lnTo>
                    <a:lnTo>
                      <a:pt x="50" y="100"/>
                    </a:lnTo>
                    <a:lnTo>
                      <a:pt x="78" y="102"/>
                    </a:lnTo>
                    <a:lnTo>
                      <a:pt x="86" y="102"/>
                    </a:lnTo>
                    <a:lnTo>
                      <a:pt x="88" y="102"/>
                    </a:lnTo>
                    <a:lnTo>
                      <a:pt x="90" y="104"/>
                    </a:lnTo>
                    <a:lnTo>
                      <a:pt x="90" y="104"/>
                    </a:lnTo>
                    <a:lnTo>
                      <a:pt x="86" y="108"/>
                    </a:lnTo>
                    <a:lnTo>
                      <a:pt x="82" y="110"/>
                    </a:lnTo>
                    <a:lnTo>
                      <a:pt x="72" y="112"/>
                    </a:lnTo>
                    <a:lnTo>
                      <a:pt x="58" y="112"/>
                    </a:lnTo>
                    <a:lnTo>
                      <a:pt x="42" y="110"/>
                    </a:lnTo>
                    <a:lnTo>
                      <a:pt x="14" y="106"/>
                    </a:lnTo>
                    <a:lnTo>
                      <a:pt x="4" y="106"/>
                    </a:lnTo>
                    <a:lnTo>
                      <a:pt x="2" y="108"/>
                    </a:lnTo>
                    <a:lnTo>
                      <a:pt x="0" y="110"/>
                    </a:lnTo>
                    <a:lnTo>
                      <a:pt x="0" y="110"/>
                    </a:lnTo>
                    <a:lnTo>
                      <a:pt x="2" y="116"/>
                    </a:lnTo>
                    <a:lnTo>
                      <a:pt x="4" y="122"/>
                    </a:lnTo>
                    <a:lnTo>
                      <a:pt x="8" y="128"/>
                    </a:lnTo>
                    <a:lnTo>
                      <a:pt x="14" y="134"/>
                    </a:lnTo>
                    <a:lnTo>
                      <a:pt x="32" y="148"/>
                    </a:lnTo>
                    <a:lnTo>
                      <a:pt x="54" y="164"/>
                    </a:lnTo>
                    <a:lnTo>
                      <a:pt x="54" y="1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3" name="Freeform 6088">
                <a:extLst>
                  <a:ext uri="{FF2B5EF4-FFF2-40B4-BE49-F238E27FC236}">
                    <a16:creationId xmlns:a16="http://schemas.microsoft.com/office/drawing/2014/main" id="{B5981DB6-9ECD-477E-99B8-36C9BBA391C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00580" y="1206183"/>
                <a:ext cx="734060" cy="539750"/>
              </a:xfrm>
              <a:custGeom>
                <a:avLst/>
                <a:gdLst/>
                <a:ahLst/>
                <a:cxnLst>
                  <a:cxn ang="0">
                    <a:pos x="1088" y="504"/>
                  </a:cxn>
                  <a:cxn ang="0">
                    <a:pos x="1060" y="480"/>
                  </a:cxn>
                  <a:cxn ang="0">
                    <a:pos x="960" y="426"/>
                  </a:cxn>
                  <a:cxn ang="0">
                    <a:pos x="890" y="396"/>
                  </a:cxn>
                  <a:cxn ang="0">
                    <a:pos x="890" y="348"/>
                  </a:cxn>
                  <a:cxn ang="0">
                    <a:pos x="926" y="328"/>
                  </a:cxn>
                  <a:cxn ang="0">
                    <a:pos x="926" y="298"/>
                  </a:cxn>
                  <a:cxn ang="0">
                    <a:pos x="846" y="276"/>
                  </a:cxn>
                  <a:cxn ang="0">
                    <a:pos x="844" y="232"/>
                  </a:cxn>
                  <a:cxn ang="0">
                    <a:pos x="782" y="204"/>
                  </a:cxn>
                  <a:cxn ang="0">
                    <a:pos x="706" y="174"/>
                  </a:cxn>
                  <a:cxn ang="0">
                    <a:pos x="642" y="134"/>
                  </a:cxn>
                  <a:cxn ang="0">
                    <a:pos x="560" y="98"/>
                  </a:cxn>
                  <a:cxn ang="0">
                    <a:pos x="462" y="112"/>
                  </a:cxn>
                  <a:cxn ang="0">
                    <a:pos x="404" y="110"/>
                  </a:cxn>
                  <a:cxn ang="0">
                    <a:pos x="388" y="90"/>
                  </a:cxn>
                  <a:cxn ang="0">
                    <a:pos x="352" y="18"/>
                  </a:cxn>
                  <a:cxn ang="0">
                    <a:pos x="200" y="50"/>
                  </a:cxn>
                  <a:cxn ang="0">
                    <a:pos x="174" y="84"/>
                  </a:cxn>
                  <a:cxn ang="0">
                    <a:pos x="168" y="138"/>
                  </a:cxn>
                  <a:cxn ang="0">
                    <a:pos x="222" y="180"/>
                  </a:cxn>
                  <a:cxn ang="0">
                    <a:pos x="150" y="122"/>
                  </a:cxn>
                  <a:cxn ang="0">
                    <a:pos x="188" y="26"/>
                  </a:cxn>
                  <a:cxn ang="0">
                    <a:pos x="116" y="8"/>
                  </a:cxn>
                  <a:cxn ang="0">
                    <a:pos x="18" y="90"/>
                  </a:cxn>
                  <a:cxn ang="0">
                    <a:pos x="58" y="196"/>
                  </a:cxn>
                  <a:cxn ang="0">
                    <a:pos x="40" y="216"/>
                  </a:cxn>
                  <a:cxn ang="0">
                    <a:pos x="118" y="270"/>
                  </a:cxn>
                  <a:cxn ang="0">
                    <a:pos x="234" y="288"/>
                  </a:cxn>
                  <a:cxn ang="0">
                    <a:pos x="336" y="290"/>
                  </a:cxn>
                  <a:cxn ang="0">
                    <a:pos x="358" y="284"/>
                  </a:cxn>
                  <a:cxn ang="0">
                    <a:pos x="462" y="284"/>
                  </a:cxn>
                  <a:cxn ang="0">
                    <a:pos x="498" y="274"/>
                  </a:cxn>
                  <a:cxn ang="0">
                    <a:pos x="580" y="338"/>
                  </a:cxn>
                  <a:cxn ang="0">
                    <a:pos x="538" y="376"/>
                  </a:cxn>
                  <a:cxn ang="0">
                    <a:pos x="654" y="402"/>
                  </a:cxn>
                  <a:cxn ang="0">
                    <a:pos x="712" y="474"/>
                  </a:cxn>
                  <a:cxn ang="0">
                    <a:pos x="640" y="558"/>
                  </a:cxn>
                  <a:cxn ang="0">
                    <a:pos x="628" y="608"/>
                  </a:cxn>
                  <a:cxn ang="0">
                    <a:pos x="510" y="624"/>
                  </a:cxn>
                  <a:cxn ang="0">
                    <a:pos x="514" y="688"/>
                  </a:cxn>
                  <a:cxn ang="0">
                    <a:pos x="616" y="688"/>
                  </a:cxn>
                  <a:cxn ang="0">
                    <a:pos x="656" y="674"/>
                  </a:cxn>
                  <a:cxn ang="0">
                    <a:pos x="736" y="724"/>
                  </a:cxn>
                  <a:cxn ang="0">
                    <a:pos x="732" y="752"/>
                  </a:cxn>
                  <a:cxn ang="0">
                    <a:pos x="854" y="818"/>
                  </a:cxn>
                  <a:cxn ang="0">
                    <a:pos x="966" y="822"/>
                  </a:cxn>
                  <a:cxn ang="0">
                    <a:pos x="854" y="724"/>
                  </a:cxn>
                  <a:cxn ang="0">
                    <a:pos x="908" y="744"/>
                  </a:cxn>
                  <a:cxn ang="0">
                    <a:pos x="1012" y="814"/>
                  </a:cxn>
                  <a:cxn ang="0">
                    <a:pos x="1018" y="766"/>
                  </a:cxn>
                  <a:cxn ang="0">
                    <a:pos x="1022" y="724"/>
                  </a:cxn>
                  <a:cxn ang="0">
                    <a:pos x="1000" y="694"/>
                  </a:cxn>
                  <a:cxn ang="0">
                    <a:pos x="942" y="632"/>
                  </a:cxn>
                  <a:cxn ang="0">
                    <a:pos x="890" y="586"/>
                  </a:cxn>
                  <a:cxn ang="0">
                    <a:pos x="902" y="544"/>
                  </a:cxn>
                  <a:cxn ang="0">
                    <a:pos x="942" y="544"/>
                  </a:cxn>
                  <a:cxn ang="0">
                    <a:pos x="990" y="580"/>
                  </a:cxn>
                  <a:cxn ang="0">
                    <a:pos x="1070" y="648"/>
                  </a:cxn>
                  <a:cxn ang="0">
                    <a:pos x="1102" y="596"/>
                  </a:cxn>
                  <a:cxn ang="0">
                    <a:pos x="1128" y="568"/>
                  </a:cxn>
                  <a:cxn ang="0">
                    <a:pos x="1148" y="514"/>
                  </a:cxn>
                </a:cxnLst>
                <a:rect l="0" t="0" r="r" b="b"/>
                <a:pathLst>
                  <a:path w="1156" h="850">
                    <a:moveTo>
                      <a:pt x="1148" y="514"/>
                    </a:moveTo>
                    <a:lnTo>
                      <a:pt x="1148" y="514"/>
                    </a:lnTo>
                    <a:lnTo>
                      <a:pt x="1144" y="506"/>
                    </a:lnTo>
                    <a:lnTo>
                      <a:pt x="1138" y="502"/>
                    </a:lnTo>
                    <a:lnTo>
                      <a:pt x="1134" y="500"/>
                    </a:lnTo>
                    <a:lnTo>
                      <a:pt x="1128" y="498"/>
                    </a:lnTo>
                    <a:lnTo>
                      <a:pt x="1116" y="498"/>
                    </a:lnTo>
                    <a:lnTo>
                      <a:pt x="1106" y="502"/>
                    </a:lnTo>
                    <a:lnTo>
                      <a:pt x="1096" y="506"/>
                    </a:lnTo>
                    <a:lnTo>
                      <a:pt x="1090" y="508"/>
                    </a:lnTo>
                    <a:lnTo>
                      <a:pt x="1088" y="506"/>
                    </a:lnTo>
                    <a:lnTo>
                      <a:pt x="1088" y="504"/>
                    </a:lnTo>
                    <a:lnTo>
                      <a:pt x="1090" y="496"/>
                    </a:lnTo>
                    <a:lnTo>
                      <a:pt x="1090" y="496"/>
                    </a:lnTo>
                    <a:lnTo>
                      <a:pt x="1092" y="486"/>
                    </a:lnTo>
                    <a:lnTo>
                      <a:pt x="1090" y="482"/>
                    </a:lnTo>
                    <a:lnTo>
                      <a:pt x="1088" y="480"/>
                    </a:lnTo>
                    <a:lnTo>
                      <a:pt x="1084" y="480"/>
                    </a:lnTo>
                    <a:lnTo>
                      <a:pt x="1076" y="482"/>
                    </a:lnTo>
                    <a:lnTo>
                      <a:pt x="1062" y="486"/>
                    </a:lnTo>
                    <a:lnTo>
                      <a:pt x="1060" y="486"/>
                    </a:lnTo>
                    <a:lnTo>
                      <a:pt x="1058" y="486"/>
                    </a:lnTo>
                    <a:lnTo>
                      <a:pt x="1060" y="480"/>
                    </a:lnTo>
                    <a:lnTo>
                      <a:pt x="1060" y="480"/>
                    </a:lnTo>
                    <a:lnTo>
                      <a:pt x="1062" y="472"/>
                    </a:lnTo>
                    <a:lnTo>
                      <a:pt x="1062" y="466"/>
                    </a:lnTo>
                    <a:lnTo>
                      <a:pt x="1060" y="462"/>
                    </a:lnTo>
                    <a:lnTo>
                      <a:pt x="1056" y="458"/>
                    </a:lnTo>
                    <a:lnTo>
                      <a:pt x="1042" y="450"/>
                    </a:lnTo>
                    <a:lnTo>
                      <a:pt x="1022" y="436"/>
                    </a:lnTo>
                    <a:lnTo>
                      <a:pt x="1022" y="436"/>
                    </a:lnTo>
                    <a:lnTo>
                      <a:pt x="1010" y="430"/>
                    </a:lnTo>
                    <a:lnTo>
                      <a:pt x="996" y="428"/>
                    </a:lnTo>
                    <a:lnTo>
                      <a:pt x="984" y="426"/>
                    </a:lnTo>
                    <a:lnTo>
                      <a:pt x="970" y="426"/>
                    </a:lnTo>
                    <a:lnTo>
                      <a:pt x="960" y="426"/>
                    </a:lnTo>
                    <a:lnTo>
                      <a:pt x="950" y="424"/>
                    </a:lnTo>
                    <a:lnTo>
                      <a:pt x="944" y="420"/>
                    </a:lnTo>
                    <a:lnTo>
                      <a:pt x="942" y="416"/>
                    </a:lnTo>
                    <a:lnTo>
                      <a:pt x="940" y="410"/>
                    </a:lnTo>
                    <a:lnTo>
                      <a:pt x="940" y="410"/>
                    </a:lnTo>
                    <a:lnTo>
                      <a:pt x="938" y="406"/>
                    </a:lnTo>
                    <a:lnTo>
                      <a:pt x="936" y="402"/>
                    </a:lnTo>
                    <a:lnTo>
                      <a:pt x="930" y="400"/>
                    </a:lnTo>
                    <a:lnTo>
                      <a:pt x="926" y="398"/>
                    </a:lnTo>
                    <a:lnTo>
                      <a:pt x="914" y="396"/>
                    </a:lnTo>
                    <a:lnTo>
                      <a:pt x="900" y="396"/>
                    </a:lnTo>
                    <a:lnTo>
                      <a:pt x="890" y="396"/>
                    </a:lnTo>
                    <a:lnTo>
                      <a:pt x="882" y="394"/>
                    </a:lnTo>
                    <a:lnTo>
                      <a:pt x="882" y="394"/>
                    </a:lnTo>
                    <a:lnTo>
                      <a:pt x="882" y="392"/>
                    </a:lnTo>
                    <a:lnTo>
                      <a:pt x="890" y="384"/>
                    </a:lnTo>
                    <a:lnTo>
                      <a:pt x="890" y="384"/>
                    </a:lnTo>
                    <a:lnTo>
                      <a:pt x="896" y="380"/>
                    </a:lnTo>
                    <a:lnTo>
                      <a:pt x="900" y="376"/>
                    </a:lnTo>
                    <a:lnTo>
                      <a:pt x="902" y="372"/>
                    </a:lnTo>
                    <a:lnTo>
                      <a:pt x="902" y="366"/>
                    </a:lnTo>
                    <a:lnTo>
                      <a:pt x="900" y="360"/>
                    </a:lnTo>
                    <a:lnTo>
                      <a:pt x="894" y="352"/>
                    </a:lnTo>
                    <a:lnTo>
                      <a:pt x="890" y="348"/>
                    </a:lnTo>
                    <a:lnTo>
                      <a:pt x="888" y="344"/>
                    </a:lnTo>
                    <a:lnTo>
                      <a:pt x="890" y="344"/>
                    </a:lnTo>
                    <a:lnTo>
                      <a:pt x="902" y="346"/>
                    </a:lnTo>
                    <a:lnTo>
                      <a:pt x="902" y="346"/>
                    </a:lnTo>
                    <a:lnTo>
                      <a:pt x="916" y="348"/>
                    </a:lnTo>
                    <a:lnTo>
                      <a:pt x="928" y="348"/>
                    </a:lnTo>
                    <a:lnTo>
                      <a:pt x="938" y="346"/>
                    </a:lnTo>
                    <a:lnTo>
                      <a:pt x="942" y="342"/>
                    </a:lnTo>
                    <a:lnTo>
                      <a:pt x="944" y="340"/>
                    </a:lnTo>
                    <a:lnTo>
                      <a:pt x="944" y="338"/>
                    </a:lnTo>
                    <a:lnTo>
                      <a:pt x="938" y="334"/>
                    </a:lnTo>
                    <a:lnTo>
                      <a:pt x="926" y="328"/>
                    </a:lnTo>
                    <a:lnTo>
                      <a:pt x="906" y="324"/>
                    </a:lnTo>
                    <a:lnTo>
                      <a:pt x="906" y="324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76" y="318"/>
                    </a:lnTo>
                    <a:lnTo>
                      <a:pt x="880" y="316"/>
                    </a:lnTo>
                    <a:lnTo>
                      <a:pt x="900" y="312"/>
                    </a:lnTo>
                    <a:lnTo>
                      <a:pt x="910" y="308"/>
                    </a:lnTo>
                    <a:lnTo>
                      <a:pt x="920" y="304"/>
                    </a:lnTo>
                    <a:lnTo>
                      <a:pt x="920" y="304"/>
                    </a:lnTo>
                    <a:lnTo>
                      <a:pt x="924" y="300"/>
                    </a:lnTo>
                    <a:lnTo>
                      <a:pt x="926" y="298"/>
                    </a:lnTo>
                    <a:lnTo>
                      <a:pt x="926" y="294"/>
                    </a:lnTo>
                    <a:lnTo>
                      <a:pt x="926" y="290"/>
                    </a:lnTo>
                    <a:lnTo>
                      <a:pt x="922" y="284"/>
                    </a:lnTo>
                    <a:lnTo>
                      <a:pt x="914" y="278"/>
                    </a:lnTo>
                    <a:lnTo>
                      <a:pt x="904" y="272"/>
                    </a:lnTo>
                    <a:lnTo>
                      <a:pt x="894" y="268"/>
                    </a:lnTo>
                    <a:lnTo>
                      <a:pt x="886" y="268"/>
                    </a:lnTo>
                    <a:lnTo>
                      <a:pt x="880" y="270"/>
                    </a:lnTo>
                    <a:lnTo>
                      <a:pt x="880" y="270"/>
                    </a:lnTo>
                    <a:lnTo>
                      <a:pt x="872" y="274"/>
                    </a:lnTo>
                    <a:lnTo>
                      <a:pt x="864" y="276"/>
                    </a:lnTo>
                    <a:lnTo>
                      <a:pt x="846" y="276"/>
                    </a:lnTo>
                    <a:lnTo>
                      <a:pt x="842" y="276"/>
                    </a:lnTo>
                    <a:lnTo>
                      <a:pt x="840" y="274"/>
                    </a:lnTo>
                    <a:lnTo>
                      <a:pt x="842" y="270"/>
                    </a:lnTo>
                    <a:lnTo>
                      <a:pt x="852" y="266"/>
                    </a:lnTo>
                    <a:lnTo>
                      <a:pt x="852" y="266"/>
                    </a:lnTo>
                    <a:lnTo>
                      <a:pt x="874" y="258"/>
                    </a:lnTo>
                    <a:lnTo>
                      <a:pt x="880" y="254"/>
                    </a:lnTo>
                    <a:lnTo>
                      <a:pt x="882" y="252"/>
                    </a:lnTo>
                    <a:lnTo>
                      <a:pt x="878" y="248"/>
                    </a:lnTo>
                    <a:lnTo>
                      <a:pt x="872" y="244"/>
                    </a:lnTo>
                    <a:lnTo>
                      <a:pt x="844" y="232"/>
                    </a:lnTo>
                    <a:lnTo>
                      <a:pt x="844" y="232"/>
                    </a:lnTo>
                    <a:lnTo>
                      <a:pt x="826" y="226"/>
                    </a:lnTo>
                    <a:lnTo>
                      <a:pt x="812" y="226"/>
                    </a:lnTo>
                    <a:lnTo>
                      <a:pt x="802" y="228"/>
                    </a:lnTo>
                    <a:lnTo>
                      <a:pt x="794" y="230"/>
                    </a:lnTo>
                    <a:lnTo>
                      <a:pt x="790" y="232"/>
                    </a:lnTo>
                    <a:lnTo>
                      <a:pt x="786" y="232"/>
                    </a:lnTo>
                    <a:lnTo>
                      <a:pt x="786" y="230"/>
                    </a:lnTo>
                    <a:lnTo>
                      <a:pt x="786" y="220"/>
                    </a:lnTo>
                    <a:lnTo>
                      <a:pt x="786" y="220"/>
                    </a:lnTo>
                    <a:lnTo>
                      <a:pt x="788" y="210"/>
                    </a:lnTo>
                    <a:lnTo>
                      <a:pt x="784" y="206"/>
                    </a:lnTo>
                    <a:lnTo>
                      <a:pt x="782" y="204"/>
                    </a:lnTo>
                    <a:lnTo>
                      <a:pt x="776" y="204"/>
                    </a:lnTo>
                    <a:lnTo>
                      <a:pt x="768" y="206"/>
                    </a:lnTo>
                    <a:lnTo>
                      <a:pt x="764" y="204"/>
                    </a:lnTo>
                    <a:lnTo>
                      <a:pt x="762" y="198"/>
                    </a:lnTo>
                    <a:lnTo>
                      <a:pt x="762" y="198"/>
                    </a:lnTo>
                    <a:lnTo>
                      <a:pt x="762" y="190"/>
                    </a:lnTo>
                    <a:lnTo>
                      <a:pt x="756" y="184"/>
                    </a:lnTo>
                    <a:lnTo>
                      <a:pt x="748" y="178"/>
                    </a:lnTo>
                    <a:lnTo>
                      <a:pt x="738" y="174"/>
                    </a:lnTo>
                    <a:lnTo>
                      <a:pt x="728" y="170"/>
                    </a:lnTo>
                    <a:lnTo>
                      <a:pt x="716" y="170"/>
                    </a:lnTo>
                    <a:lnTo>
                      <a:pt x="706" y="174"/>
                    </a:lnTo>
                    <a:lnTo>
                      <a:pt x="696" y="182"/>
                    </a:lnTo>
                    <a:lnTo>
                      <a:pt x="696" y="182"/>
                    </a:lnTo>
                    <a:lnTo>
                      <a:pt x="686" y="190"/>
                    </a:lnTo>
                    <a:lnTo>
                      <a:pt x="680" y="192"/>
                    </a:lnTo>
                    <a:lnTo>
                      <a:pt x="674" y="190"/>
                    </a:lnTo>
                    <a:lnTo>
                      <a:pt x="670" y="186"/>
                    </a:lnTo>
                    <a:lnTo>
                      <a:pt x="666" y="178"/>
                    </a:lnTo>
                    <a:lnTo>
                      <a:pt x="662" y="168"/>
                    </a:lnTo>
                    <a:lnTo>
                      <a:pt x="652" y="148"/>
                    </a:lnTo>
                    <a:lnTo>
                      <a:pt x="652" y="148"/>
                    </a:lnTo>
                    <a:lnTo>
                      <a:pt x="648" y="138"/>
                    </a:lnTo>
                    <a:lnTo>
                      <a:pt x="642" y="134"/>
                    </a:lnTo>
                    <a:lnTo>
                      <a:pt x="638" y="134"/>
                    </a:lnTo>
                    <a:lnTo>
                      <a:pt x="632" y="134"/>
                    </a:lnTo>
                    <a:lnTo>
                      <a:pt x="628" y="134"/>
                    </a:lnTo>
                    <a:lnTo>
                      <a:pt x="622" y="134"/>
                    </a:lnTo>
                    <a:lnTo>
                      <a:pt x="616" y="128"/>
                    </a:lnTo>
                    <a:lnTo>
                      <a:pt x="610" y="120"/>
                    </a:lnTo>
                    <a:lnTo>
                      <a:pt x="610" y="120"/>
                    </a:lnTo>
                    <a:lnTo>
                      <a:pt x="602" y="110"/>
                    </a:lnTo>
                    <a:lnTo>
                      <a:pt x="594" y="104"/>
                    </a:lnTo>
                    <a:lnTo>
                      <a:pt x="586" y="100"/>
                    </a:lnTo>
                    <a:lnTo>
                      <a:pt x="578" y="100"/>
                    </a:lnTo>
                    <a:lnTo>
                      <a:pt x="560" y="98"/>
                    </a:lnTo>
                    <a:lnTo>
                      <a:pt x="552" y="98"/>
                    </a:lnTo>
                    <a:lnTo>
                      <a:pt x="546" y="94"/>
                    </a:lnTo>
                    <a:lnTo>
                      <a:pt x="546" y="94"/>
                    </a:lnTo>
                    <a:lnTo>
                      <a:pt x="528" y="88"/>
                    </a:lnTo>
                    <a:lnTo>
                      <a:pt x="518" y="84"/>
                    </a:lnTo>
                    <a:lnTo>
                      <a:pt x="506" y="82"/>
                    </a:lnTo>
                    <a:lnTo>
                      <a:pt x="494" y="84"/>
                    </a:lnTo>
                    <a:lnTo>
                      <a:pt x="484" y="88"/>
                    </a:lnTo>
                    <a:lnTo>
                      <a:pt x="474" y="94"/>
                    </a:lnTo>
                    <a:lnTo>
                      <a:pt x="466" y="106"/>
                    </a:lnTo>
                    <a:lnTo>
                      <a:pt x="466" y="106"/>
                    </a:lnTo>
                    <a:lnTo>
                      <a:pt x="462" y="112"/>
                    </a:lnTo>
                    <a:lnTo>
                      <a:pt x="460" y="116"/>
                    </a:lnTo>
                    <a:lnTo>
                      <a:pt x="456" y="118"/>
                    </a:lnTo>
                    <a:lnTo>
                      <a:pt x="452" y="118"/>
                    </a:lnTo>
                    <a:lnTo>
                      <a:pt x="444" y="116"/>
                    </a:lnTo>
                    <a:lnTo>
                      <a:pt x="436" y="112"/>
                    </a:lnTo>
                    <a:lnTo>
                      <a:pt x="428" y="106"/>
                    </a:lnTo>
                    <a:lnTo>
                      <a:pt x="420" y="104"/>
                    </a:lnTo>
                    <a:lnTo>
                      <a:pt x="416" y="102"/>
                    </a:lnTo>
                    <a:lnTo>
                      <a:pt x="412" y="104"/>
                    </a:lnTo>
                    <a:lnTo>
                      <a:pt x="408" y="106"/>
                    </a:lnTo>
                    <a:lnTo>
                      <a:pt x="404" y="110"/>
                    </a:lnTo>
                    <a:lnTo>
                      <a:pt x="404" y="110"/>
                    </a:lnTo>
                    <a:lnTo>
                      <a:pt x="396" y="118"/>
                    </a:lnTo>
                    <a:lnTo>
                      <a:pt x="388" y="124"/>
                    </a:lnTo>
                    <a:lnTo>
                      <a:pt x="380" y="130"/>
                    </a:lnTo>
                    <a:lnTo>
                      <a:pt x="376" y="132"/>
                    </a:lnTo>
                    <a:lnTo>
                      <a:pt x="372" y="132"/>
                    </a:lnTo>
                    <a:lnTo>
                      <a:pt x="370" y="130"/>
                    </a:lnTo>
                    <a:lnTo>
                      <a:pt x="372" y="126"/>
                    </a:lnTo>
                    <a:lnTo>
                      <a:pt x="376" y="118"/>
                    </a:lnTo>
                    <a:lnTo>
                      <a:pt x="376" y="118"/>
                    </a:lnTo>
                    <a:lnTo>
                      <a:pt x="382" y="110"/>
                    </a:lnTo>
                    <a:lnTo>
                      <a:pt x="386" y="100"/>
                    </a:lnTo>
                    <a:lnTo>
                      <a:pt x="388" y="90"/>
                    </a:lnTo>
                    <a:lnTo>
                      <a:pt x="388" y="82"/>
                    </a:lnTo>
                    <a:lnTo>
                      <a:pt x="386" y="72"/>
                    </a:lnTo>
                    <a:lnTo>
                      <a:pt x="382" y="64"/>
                    </a:lnTo>
                    <a:lnTo>
                      <a:pt x="376" y="58"/>
                    </a:lnTo>
                    <a:lnTo>
                      <a:pt x="368" y="54"/>
                    </a:lnTo>
                    <a:lnTo>
                      <a:pt x="368" y="54"/>
                    </a:lnTo>
                    <a:lnTo>
                      <a:pt x="360" y="50"/>
                    </a:lnTo>
                    <a:lnTo>
                      <a:pt x="356" y="44"/>
                    </a:lnTo>
                    <a:lnTo>
                      <a:pt x="356" y="38"/>
                    </a:lnTo>
                    <a:lnTo>
                      <a:pt x="354" y="32"/>
                    </a:lnTo>
                    <a:lnTo>
                      <a:pt x="354" y="24"/>
                    </a:lnTo>
                    <a:lnTo>
                      <a:pt x="352" y="18"/>
                    </a:lnTo>
                    <a:lnTo>
                      <a:pt x="346" y="14"/>
                    </a:lnTo>
                    <a:lnTo>
                      <a:pt x="338" y="12"/>
                    </a:lnTo>
                    <a:lnTo>
                      <a:pt x="338" y="12"/>
                    </a:lnTo>
                    <a:lnTo>
                      <a:pt x="326" y="10"/>
                    </a:lnTo>
                    <a:lnTo>
                      <a:pt x="306" y="12"/>
                    </a:lnTo>
                    <a:lnTo>
                      <a:pt x="282" y="14"/>
                    </a:lnTo>
                    <a:lnTo>
                      <a:pt x="260" y="18"/>
                    </a:lnTo>
                    <a:lnTo>
                      <a:pt x="236" y="24"/>
                    </a:lnTo>
                    <a:lnTo>
                      <a:pt x="218" y="32"/>
                    </a:lnTo>
                    <a:lnTo>
                      <a:pt x="210" y="38"/>
                    </a:lnTo>
                    <a:lnTo>
                      <a:pt x="204" y="44"/>
                    </a:lnTo>
                    <a:lnTo>
                      <a:pt x="200" y="50"/>
                    </a:lnTo>
                    <a:lnTo>
                      <a:pt x="198" y="56"/>
                    </a:lnTo>
                    <a:lnTo>
                      <a:pt x="198" y="56"/>
                    </a:lnTo>
                    <a:lnTo>
                      <a:pt x="198" y="62"/>
                    </a:lnTo>
                    <a:lnTo>
                      <a:pt x="196" y="66"/>
                    </a:lnTo>
                    <a:lnTo>
                      <a:pt x="194" y="68"/>
                    </a:lnTo>
                    <a:lnTo>
                      <a:pt x="192" y="70"/>
                    </a:lnTo>
                    <a:lnTo>
                      <a:pt x="186" y="72"/>
                    </a:lnTo>
                    <a:lnTo>
                      <a:pt x="178" y="70"/>
                    </a:lnTo>
                    <a:lnTo>
                      <a:pt x="174" y="72"/>
                    </a:lnTo>
                    <a:lnTo>
                      <a:pt x="172" y="72"/>
                    </a:lnTo>
                    <a:lnTo>
                      <a:pt x="172" y="74"/>
                    </a:lnTo>
                    <a:lnTo>
                      <a:pt x="174" y="84"/>
                    </a:lnTo>
                    <a:lnTo>
                      <a:pt x="182" y="100"/>
                    </a:lnTo>
                    <a:lnTo>
                      <a:pt x="182" y="100"/>
                    </a:lnTo>
                    <a:lnTo>
                      <a:pt x="188" y="116"/>
                    </a:lnTo>
                    <a:lnTo>
                      <a:pt x="188" y="122"/>
                    </a:lnTo>
                    <a:lnTo>
                      <a:pt x="188" y="126"/>
                    </a:lnTo>
                    <a:lnTo>
                      <a:pt x="188" y="130"/>
                    </a:lnTo>
                    <a:lnTo>
                      <a:pt x="184" y="130"/>
                    </a:lnTo>
                    <a:lnTo>
                      <a:pt x="180" y="132"/>
                    </a:lnTo>
                    <a:lnTo>
                      <a:pt x="174" y="132"/>
                    </a:lnTo>
                    <a:lnTo>
                      <a:pt x="168" y="134"/>
                    </a:lnTo>
                    <a:lnTo>
                      <a:pt x="168" y="136"/>
                    </a:lnTo>
                    <a:lnTo>
                      <a:pt x="168" y="138"/>
                    </a:lnTo>
                    <a:lnTo>
                      <a:pt x="174" y="148"/>
                    </a:lnTo>
                    <a:lnTo>
                      <a:pt x="174" y="148"/>
                    </a:lnTo>
                    <a:lnTo>
                      <a:pt x="184" y="158"/>
                    </a:lnTo>
                    <a:lnTo>
                      <a:pt x="192" y="164"/>
                    </a:lnTo>
                    <a:lnTo>
                      <a:pt x="200" y="166"/>
                    </a:lnTo>
                    <a:lnTo>
                      <a:pt x="208" y="166"/>
                    </a:lnTo>
                    <a:lnTo>
                      <a:pt x="212" y="164"/>
                    </a:lnTo>
                    <a:lnTo>
                      <a:pt x="218" y="166"/>
                    </a:lnTo>
                    <a:lnTo>
                      <a:pt x="220" y="168"/>
                    </a:lnTo>
                    <a:lnTo>
                      <a:pt x="222" y="176"/>
                    </a:lnTo>
                    <a:lnTo>
                      <a:pt x="222" y="176"/>
                    </a:lnTo>
                    <a:lnTo>
                      <a:pt x="222" y="180"/>
                    </a:lnTo>
                    <a:lnTo>
                      <a:pt x="220" y="182"/>
                    </a:lnTo>
                    <a:lnTo>
                      <a:pt x="216" y="184"/>
                    </a:lnTo>
                    <a:lnTo>
                      <a:pt x="210" y="184"/>
                    </a:lnTo>
                    <a:lnTo>
                      <a:pt x="196" y="180"/>
                    </a:lnTo>
                    <a:lnTo>
                      <a:pt x="180" y="174"/>
                    </a:lnTo>
                    <a:lnTo>
                      <a:pt x="164" y="164"/>
                    </a:lnTo>
                    <a:lnTo>
                      <a:pt x="152" y="150"/>
                    </a:lnTo>
                    <a:lnTo>
                      <a:pt x="148" y="144"/>
                    </a:lnTo>
                    <a:lnTo>
                      <a:pt x="146" y="136"/>
                    </a:lnTo>
                    <a:lnTo>
                      <a:pt x="146" y="130"/>
                    </a:lnTo>
                    <a:lnTo>
                      <a:pt x="150" y="122"/>
                    </a:lnTo>
                    <a:lnTo>
                      <a:pt x="150" y="122"/>
                    </a:lnTo>
                    <a:lnTo>
                      <a:pt x="154" y="110"/>
                    </a:lnTo>
                    <a:lnTo>
                      <a:pt x="152" y="102"/>
                    </a:lnTo>
                    <a:lnTo>
                      <a:pt x="150" y="98"/>
                    </a:lnTo>
                    <a:lnTo>
                      <a:pt x="144" y="94"/>
                    </a:lnTo>
                    <a:lnTo>
                      <a:pt x="142" y="90"/>
                    </a:lnTo>
                    <a:lnTo>
                      <a:pt x="140" y="84"/>
                    </a:lnTo>
                    <a:lnTo>
                      <a:pt x="144" y="74"/>
                    </a:lnTo>
                    <a:lnTo>
                      <a:pt x="154" y="60"/>
                    </a:lnTo>
                    <a:lnTo>
                      <a:pt x="154" y="60"/>
                    </a:lnTo>
                    <a:lnTo>
                      <a:pt x="168" y="44"/>
                    </a:lnTo>
                    <a:lnTo>
                      <a:pt x="180" y="34"/>
                    </a:lnTo>
                    <a:lnTo>
                      <a:pt x="188" y="26"/>
                    </a:lnTo>
                    <a:lnTo>
                      <a:pt x="198" y="22"/>
                    </a:lnTo>
                    <a:lnTo>
                      <a:pt x="208" y="16"/>
                    </a:lnTo>
                    <a:lnTo>
                      <a:pt x="212" y="14"/>
                    </a:lnTo>
                    <a:lnTo>
                      <a:pt x="212" y="10"/>
                    </a:lnTo>
                    <a:lnTo>
                      <a:pt x="212" y="10"/>
                    </a:lnTo>
                    <a:lnTo>
                      <a:pt x="212" y="8"/>
                    </a:lnTo>
                    <a:lnTo>
                      <a:pt x="210" y="6"/>
                    </a:lnTo>
                    <a:lnTo>
                      <a:pt x="200" y="2"/>
                    </a:lnTo>
                    <a:lnTo>
                      <a:pt x="184" y="0"/>
                    </a:lnTo>
                    <a:lnTo>
                      <a:pt x="164" y="0"/>
                    </a:lnTo>
                    <a:lnTo>
                      <a:pt x="140" y="2"/>
                    </a:lnTo>
                    <a:lnTo>
                      <a:pt x="116" y="8"/>
                    </a:lnTo>
                    <a:lnTo>
                      <a:pt x="92" y="16"/>
                    </a:lnTo>
                    <a:lnTo>
                      <a:pt x="70" y="26"/>
                    </a:lnTo>
                    <a:lnTo>
                      <a:pt x="70" y="26"/>
                    </a:lnTo>
                    <a:lnTo>
                      <a:pt x="52" y="38"/>
                    </a:lnTo>
                    <a:lnTo>
                      <a:pt x="40" y="48"/>
                    </a:lnTo>
                    <a:lnTo>
                      <a:pt x="34" y="56"/>
                    </a:lnTo>
                    <a:lnTo>
                      <a:pt x="32" y="62"/>
                    </a:lnTo>
                    <a:lnTo>
                      <a:pt x="30" y="72"/>
                    </a:lnTo>
                    <a:lnTo>
                      <a:pt x="28" y="76"/>
                    </a:lnTo>
                    <a:lnTo>
                      <a:pt x="24" y="82"/>
                    </a:lnTo>
                    <a:lnTo>
                      <a:pt x="24" y="82"/>
                    </a:lnTo>
                    <a:lnTo>
                      <a:pt x="18" y="90"/>
                    </a:lnTo>
                    <a:lnTo>
                      <a:pt x="14" y="96"/>
                    </a:lnTo>
                    <a:lnTo>
                      <a:pt x="8" y="112"/>
                    </a:lnTo>
                    <a:lnTo>
                      <a:pt x="4" y="132"/>
                    </a:lnTo>
                    <a:lnTo>
                      <a:pt x="2" y="156"/>
                    </a:lnTo>
                    <a:lnTo>
                      <a:pt x="2" y="156"/>
                    </a:lnTo>
                    <a:lnTo>
                      <a:pt x="0" y="168"/>
                    </a:lnTo>
                    <a:lnTo>
                      <a:pt x="0" y="178"/>
                    </a:lnTo>
                    <a:lnTo>
                      <a:pt x="2" y="184"/>
                    </a:lnTo>
                    <a:lnTo>
                      <a:pt x="8" y="188"/>
                    </a:lnTo>
                    <a:lnTo>
                      <a:pt x="14" y="192"/>
                    </a:lnTo>
                    <a:lnTo>
                      <a:pt x="26" y="194"/>
                    </a:lnTo>
                    <a:lnTo>
                      <a:pt x="58" y="196"/>
                    </a:lnTo>
                    <a:lnTo>
                      <a:pt x="58" y="196"/>
                    </a:lnTo>
                    <a:lnTo>
                      <a:pt x="76" y="200"/>
                    </a:lnTo>
                    <a:lnTo>
                      <a:pt x="90" y="202"/>
                    </a:lnTo>
                    <a:lnTo>
                      <a:pt x="100" y="208"/>
                    </a:lnTo>
                    <a:lnTo>
                      <a:pt x="106" y="212"/>
                    </a:lnTo>
                    <a:lnTo>
                      <a:pt x="106" y="216"/>
                    </a:lnTo>
                    <a:lnTo>
                      <a:pt x="102" y="218"/>
                    </a:lnTo>
                    <a:lnTo>
                      <a:pt x="94" y="220"/>
                    </a:lnTo>
                    <a:lnTo>
                      <a:pt x="78" y="218"/>
                    </a:lnTo>
                    <a:lnTo>
                      <a:pt x="78" y="218"/>
                    </a:lnTo>
                    <a:lnTo>
                      <a:pt x="50" y="216"/>
                    </a:lnTo>
                    <a:lnTo>
                      <a:pt x="40" y="216"/>
                    </a:lnTo>
                    <a:lnTo>
                      <a:pt x="32" y="218"/>
                    </a:lnTo>
                    <a:lnTo>
                      <a:pt x="32" y="220"/>
                    </a:lnTo>
                    <a:lnTo>
                      <a:pt x="30" y="222"/>
                    </a:lnTo>
                    <a:lnTo>
                      <a:pt x="32" y="228"/>
                    </a:lnTo>
                    <a:lnTo>
                      <a:pt x="40" y="238"/>
                    </a:lnTo>
                    <a:lnTo>
                      <a:pt x="52" y="250"/>
                    </a:lnTo>
                    <a:lnTo>
                      <a:pt x="52" y="250"/>
                    </a:lnTo>
                    <a:lnTo>
                      <a:pt x="68" y="262"/>
                    </a:lnTo>
                    <a:lnTo>
                      <a:pt x="82" y="268"/>
                    </a:lnTo>
                    <a:lnTo>
                      <a:pt x="94" y="270"/>
                    </a:lnTo>
                    <a:lnTo>
                      <a:pt x="106" y="270"/>
                    </a:lnTo>
                    <a:lnTo>
                      <a:pt x="118" y="270"/>
                    </a:lnTo>
                    <a:lnTo>
                      <a:pt x="130" y="270"/>
                    </a:lnTo>
                    <a:lnTo>
                      <a:pt x="142" y="272"/>
                    </a:lnTo>
                    <a:lnTo>
                      <a:pt x="152" y="278"/>
                    </a:lnTo>
                    <a:lnTo>
                      <a:pt x="152" y="278"/>
                    </a:lnTo>
                    <a:lnTo>
                      <a:pt x="162" y="284"/>
                    </a:lnTo>
                    <a:lnTo>
                      <a:pt x="174" y="288"/>
                    </a:lnTo>
                    <a:lnTo>
                      <a:pt x="184" y="290"/>
                    </a:lnTo>
                    <a:lnTo>
                      <a:pt x="194" y="288"/>
                    </a:lnTo>
                    <a:lnTo>
                      <a:pt x="208" y="286"/>
                    </a:lnTo>
                    <a:lnTo>
                      <a:pt x="218" y="286"/>
                    </a:lnTo>
                    <a:lnTo>
                      <a:pt x="218" y="286"/>
                    </a:lnTo>
                    <a:lnTo>
                      <a:pt x="234" y="288"/>
                    </a:lnTo>
                    <a:lnTo>
                      <a:pt x="244" y="290"/>
                    </a:lnTo>
                    <a:lnTo>
                      <a:pt x="260" y="290"/>
                    </a:lnTo>
                    <a:lnTo>
                      <a:pt x="268" y="290"/>
                    </a:lnTo>
                    <a:lnTo>
                      <a:pt x="276" y="290"/>
                    </a:lnTo>
                    <a:lnTo>
                      <a:pt x="288" y="292"/>
                    </a:lnTo>
                    <a:lnTo>
                      <a:pt x="304" y="296"/>
                    </a:lnTo>
                    <a:lnTo>
                      <a:pt x="304" y="296"/>
                    </a:lnTo>
                    <a:lnTo>
                      <a:pt x="316" y="300"/>
                    </a:lnTo>
                    <a:lnTo>
                      <a:pt x="324" y="298"/>
                    </a:lnTo>
                    <a:lnTo>
                      <a:pt x="328" y="296"/>
                    </a:lnTo>
                    <a:lnTo>
                      <a:pt x="332" y="292"/>
                    </a:lnTo>
                    <a:lnTo>
                      <a:pt x="336" y="290"/>
                    </a:lnTo>
                    <a:lnTo>
                      <a:pt x="340" y="290"/>
                    </a:lnTo>
                    <a:lnTo>
                      <a:pt x="346" y="292"/>
                    </a:lnTo>
                    <a:lnTo>
                      <a:pt x="356" y="298"/>
                    </a:lnTo>
                    <a:lnTo>
                      <a:pt x="356" y="298"/>
                    </a:lnTo>
                    <a:lnTo>
                      <a:pt x="374" y="312"/>
                    </a:lnTo>
                    <a:lnTo>
                      <a:pt x="378" y="314"/>
                    </a:lnTo>
                    <a:lnTo>
                      <a:pt x="380" y="312"/>
                    </a:lnTo>
                    <a:lnTo>
                      <a:pt x="378" y="310"/>
                    </a:lnTo>
                    <a:lnTo>
                      <a:pt x="376" y="306"/>
                    </a:lnTo>
                    <a:lnTo>
                      <a:pt x="362" y="292"/>
                    </a:lnTo>
                    <a:lnTo>
                      <a:pt x="362" y="292"/>
                    </a:lnTo>
                    <a:lnTo>
                      <a:pt x="358" y="284"/>
                    </a:lnTo>
                    <a:lnTo>
                      <a:pt x="358" y="282"/>
                    </a:lnTo>
                    <a:lnTo>
                      <a:pt x="360" y="282"/>
                    </a:lnTo>
                    <a:lnTo>
                      <a:pt x="368" y="282"/>
                    </a:lnTo>
                    <a:lnTo>
                      <a:pt x="380" y="284"/>
                    </a:lnTo>
                    <a:lnTo>
                      <a:pt x="410" y="290"/>
                    </a:lnTo>
                    <a:lnTo>
                      <a:pt x="444" y="296"/>
                    </a:lnTo>
                    <a:lnTo>
                      <a:pt x="444" y="296"/>
                    </a:lnTo>
                    <a:lnTo>
                      <a:pt x="450" y="296"/>
                    </a:lnTo>
                    <a:lnTo>
                      <a:pt x="454" y="296"/>
                    </a:lnTo>
                    <a:lnTo>
                      <a:pt x="458" y="294"/>
                    </a:lnTo>
                    <a:lnTo>
                      <a:pt x="460" y="290"/>
                    </a:lnTo>
                    <a:lnTo>
                      <a:pt x="462" y="284"/>
                    </a:lnTo>
                    <a:lnTo>
                      <a:pt x="460" y="274"/>
                    </a:lnTo>
                    <a:lnTo>
                      <a:pt x="456" y="260"/>
                    </a:lnTo>
                    <a:lnTo>
                      <a:pt x="456" y="260"/>
                    </a:lnTo>
                    <a:lnTo>
                      <a:pt x="458" y="260"/>
                    </a:lnTo>
                    <a:lnTo>
                      <a:pt x="464" y="264"/>
                    </a:lnTo>
                    <a:lnTo>
                      <a:pt x="464" y="264"/>
                    </a:lnTo>
                    <a:lnTo>
                      <a:pt x="472" y="270"/>
                    </a:lnTo>
                    <a:lnTo>
                      <a:pt x="478" y="272"/>
                    </a:lnTo>
                    <a:lnTo>
                      <a:pt x="484" y="272"/>
                    </a:lnTo>
                    <a:lnTo>
                      <a:pt x="490" y="272"/>
                    </a:lnTo>
                    <a:lnTo>
                      <a:pt x="494" y="272"/>
                    </a:lnTo>
                    <a:lnTo>
                      <a:pt x="498" y="274"/>
                    </a:lnTo>
                    <a:lnTo>
                      <a:pt x="500" y="278"/>
                    </a:lnTo>
                    <a:lnTo>
                      <a:pt x="502" y="286"/>
                    </a:lnTo>
                    <a:lnTo>
                      <a:pt x="502" y="286"/>
                    </a:lnTo>
                    <a:lnTo>
                      <a:pt x="502" y="294"/>
                    </a:lnTo>
                    <a:lnTo>
                      <a:pt x="504" y="302"/>
                    </a:lnTo>
                    <a:lnTo>
                      <a:pt x="508" y="306"/>
                    </a:lnTo>
                    <a:lnTo>
                      <a:pt x="512" y="310"/>
                    </a:lnTo>
                    <a:lnTo>
                      <a:pt x="528" y="318"/>
                    </a:lnTo>
                    <a:lnTo>
                      <a:pt x="556" y="326"/>
                    </a:lnTo>
                    <a:lnTo>
                      <a:pt x="556" y="326"/>
                    </a:lnTo>
                    <a:lnTo>
                      <a:pt x="570" y="332"/>
                    </a:lnTo>
                    <a:lnTo>
                      <a:pt x="580" y="338"/>
                    </a:lnTo>
                    <a:lnTo>
                      <a:pt x="584" y="344"/>
                    </a:lnTo>
                    <a:lnTo>
                      <a:pt x="584" y="348"/>
                    </a:lnTo>
                    <a:lnTo>
                      <a:pt x="580" y="352"/>
                    </a:lnTo>
                    <a:lnTo>
                      <a:pt x="574" y="356"/>
                    </a:lnTo>
                    <a:lnTo>
                      <a:pt x="568" y="356"/>
                    </a:lnTo>
                    <a:lnTo>
                      <a:pt x="558" y="356"/>
                    </a:lnTo>
                    <a:lnTo>
                      <a:pt x="558" y="356"/>
                    </a:lnTo>
                    <a:lnTo>
                      <a:pt x="550" y="358"/>
                    </a:lnTo>
                    <a:lnTo>
                      <a:pt x="542" y="360"/>
                    </a:lnTo>
                    <a:lnTo>
                      <a:pt x="538" y="366"/>
                    </a:lnTo>
                    <a:lnTo>
                      <a:pt x="538" y="370"/>
                    </a:lnTo>
                    <a:lnTo>
                      <a:pt x="538" y="376"/>
                    </a:lnTo>
                    <a:lnTo>
                      <a:pt x="544" y="378"/>
                    </a:lnTo>
                    <a:lnTo>
                      <a:pt x="550" y="380"/>
                    </a:lnTo>
                    <a:lnTo>
                      <a:pt x="562" y="378"/>
                    </a:lnTo>
                    <a:lnTo>
                      <a:pt x="562" y="378"/>
                    </a:lnTo>
                    <a:lnTo>
                      <a:pt x="576" y="374"/>
                    </a:lnTo>
                    <a:lnTo>
                      <a:pt x="590" y="374"/>
                    </a:lnTo>
                    <a:lnTo>
                      <a:pt x="606" y="376"/>
                    </a:lnTo>
                    <a:lnTo>
                      <a:pt x="618" y="380"/>
                    </a:lnTo>
                    <a:lnTo>
                      <a:pt x="630" y="384"/>
                    </a:lnTo>
                    <a:lnTo>
                      <a:pt x="640" y="390"/>
                    </a:lnTo>
                    <a:lnTo>
                      <a:pt x="648" y="396"/>
                    </a:lnTo>
                    <a:lnTo>
                      <a:pt x="654" y="402"/>
                    </a:lnTo>
                    <a:lnTo>
                      <a:pt x="654" y="402"/>
                    </a:lnTo>
                    <a:lnTo>
                      <a:pt x="656" y="406"/>
                    </a:lnTo>
                    <a:lnTo>
                      <a:pt x="662" y="408"/>
                    </a:lnTo>
                    <a:lnTo>
                      <a:pt x="674" y="414"/>
                    </a:lnTo>
                    <a:lnTo>
                      <a:pt x="682" y="416"/>
                    </a:lnTo>
                    <a:lnTo>
                      <a:pt x="688" y="420"/>
                    </a:lnTo>
                    <a:lnTo>
                      <a:pt x="692" y="428"/>
                    </a:lnTo>
                    <a:lnTo>
                      <a:pt x="696" y="438"/>
                    </a:lnTo>
                    <a:lnTo>
                      <a:pt x="696" y="438"/>
                    </a:lnTo>
                    <a:lnTo>
                      <a:pt x="698" y="450"/>
                    </a:lnTo>
                    <a:lnTo>
                      <a:pt x="704" y="460"/>
                    </a:lnTo>
                    <a:lnTo>
                      <a:pt x="712" y="474"/>
                    </a:lnTo>
                    <a:lnTo>
                      <a:pt x="716" y="480"/>
                    </a:lnTo>
                    <a:lnTo>
                      <a:pt x="718" y="486"/>
                    </a:lnTo>
                    <a:lnTo>
                      <a:pt x="716" y="490"/>
                    </a:lnTo>
                    <a:lnTo>
                      <a:pt x="710" y="494"/>
                    </a:lnTo>
                    <a:lnTo>
                      <a:pt x="710" y="494"/>
                    </a:lnTo>
                    <a:lnTo>
                      <a:pt x="696" y="504"/>
                    </a:lnTo>
                    <a:lnTo>
                      <a:pt x="682" y="518"/>
                    </a:lnTo>
                    <a:lnTo>
                      <a:pt x="668" y="532"/>
                    </a:lnTo>
                    <a:lnTo>
                      <a:pt x="648" y="548"/>
                    </a:lnTo>
                    <a:lnTo>
                      <a:pt x="648" y="548"/>
                    </a:lnTo>
                    <a:lnTo>
                      <a:pt x="644" y="554"/>
                    </a:lnTo>
                    <a:lnTo>
                      <a:pt x="640" y="558"/>
                    </a:lnTo>
                    <a:lnTo>
                      <a:pt x="640" y="564"/>
                    </a:lnTo>
                    <a:lnTo>
                      <a:pt x="642" y="570"/>
                    </a:lnTo>
                    <a:lnTo>
                      <a:pt x="646" y="580"/>
                    </a:lnTo>
                    <a:lnTo>
                      <a:pt x="654" y="590"/>
                    </a:lnTo>
                    <a:lnTo>
                      <a:pt x="666" y="604"/>
                    </a:lnTo>
                    <a:lnTo>
                      <a:pt x="666" y="606"/>
                    </a:lnTo>
                    <a:lnTo>
                      <a:pt x="666" y="608"/>
                    </a:lnTo>
                    <a:lnTo>
                      <a:pt x="656" y="606"/>
                    </a:lnTo>
                    <a:lnTo>
                      <a:pt x="656" y="606"/>
                    </a:lnTo>
                    <a:lnTo>
                      <a:pt x="646" y="602"/>
                    </a:lnTo>
                    <a:lnTo>
                      <a:pt x="636" y="604"/>
                    </a:lnTo>
                    <a:lnTo>
                      <a:pt x="628" y="608"/>
                    </a:lnTo>
                    <a:lnTo>
                      <a:pt x="620" y="612"/>
                    </a:lnTo>
                    <a:lnTo>
                      <a:pt x="608" y="616"/>
                    </a:lnTo>
                    <a:lnTo>
                      <a:pt x="594" y="620"/>
                    </a:lnTo>
                    <a:lnTo>
                      <a:pt x="576" y="620"/>
                    </a:lnTo>
                    <a:lnTo>
                      <a:pt x="552" y="614"/>
                    </a:lnTo>
                    <a:lnTo>
                      <a:pt x="552" y="614"/>
                    </a:lnTo>
                    <a:lnTo>
                      <a:pt x="528" y="610"/>
                    </a:lnTo>
                    <a:lnTo>
                      <a:pt x="516" y="608"/>
                    </a:lnTo>
                    <a:lnTo>
                      <a:pt x="510" y="608"/>
                    </a:lnTo>
                    <a:lnTo>
                      <a:pt x="510" y="612"/>
                    </a:lnTo>
                    <a:lnTo>
                      <a:pt x="510" y="616"/>
                    </a:lnTo>
                    <a:lnTo>
                      <a:pt x="510" y="624"/>
                    </a:lnTo>
                    <a:lnTo>
                      <a:pt x="504" y="630"/>
                    </a:lnTo>
                    <a:lnTo>
                      <a:pt x="494" y="638"/>
                    </a:lnTo>
                    <a:lnTo>
                      <a:pt x="494" y="638"/>
                    </a:lnTo>
                    <a:lnTo>
                      <a:pt x="488" y="642"/>
                    </a:lnTo>
                    <a:lnTo>
                      <a:pt x="484" y="648"/>
                    </a:lnTo>
                    <a:lnTo>
                      <a:pt x="482" y="652"/>
                    </a:lnTo>
                    <a:lnTo>
                      <a:pt x="480" y="658"/>
                    </a:lnTo>
                    <a:lnTo>
                      <a:pt x="482" y="664"/>
                    </a:lnTo>
                    <a:lnTo>
                      <a:pt x="484" y="668"/>
                    </a:lnTo>
                    <a:lnTo>
                      <a:pt x="494" y="678"/>
                    </a:lnTo>
                    <a:lnTo>
                      <a:pt x="506" y="686"/>
                    </a:lnTo>
                    <a:lnTo>
                      <a:pt x="514" y="688"/>
                    </a:lnTo>
                    <a:lnTo>
                      <a:pt x="522" y="690"/>
                    </a:lnTo>
                    <a:lnTo>
                      <a:pt x="532" y="690"/>
                    </a:lnTo>
                    <a:lnTo>
                      <a:pt x="542" y="690"/>
                    </a:lnTo>
                    <a:lnTo>
                      <a:pt x="552" y="686"/>
                    </a:lnTo>
                    <a:lnTo>
                      <a:pt x="562" y="682"/>
                    </a:lnTo>
                    <a:lnTo>
                      <a:pt x="562" y="682"/>
                    </a:lnTo>
                    <a:lnTo>
                      <a:pt x="580" y="676"/>
                    </a:lnTo>
                    <a:lnTo>
                      <a:pt x="592" y="674"/>
                    </a:lnTo>
                    <a:lnTo>
                      <a:pt x="602" y="676"/>
                    </a:lnTo>
                    <a:lnTo>
                      <a:pt x="608" y="680"/>
                    </a:lnTo>
                    <a:lnTo>
                      <a:pt x="612" y="684"/>
                    </a:lnTo>
                    <a:lnTo>
                      <a:pt x="616" y="688"/>
                    </a:lnTo>
                    <a:lnTo>
                      <a:pt x="622" y="686"/>
                    </a:lnTo>
                    <a:lnTo>
                      <a:pt x="628" y="680"/>
                    </a:lnTo>
                    <a:lnTo>
                      <a:pt x="628" y="680"/>
                    </a:lnTo>
                    <a:lnTo>
                      <a:pt x="634" y="674"/>
                    </a:lnTo>
                    <a:lnTo>
                      <a:pt x="640" y="674"/>
                    </a:lnTo>
                    <a:lnTo>
                      <a:pt x="642" y="676"/>
                    </a:lnTo>
                    <a:lnTo>
                      <a:pt x="644" y="680"/>
                    </a:lnTo>
                    <a:lnTo>
                      <a:pt x="646" y="688"/>
                    </a:lnTo>
                    <a:lnTo>
                      <a:pt x="648" y="690"/>
                    </a:lnTo>
                    <a:lnTo>
                      <a:pt x="650" y="686"/>
                    </a:lnTo>
                    <a:lnTo>
                      <a:pt x="650" y="686"/>
                    </a:lnTo>
                    <a:lnTo>
                      <a:pt x="656" y="674"/>
                    </a:lnTo>
                    <a:lnTo>
                      <a:pt x="658" y="672"/>
                    </a:lnTo>
                    <a:lnTo>
                      <a:pt x="662" y="672"/>
                    </a:lnTo>
                    <a:lnTo>
                      <a:pt x="666" y="674"/>
                    </a:lnTo>
                    <a:lnTo>
                      <a:pt x="672" y="680"/>
                    </a:lnTo>
                    <a:lnTo>
                      <a:pt x="696" y="706"/>
                    </a:lnTo>
                    <a:lnTo>
                      <a:pt x="696" y="706"/>
                    </a:lnTo>
                    <a:lnTo>
                      <a:pt x="708" y="720"/>
                    </a:lnTo>
                    <a:lnTo>
                      <a:pt x="718" y="726"/>
                    </a:lnTo>
                    <a:lnTo>
                      <a:pt x="724" y="728"/>
                    </a:lnTo>
                    <a:lnTo>
                      <a:pt x="728" y="728"/>
                    </a:lnTo>
                    <a:lnTo>
                      <a:pt x="732" y="726"/>
                    </a:lnTo>
                    <a:lnTo>
                      <a:pt x="736" y="724"/>
                    </a:lnTo>
                    <a:lnTo>
                      <a:pt x="742" y="726"/>
                    </a:lnTo>
                    <a:lnTo>
                      <a:pt x="750" y="732"/>
                    </a:lnTo>
                    <a:lnTo>
                      <a:pt x="750" y="732"/>
                    </a:lnTo>
                    <a:lnTo>
                      <a:pt x="756" y="738"/>
                    </a:lnTo>
                    <a:lnTo>
                      <a:pt x="756" y="740"/>
                    </a:lnTo>
                    <a:lnTo>
                      <a:pt x="754" y="742"/>
                    </a:lnTo>
                    <a:lnTo>
                      <a:pt x="750" y="744"/>
                    </a:lnTo>
                    <a:lnTo>
                      <a:pt x="742" y="744"/>
                    </a:lnTo>
                    <a:lnTo>
                      <a:pt x="734" y="746"/>
                    </a:lnTo>
                    <a:lnTo>
                      <a:pt x="732" y="748"/>
                    </a:lnTo>
                    <a:lnTo>
                      <a:pt x="732" y="750"/>
                    </a:lnTo>
                    <a:lnTo>
                      <a:pt x="732" y="752"/>
                    </a:lnTo>
                    <a:lnTo>
                      <a:pt x="734" y="756"/>
                    </a:lnTo>
                    <a:lnTo>
                      <a:pt x="744" y="768"/>
                    </a:lnTo>
                    <a:lnTo>
                      <a:pt x="744" y="768"/>
                    </a:lnTo>
                    <a:lnTo>
                      <a:pt x="754" y="776"/>
                    </a:lnTo>
                    <a:lnTo>
                      <a:pt x="766" y="780"/>
                    </a:lnTo>
                    <a:lnTo>
                      <a:pt x="792" y="788"/>
                    </a:lnTo>
                    <a:lnTo>
                      <a:pt x="816" y="794"/>
                    </a:lnTo>
                    <a:lnTo>
                      <a:pt x="826" y="798"/>
                    </a:lnTo>
                    <a:lnTo>
                      <a:pt x="834" y="804"/>
                    </a:lnTo>
                    <a:lnTo>
                      <a:pt x="834" y="804"/>
                    </a:lnTo>
                    <a:lnTo>
                      <a:pt x="842" y="812"/>
                    </a:lnTo>
                    <a:lnTo>
                      <a:pt x="854" y="818"/>
                    </a:lnTo>
                    <a:lnTo>
                      <a:pt x="868" y="824"/>
                    </a:lnTo>
                    <a:lnTo>
                      <a:pt x="882" y="828"/>
                    </a:lnTo>
                    <a:lnTo>
                      <a:pt x="916" y="836"/>
                    </a:lnTo>
                    <a:lnTo>
                      <a:pt x="948" y="846"/>
                    </a:lnTo>
                    <a:lnTo>
                      <a:pt x="948" y="846"/>
                    </a:lnTo>
                    <a:lnTo>
                      <a:pt x="962" y="850"/>
                    </a:lnTo>
                    <a:lnTo>
                      <a:pt x="970" y="850"/>
                    </a:lnTo>
                    <a:lnTo>
                      <a:pt x="972" y="848"/>
                    </a:lnTo>
                    <a:lnTo>
                      <a:pt x="974" y="846"/>
                    </a:lnTo>
                    <a:lnTo>
                      <a:pt x="974" y="840"/>
                    </a:lnTo>
                    <a:lnTo>
                      <a:pt x="972" y="832"/>
                    </a:lnTo>
                    <a:lnTo>
                      <a:pt x="966" y="822"/>
                    </a:lnTo>
                    <a:lnTo>
                      <a:pt x="958" y="812"/>
                    </a:lnTo>
                    <a:lnTo>
                      <a:pt x="948" y="802"/>
                    </a:lnTo>
                    <a:lnTo>
                      <a:pt x="948" y="802"/>
                    </a:lnTo>
                    <a:lnTo>
                      <a:pt x="936" y="792"/>
                    </a:lnTo>
                    <a:lnTo>
                      <a:pt x="920" y="780"/>
                    </a:lnTo>
                    <a:lnTo>
                      <a:pt x="888" y="758"/>
                    </a:lnTo>
                    <a:lnTo>
                      <a:pt x="872" y="748"/>
                    </a:lnTo>
                    <a:lnTo>
                      <a:pt x="862" y="738"/>
                    </a:lnTo>
                    <a:lnTo>
                      <a:pt x="854" y="732"/>
                    </a:lnTo>
                    <a:lnTo>
                      <a:pt x="854" y="728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4" y="724"/>
                    </a:lnTo>
                    <a:lnTo>
                      <a:pt x="858" y="722"/>
                    </a:lnTo>
                    <a:lnTo>
                      <a:pt x="864" y="724"/>
                    </a:lnTo>
                    <a:lnTo>
                      <a:pt x="880" y="736"/>
                    </a:lnTo>
                    <a:lnTo>
                      <a:pt x="894" y="748"/>
                    </a:lnTo>
                    <a:lnTo>
                      <a:pt x="900" y="748"/>
                    </a:lnTo>
                    <a:lnTo>
                      <a:pt x="902" y="748"/>
                    </a:lnTo>
                    <a:lnTo>
                      <a:pt x="902" y="746"/>
                    </a:lnTo>
                    <a:lnTo>
                      <a:pt x="902" y="746"/>
                    </a:lnTo>
                    <a:lnTo>
                      <a:pt x="902" y="742"/>
                    </a:lnTo>
                    <a:lnTo>
                      <a:pt x="904" y="742"/>
                    </a:lnTo>
                    <a:lnTo>
                      <a:pt x="908" y="744"/>
                    </a:lnTo>
                    <a:lnTo>
                      <a:pt x="924" y="754"/>
                    </a:lnTo>
                    <a:lnTo>
                      <a:pt x="932" y="762"/>
                    </a:lnTo>
                    <a:lnTo>
                      <a:pt x="944" y="770"/>
                    </a:lnTo>
                    <a:lnTo>
                      <a:pt x="956" y="776"/>
                    </a:lnTo>
                    <a:lnTo>
                      <a:pt x="968" y="778"/>
                    </a:lnTo>
                    <a:lnTo>
                      <a:pt x="968" y="778"/>
                    </a:lnTo>
                    <a:lnTo>
                      <a:pt x="980" y="782"/>
                    </a:lnTo>
                    <a:lnTo>
                      <a:pt x="990" y="788"/>
                    </a:lnTo>
                    <a:lnTo>
                      <a:pt x="998" y="798"/>
                    </a:lnTo>
                    <a:lnTo>
                      <a:pt x="1004" y="806"/>
                    </a:lnTo>
                    <a:lnTo>
                      <a:pt x="1010" y="812"/>
                    </a:lnTo>
                    <a:lnTo>
                      <a:pt x="1012" y="814"/>
                    </a:lnTo>
                    <a:lnTo>
                      <a:pt x="1014" y="812"/>
                    </a:lnTo>
                    <a:lnTo>
                      <a:pt x="1012" y="802"/>
                    </a:lnTo>
                    <a:lnTo>
                      <a:pt x="1012" y="802"/>
                    </a:lnTo>
                    <a:lnTo>
                      <a:pt x="1012" y="792"/>
                    </a:lnTo>
                    <a:lnTo>
                      <a:pt x="1012" y="788"/>
                    </a:lnTo>
                    <a:lnTo>
                      <a:pt x="1014" y="788"/>
                    </a:lnTo>
                    <a:lnTo>
                      <a:pt x="1016" y="788"/>
                    </a:lnTo>
                    <a:lnTo>
                      <a:pt x="1018" y="788"/>
                    </a:lnTo>
                    <a:lnTo>
                      <a:pt x="1020" y="786"/>
                    </a:lnTo>
                    <a:lnTo>
                      <a:pt x="1020" y="780"/>
                    </a:lnTo>
                    <a:lnTo>
                      <a:pt x="1018" y="766"/>
                    </a:lnTo>
                    <a:lnTo>
                      <a:pt x="1018" y="766"/>
                    </a:lnTo>
                    <a:lnTo>
                      <a:pt x="1016" y="750"/>
                    </a:lnTo>
                    <a:lnTo>
                      <a:pt x="1018" y="752"/>
                    </a:lnTo>
                    <a:lnTo>
                      <a:pt x="1020" y="754"/>
                    </a:lnTo>
                    <a:lnTo>
                      <a:pt x="1022" y="758"/>
                    </a:lnTo>
                    <a:lnTo>
                      <a:pt x="1026" y="760"/>
                    </a:lnTo>
                    <a:lnTo>
                      <a:pt x="1028" y="756"/>
                    </a:lnTo>
                    <a:lnTo>
                      <a:pt x="1032" y="746"/>
                    </a:lnTo>
                    <a:lnTo>
                      <a:pt x="1032" y="746"/>
                    </a:lnTo>
                    <a:lnTo>
                      <a:pt x="1032" y="734"/>
                    </a:lnTo>
                    <a:lnTo>
                      <a:pt x="1030" y="728"/>
                    </a:lnTo>
                    <a:lnTo>
                      <a:pt x="1026" y="724"/>
                    </a:lnTo>
                    <a:lnTo>
                      <a:pt x="1022" y="724"/>
                    </a:lnTo>
                    <a:lnTo>
                      <a:pt x="1018" y="722"/>
                    </a:lnTo>
                    <a:lnTo>
                      <a:pt x="1014" y="722"/>
                    </a:lnTo>
                    <a:lnTo>
                      <a:pt x="1014" y="720"/>
                    </a:lnTo>
                    <a:lnTo>
                      <a:pt x="1018" y="714"/>
                    </a:lnTo>
                    <a:lnTo>
                      <a:pt x="1018" y="714"/>
                    </a:lnTo>
                    <a:lnTo>
                      <a:pt x="1022" y="708"/>
                    </a:lnTo>
                    <a:lnTo>
                      <a:pt x="1020" y="704"/>
                    </a:lnTo>
                    <a:lnTo>
                      <a:pt x="1016" y="702"/>
                    </a:lnTo>
                    <a:lnTo>
                      <a:pt x="1012" y="700"/>
                    </a:lnTo>
                    <a:lnTo>
                      <a:pt x="1006" y="700"/>
                    </a:lnTo>
                    <a:lnTo>
                      <a:pt x="1000" y="698"/>
                    </a:lnTo>
                    <a:lnTo>
                      <a:pt x="1000" y="694"/>
                    </a:lnTo>
                    <a:lnTo>
                      <a:pt x="1002" y="688"/>
                    </a:lnTo>
                    <a:lnTo>
                      <a:pt x="1002" y="688"/>
                    </a:lnTo>
                    <a:lnTo>
                      <a:pt x="1006" y="682"/>
                    </a:lnTo>
                    <a:lnTo>
                      <a:pt x="1010" y="676"/>
                    </a:lnTo>
                    <a:lnTo>
                      <a:pt x="1008" y="672"/>
                    </a:lnTo>
                    <a:lnTo>
                      <a:pt x="1006" y="668"/>
                    </a:lnTo>
                    <a:lnTo>
                      <a:pt x="1000" y="664"/>
                    </a:lnTo>
                    <a:lnTo>
                      <a:pt x="992" y="660"/>
                    </a:lnTo>
                    <a:lnTo>
                      <a:pt x="966" y="648"/>
                    </a:lnTo>
                    <a:lnTo>
                      <a:pt x="966" y="648"/>
                    </a:lnTo>
                    <a:lnTo>
                      <a:pt x="952" y="642"/>
                    </a:lnTo>
                    <a:lnTo>
                      <a:pt x="942" y="632"/>
                    </a:lnTo>
                    <a:lnTo>
                      <a:pt x="936" y="622"/>
                    </a:lnTo>
                    <a:lnTo>
                      <a:pt x="930" y="612"/>
                    </a:lnTo>
                    <a:lnTo>
                      <a:pt x="928" y="602"/>
                    </a:lnTo>
                    <a:lnTo>
                      <a:pt x="924" y="596"/>
                    </a:lnTo>
                    <a:lnTo>
                      <a:pt x="918" y="592"/>
                    </a:lnTo>
                    <a:lnTo>
                      <a:pt x="912" y="592"/>
                    </a:lnTo>
                    <a:lnTo>
                      <a:pt x="912" y="592"/>
                    </a:lnTo>
                    <a:lnTo>
                      <a:pt x="904" y="594"/>
                    </a:lnTo>
                    <a:lnTo>
                      <a:pt x="896" y="594"/>
                    </a:lnTo>
                    <a:lnTo>
                      <a:pt x="892" y="592"/>
                    </a:lnTo>
                    <a:lnTo>
                      <a:pt x="890" y="590"/>
                    </a:lnTo>
                    <a:lnTo>
                      <a:pt x="890" y="586"/>
                    </a:lnTo>
                    <a:lnTo>
                      <a:pt x="894" y="584"/>
                    </a:lnTo>
                    <a:lnTo>
                      <a:pt x="900" y="580"/>
                    </a:lnTo>
                    <a:lnTo>
                      <a:pt x="908" y="578"/>
                    </a:lnTo>
                    <a:lnTo>
                      <a:pt x="908" y="578"/>
                    </a:lnTo>
                    <a:lnTo>
                      <a:pt x="912" y="576"/>
                    </a:lnTo>
                    <a:lnTo>
                      <a:pt x="916" y="576"/>
                    </a:lnTo>
                    <a:lnTo>
                      <a:pt x="916" y="572"/>
                    </a:lnTo>
                    <a:lnTo>
                      <a:pt x="916" y="570"/>
                    </a:lnTo>
                    <a:lnTo>
                      <a:pt x="914" y="564"/>
                    </a:lnTo>
                    <a:lnTo>
                      <a:pt x="910" y="556"/>
                    </a:lnTo>
                    <a:lnTo>
                      <a:pt x="902" y="546"/>
                    </a:lnTo>
                    <a:lnTo>
                      <a:pt x="902" y="544"/>
                    </a:lnTo>
                    <a:lnTo>
                      <a:pt x="904" y="544"/>
                    </a:lnTo>
                    <a:lnTo>
                      <a:pt x="910" y="546"/>
                    </a:lnTo>
                    <a:lnTo>
                      <a:pt x="910" y="546"/>
                    </a:lnTo>
                    <a:lnTo>
                      <a:pt x="918" y="548"/>
                    </a:lnTo>
                    <a:lnTo>
                      <a:pt x="924" y="546"/>
                    </a:lnTo>
                    <a:lnTo>
                      <a:pt x="928" y="542"/>
                    </a:lnTo>
                    <a:lnTo>
                      <a:pt x="930" y="538"/>
                    </a:lnTo>
                    <a:lnTo>
                      <a:pt x="932" y="536"/>
                    </a:lnTo>
                    <a:lnTo>
                      <a:pt x="934" y="534"/>
                    </a:lnTo>
                    <a:lnTo>
                      <a:pt x="938" y="536"/>
                    </a:lnTo>
                    <a:lnTo>
                      <a:pt x="942" y="544"/>
                    </a:lnTo>
                    <a:lnTo>
                      <a:pt x="942" y="544"/>
                    </a:lnTo>
                    <a:lnTo>
                      <a:pt x="950" y="552"/>
                    </a:lnTo>
                    <a:lnTo>
                      <a:pt x="954" y="556"/>
                    </a:lnTo>
                    <a:lnTo>
                      <a:pt x="958" y="558"/>
                    </a:lnTo>
                    <a:lnTo>
                      <a:pt x="962" y="558"/>
                    </a:lnTo>
                    <a:lnTo>
                      <a:pt x="968" y="560"/>
                    </a:lnTo>
                    <a:lnTo>
                      <a:pt x="972" y="562"/>
                    </a:lnTo>
                    <a:lnTo>
                      <a:pt x="974" y="568"/>
                    </a:lnTo>
                    <a:lnTo>
                      <a:pt x="974" y="568"/>
                    </a:lnTo>
                    <a:lnTo>
                      <a:pt x="976" y="574"/>
                    </a:lnTo>
                    <a:lnTo>
                      <a:pt x="980" y="576"/>
                    </a:lnTo>
                    <a:lnTo>
                      <a:pt x="986" y="580"/>
                    </a:lnTo>
                    <a:lnTo>
                      <a:pt x="990" y="580"/>
                    </a:lnTo>
                    <a:lnTo>
                      <a:pt x="992" y="582"/>
                    </a:lnTo>
                    <a:lnTo>
                      <a:pt x="994" y="586"/>
                    </a:lnTo>
                    <a:lnTo>
                      <a:pt x="994" y="592"/>
                    </a:lnTo>
                    <a:lnTo>
                      <a:pt x="994" y="592"/>
                    </a:lnTo>
                    <a:lnTo>
                      <a:pt x="994" y="596"/>
                    </a:lnTo>
                    <a:lnTo>
                      <a:pt x="996" y="600"/>
                    </a:lnTo>
                    <a:lnTo>
                      <a:pt x="1008" y="614"/>
                    </a:lnTo>
                    <a:lnTo>
                      <a:pt x="1022" y="626"/>
                    </a:lnTo>
                    <a:lnTo>
                      <a:pt x="1040" y="638"/>
                    </a:lnTo>
                    <a:lnTo>
                      <a:pt x="1056" y="646"/>
                    </a:lnTo>
                    <a:lnTo>
                      <a:pt x="1064" y="648"/>
                    </a:lnTo>
                    <a:lnTo>
                      <a:pt x="1070" y="648"/>
                    </a:lnTo>
                    <a:lnTo>
                      <a:pt x="1074" y="646"/>
                    </a:lnTo>
                    <a:lnTo>
                      <a:pt x="1078" y="642"/>
                    </a:lnTo>
                    <a:lnTo>
                      <a:pt x="1080" y="636"/>
                    </a:lnTo>
                    <a:lnTo>
                      <a:pt x="1078" y="628"/>
                    </a:lnTo>
                    <a:lnTo>
                      <a:pt x="1078" y="628"/>
                    </a:lnTo>
                    <a:lnTo>
                      <a:pt x="1078" y="618"/>
                    </a:lnTo>
                    <a:lnTo>
                      <a:pt x="1078" y="612"/>
                    </a:lnTo>
                    <a:lnTo>
                      <a:pt x="1080" y="606"/>
                    </a:lnTo>
                    <a:lnTo>
                      <a:pt x="1082" y="602"/>
                    </a:lnTo>
                    <a:lnTo>
                      <a:pt x="1086" y="600"/>
                    </a:lnTo>
                    <a:lnTo>
                      <a:pt x="1092" y="598"/>
                    </a:lnTo>
                    <a:lnTo>
                      <a:pt x="1102" y="596"/>
                    </a:lnTo>
                    <a:lnTo>
                      <a:pt x="1118" y="598"/>
                    </a:lnTo>
                    <a:lnTo>
                      <a:pt x="1122" y="596"/>
                    </a:lnTo>
                    <a:lnTo>
                      <a:pt x="1122" y="596"/>
                    </a:lnTo>
                    <a:lnTo>
                      <a:pt x="1122" y="592"/>
                    </a:lnTo>
                    <a:lnTo>
                      <a:pt x="1122" y="588"/>
                    </a:lnTo>
                    <a:lnTo>
                      <a:pt x="1122" y="588"/>
                    </a:lnTo>
                    <a:lnTo>
                      <a:pt x="1118" y="582"/>
                    </a:lnTo>
                    <a:lnTo>
                      <a:pt x="1118" y="576"/>
                    </a:lnTo>
                    <a:lnTo>
                      <a:pt x="1120" y="574"/>
                    </a:lnTo>
                    <a:lnTo>
                      <a:pt x="1122" y="574"/>
                    </a:lnTo>
                    <a:lnTo>
                      <a:pt x="1128" y="570"/>
                    </a:lnTo>
                    <a:lnTo>
                      <a:pt x="1128" y="568"/>
                    </a:lnTo>
                    <a:lnTo>
                      <a:pt x="1126" y="564"/>
                    </a:lnTo>
                    <a:lnTo>
                      <a:pt x="1126" y="564"/>
                    </a:lnTo>
                    <a:lnTo>
                      <a:pt x="1126" y="560"/>
                    </a:lnTo>
                    <a:lnTo>
                      <a:pt x="1126" y="558"/>
                    </a:lnTo>
                    <a:lnTo>
                      <a:pt x="1130" y="554"/>
                    </a:lnTo>
                    <a:lnTo>
                      <a:pt x="1144" y="548"/>
                    </a:lnTo>
                    <a:lnTo>
                      <a:pt x="1150" y="544"/>
                    </a:lnTo>
                    <a:lnTo>
                      <a:pt x="1154" y="536"/>
                    </a:lnTo>
                    <a:lnTo>
                      <a:pt x="1156" y="532"/>
                    </a:lnTo>
                    <a:lnTo>
                      <a:pt x="1154" y="528"/>
                    </a:lnTo>
                    <a:lnTo>
                      <a:pt x="1148" y="514"/>
                    </a:lnTo>
                    <a:lnTo>
                      <a:pt x="1148" y="5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4" name="Freeform 6089">
                <a:extLst>
                  <a:ext uri="{FF2B5EF4-FFF2-40B4-BE49-F238E27FC236}">
                    <a16:creationId xmlns:a16="http://schemas.microsoft.com/office/drawing/2014/main" id="{7BEF790C-65B8-4BDE-87E2-42BF01627E1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731770" y="1751013"/>
                <a:ext cx="20320" cy="15240"/>
              </a:xfrm>
              <a:custGeom>
                <a:avLst/>
                <a:gdLst/>
                <a:ahLst/>
                <a:cxnLst>
                  <a:cxn ang="0">
                    <a:pos x="6" y="0"/>
                  </a:cxn>
                  <a:cxn ang="0">
                    <a:pos x="6" y="0"/>
                  </a:cxn>
                  <a:cxn ang="0">
                    <a:pos x="2" y="4"/>
                  </a:cxn>
                  <a:cxn ang="0">
                    <a:pos x="0" y="8"/>
                  </a:cxn>
                  <a:cxn ang="0">
                    <a:pos x="2" y="12"/>
                  </a:cxn>
                  <a:cxn ang="0">
                    <a:pos x="8" y="18"/>
                  </a:cxn>
                  <a:cxn ang="0">
                    <a:pos x="14" y="22"/>
                  </a:cxn>
                  <a:cxn ang="0">
                    <a:pos x="20" y="24"/>
                  </a:cxn>
                  <a:cxn ang="0">
                    <a:pos x="26" y="24"/>
                  </a:cxn>
                  <a:cxn ang="0">
                    <a:pos x="30" y="22"/>
                  </a:cxn>
                  <a:cxn ang="0">
                    <a:pos x="30" y="22"/>
                  </a:cxn>
                  <a:cxn ang="0">
                    <a:pos x="32" y="16"/>
                  </a:cxn>
                  <a:cxn ang="0">
                    <a:pos x="32" y="12"/>
                  </a:cxn>
                  <a:cxn ang="0">
                    <a:pos x="32" y="8"/>
                  </a:cxn>
                  <a:cxn ang="0">
                    <a:pos x="28" y="4"/>
                  </a:cxn>
                  <a:cxn ang="0">
                    <a:pos x="24" y="2"/>
                  </a:cxn>
                  <a:cxn ang="0">
                    <a:pos x="20" y="0"/>
                  </a:cxn>
                  <a:cxn ang="0">
                    <a:pos x="14" y="0"/>
                  </a:cxn>
                  <a:cxn ang="0">
                    <a:pos x="6" y="0"/>
                  </a:cxn>
                  <a:cxn ang="0">
                    <a:pos x="6" y="0"/>
                  </a:cxn>
                </a:cxnLst>
                <a:rect l="0" t="0" r="r" b="b"/>
                <a:pathLst>
                  <a:path w="32" h="24">
                    <a:moveTo>
                      <a:pt x="6" y="0"/>
                    </a:moveTo>
                    <a:lnTo>
                      <a:pt x="6" y="0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8" y="18"/>
                    </a:lnTo>
                    <a:lnTo>
                      <a:pt x="14" y="22"/>
                    </a:lnTo>
                    <a:lnTo>
                      <a:pt x="20" y="24"/>
                    </a:lnTo>
                    <a:lnTo>
                      <a:pt x="26" y="24"/>
                    </a:lnTo>
                    <a:lnTo>
                      <a:pt x="30" y="22"/>
                    </a:lnTo>
                    <a:lnTo>
                      <a:pt x="30" y="22"/>
                    </a:lnTo>
                    <a:lnTo>
                      <a:pt x="32" y="16"/>
                    </a:lnTo>
                    <a:lnTo>
                      <a:pt x="32" y="12"/>
                    </a:lnTo>
                    <a:lnTo>
                      <a:pt x="32" y="8"/>
                    </a:lnTo>
                    <a:lnTo>
                      <a:pt x="28" y="4"/>
                    </a:lnTo>
                    <a:lnTo>
                      <a:pt x="24" y="2"/>
                    </a:lnTo>
                    <a:lnTo>
                      <a:pt x="20" y="0"/>
                    </a:lnTo>
                    <a:lnTo>
                      <a:pt x="14" y="0"/>
                    </a:lnTo>
                    <a:lnTo>
                      <a:pt x="6" y="0"/>
                    </a:lnTo>
                    <a:lnTo>
                      <a:pt x="6" y="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5" name="Freeform 6091">
                <a:extLst>
                  <a:ext uri="{FF2B5EF4-FFF2-40B4-BE49-F238E27FC236}">
                    <a16:creationId xmlns:a16="http://schemas.microsoft.com/office/drawing/2014/main" id="{4C478AE1-3BE9-41D3-87E1-16290B36EB7F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656840" y="1799273"/>
                <a:ext cx="13970" cy="15240"/>
              </a:xfrm>
              <a:custGeom>
                <a:avLst/>
                <a:gdLst/>
                <a:ahLst/>
                <a:cxnLst>
                  <a:cxn ang="0">
                    <a:pos x="4" y="24"/>
                  </a:cxn>
                  <a:cxn ang="0">
                    <a:pos x="4" y="24"/>
                  </a:cxn>
                  <a:cxn ang="0">
                    <a:pos x="12" y="22"/>
                  </a:cxn>
                  <a:cxn ang="0">
                    <a:pos x="20" y="16"/>
                  </a:cxn>
                  <a:cxn ang="0">
                    <a:pos x="22" y="12"/>
                  </a:cxn>
                  <a:cxn ang="0">
                    <a:pos x="22" y="10"/>
                  </a:cxn>
                  <a:cxn ang="0">
                    <a:pos x="22" y="6"/>
                  </a:cxn>
                  <a:cxn ang="0">
                    <a:pos x="18" y="2"/>
                  </a:cxn>
                  <a:cxn ang="0">
                    <a:pos x="18" y="2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4"/>
                  </a:cxn>
                  <a:cxn ang="0">
                    <a:pos x="2" y="10"/>
                  </a:cxn>
                  <a:cxn ang="0">
                    <a:pos x="0" y="14"/>
                  </a:cxn>
                  <a:cxn ang="0">
                    <a:pos x="0" y="18"/>
                  </a:cxn>
                  <a:cxn ang="0">
                    <a:pos x="2" y="22"/>
                  </a:cxn>
                  <a:cxn ang="0">
                    <a:pos x="4" y="24"/>
                  </a:cxn>
                  <a:cxn ang="0">
                    <a:pos x="4" y="24"/>
                  </a:cxn>
                </a:cxnLst>
                <a:rect l="0" t="0" r="r" b="b"/>
                <a:pathLst>
                  <a:path w="22" h="24">
                    <a:moveTo>
                      <a:pt x="4" y="24"/>
                    </a:moveTo>
                    <a:lnTo>
                      <a:pt x="4" y="24"/>
                    </a:lnTo>
                    <a:lnTo>
                      <a:pt x="12" y="22"/>
                    </a:lnTo>
                    <a:lnTo>
                      <a:pt x="20" y="16"/>
                    </a:lnTo>
                    <a:lnTo>
                      <a:pt x="22" y="12"/>
                    </a:lnTo>
                    <a:lnTo>
                      <a:pt x="22" y="10"/>
                    </a:lnTo>
                    <a:lnTo>
                      <a:pt x="22" y="6"/>
                    </a:lnTo>
                    <a:lnTo>
                      <a:pt x="18" y="2"/>
                    </a:lnTo>
                    <a:lnTo>
                      <a:pt x="18" y="2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4"/>
                    </a:lnTo>
                    <a:lnTo>
                      <a:pt x="2" y="10"/>
                    </a:lnTo>
                    <a:lnTo>
                      <a:pt x="0" y="14"/>
                    </a:lnTo>
                    <a:lnTo>
                      <a:pt x="0" y="18"/>
                    </a:lnTo>
                    <a:lnTo>
                      <a:pt x="2" y="22"/>
                    </a:lnTo>
                    <a:lnTo>
                      <a:pt x="4" y="24"/>
                    </a:lnTo>
                    <a:lnTo>
                      <a:pt x="4" y="2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6" name="Freeform 6092">
                <a:extLst>
                  <a:ext uri="{FF2B5EF4-FFF2-40B4-BE49-F238E27FC236}">
                    <a16:creationId xmlns:a16="http://schemas.microsoft.com/office/drawing/2014/main" id="{336FC8B4-180A-4C51-804D-57138286E67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52040" y="1724343"/>
                <a:ext cx="22860" cy="34290"/>
              </a:xfrm>
              <a:custGeom>
                <a:avLst/>
                <a:gdLst/>
                <a:ahLst/>
                <a:cxnLst>
                  <a:cxn ang="0">
                    <a:pos x="20" y="54"/>
                  </a:cxn>
                  <a:cxn ang="0">
                    <a:pos x="20" y="54"/>
                  </a:cxn>
                  <a:cxn ang="0">
                    <a:pos x="26" y="50"/>
                  </a:cxn>
                  <a:cxn ang="0">
                    <a:pos x="30" y="42"/>
                  </a:cxn>
                  <a:cxn ang="0">
                    <a:pos x="34" y="32"/>
                  </a:cxn>
                  <a:cxn ang="0">
                    <a:pos x="36" y="22"/>
                  </a:cxn>
                  <a:cxn ang="0">
                    <a:pos x="36" y="12"/>
                  </a:cxn>
                  <a:cxn ang="0">
                    <a:pos x="34" y="4"/>
                  </a:cxn>
                  <a:cxn ang="0">
                    <a:pos x="32" y="2"/>
                  </a:cxn>
                  <a:cxn ang="0">
                    <a:pos x="28" y="0"/>
                  </a:cxn>
                  <a:cxn ang="0">
                    <a:pos x="24" y="0"/>
                  </a:cxn>
                  <a:cxn ang="0">
                    <a:pos x="18" y="0"/>
                  </a:cxn>
                  <a:cxn ang="0">
                    <a:pos x="18" y="0"/>
                  </a:cxn>
                  <a:cxn ang="0">
                    <a:pos x="14" y="2"/>
                  </a:cxn>
                  <a:cxn ang="0">
                    <a:pos x="8" y="6"/>
                  </a:cxn>
                  <a:cxn ang="0">
                    <a:pos x="4" y="12"/>
                  </a:cxn>
                  <a:cxn ang="0">
                    <a:pos x="0" y="22"/>
                  </a:cxn>
                  <a:cxn ang="0">
                    <a:pos x="2" y="32"/>
                  </a:cxn>
                  <a:cxn ang="0">
                    <a:pos x="4" y="40"/>
                  </a:cxn>
                  <a:cxn ang="0">
                    <a:pos x="8" y="48"/>
                  </a:cxn>
                  <a:cxn ang="0">
                    <a:pos x="14" y="52"/>
                  </a:cxn>
                  <a:cxn ang="0">
                    <a:pos x="20" y="54"/>
                  </a:cxn>
                  <a:cxn ang="0">
                    <a:pos x="20" y="54"/>
                  </a:cxn>
                </a:cxnLst>
                <a:rect l="0" t="0" r="r" b="b"/>
                <a:pathLst>
                  <a:path w="36" h="54">
                    <a:moveTo>
                      <a:pt x="20" y="54"/>
                    </a:moveTo>
                    <a:lnTo>
                      <a:pt x="20" y="54"/>
                    </a:lnTo>
                    <a:lnTo>
                      <a:pt x="26" y="50"/>
                    </a:lnTo>
                    <a:lnTo>
                      <a:pt x="30" y="42"/>
                    </a:lnTo>
                    <a:lnTo>
                      <a:pt x="34" y="32"/>
                    </a:lnTo>
                    <a:lnTo>
                      <a:pt x="36" y="22"/>
                    </a:lnTo>
                    <a:lnTo>
                      <a:pt x="36" y="12"/>
                    </a:lnTo>
                    <a:lnTo>
                      <a:pt x="34" y="4"/>
                    </a:lnTo>
                    <a:lnTo>
                      <a:pt x="32" y="2"/>
                    </a:lnTo>
                    <a:lnTo>
                      <a:pt x="28" y="0"/>
                    </a:lnTo>
                    <a:lnTo>
                      <a:pt x="24" y="0"/>
                    </a:lnTo>
                    <a:lnTo>
                      <a:pt x="18" y="0"/>
                    </a:lnTo>
                    <a:lnTo>
                      <a:pt x="18" y="0"/>
                    </a:lnTo>
                    <a:lnTo>
                      <a:pt x="14" y="2"/>
                    </a:lnTo>
                    <a:lnTo>
                      <a:pt x="8" y="6"/>
                    </a:lnTo>
                    <a:lnTo>
                      <a:pt x="4" y="12"/>
                    </a:lnTo>
                    <a:lnTo>
                      <a:pt x="0" y="22"/>
                    </a:lnTo>
                    <a:lnTo>
                      <a:pt x="2" y="32"/>
                    </a:lnTo>
                    <a:lnTo>
                      <a:pt x="4" y="40"/>
                    </a:lnTo>
                    <a:lnTo>
                      <a:pt x="8" y="48"/>
                    </a:lnTo>
                    <a:lnTo>
                      <a:pt x="14" y="52"/>
                    </a:lnTo>
                    <a:lnTo>
                      <a:pt x="20" y="54"/>
                    </a:lnTo>
                    <a:lnTo>
                      <a:pt x="20" y="5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7" name="Freeform 6094">
                <a:extLst>
                  <a:ext uri="{FF2B5EF4-FFF2-40B4-BE49-F238E27FC236}">
                    <a16:creationId xmlns:a16="http://schemas.microsoft.com/office/drawing/2014/main" id="{129E02CD-F46C-4295-A8B9-764C304A6F35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428240" y="1463993"/>
                <a:ext cx="59690" cy="48260"/>
              </a:xfrm>
              <a:custGeom>
                <a:avLst/>
                <a:gdLst/>
                <a:ahLst/>
                <a:cxnLst>
                  <a:cxn ang="0">
                    <a:pos x="8" y="26"/>
                  </a:cxn>
                  <a:cxn ang="0">
                    <a:pos x="8" y="26"/>
                  </a:cxn>
                  <a:cxn ang="0">
                    <a:pos x="4" y="36"/>
                  </a:cxn>
                  <a:cxn ang="0">
                    <a:pos x="0" y="46"/>
                  </a:cxn>
                  <a:cxn ang="0">
                    <a:pos x="0" y="56"/>
                  </a:cxn>
                  <a:cxn ang="0">
                    <a:pos x="2" y="64"/>
                  </a:cxn>
                  <a:cxn ang="0">
                    <a:pos x="8" y="70"/>
                  </a:cxn>
                  <a:cxn ang="0">
                    <a:pos x="18" y="74"/>
                  </a:cxn>
                  <a:cxn ang="0">
                    <a:pos x="34" y="76"/>
                  </a:cxn>
                  <a:cxn ang="0">
                    <a:pos x="54" y="76"/>
                  </a:cxn>
                  <a:cxn ang="0">
                    <a:pos x="54" y="76"/>
                  </a:cxn>
                  <a:cxn ang="0">
                    <a:pos x="72" y="74"/>
                  </a:cxn>
                  <a:cxn ang="0">
                    <a:pos x="84" y="70"/>
                  </a:cxn>
                  <a:cxn ang="0">
                    <a:pos x="90" y="64"/>
                  </a:cxn>
                  <a:cxn ang="0">
                    <a:pos x="94" y="58"/>
                  </a:cxn>
                  <a:cxn ang="0">
                    <a:pos x="92" y="50"/>
                  </a:cxn>
                  <a:cxn ang="0">
                    <a:pos x="92" y="40"/>
                  </a:cxn>
                  <a:cxn ang="0">
                    <a:pos x="90" y="32"/>
                  </a:cxn>
                  <a:cxn ang="0">
                    <a:pos x="92" y="22"/>
                  </a:cxn>
                  <a:cxn ang="0">
                    <a:pos x="92" y="22"/>
                  </a:cxn>
                  <a:cxn ang="0">
                    <a:pos x="92" y="18"/>
                  </a:cxn>
                  <a:cxn ang="0">
                    <a:pos x="90" y="14"/>
                  </a:cxn>
                  <a:cxn ang="0">
                    <a:pos x="88" y="10"/>
                  </a:cxn>
                  <a:cxn ang="0">
                    <a:pos x="84" y="6"/>
                  </a:cxn>
                  <a:cxn ang="0">
                    <a:pos x="74" y="2"/>
                  </a:cxn>
                  <a:cxn ang="0">
                    <a:pos x="60" y="0"/>
                  </a:cxn>
                  <a:cxn ang="0">
                    <a:pos x="46" y="2"/>
                  </a:cxn>
                  <a:cxn ang="0">
                    <a:pos x="32" y="6"/>
                  </a:cxn>
                  <a:cxn ang="0">
                    <a:pos x="18" y="14"/>
                  </a:cxn>
                  <a:cxn ang="0">
                    <a:pos x="14" y="20"/>
                  </a:cxn>
                  <a:cxn ang="0">
                    <a:pos x="8" y="26"/>
                  </a:cxn>
                  <a:cxn ang="0">
                    <a:pos x="8" y="26"/>
                  </a:cxn>
                </a:cxnLst>
                <a:rect l="0" t="0" r="r" b="b"/>
                <a:pathLst>
                  <a:path w="94" h="76">
                    <a:moveTo>
                      <a:pt x="8" y="26"/>
                    </a:moveTo>
                    <a:lnTo>
                      <a:pt x="8" y="26"/>
                    </a:lnTo>
                    <a:lnTo>
                      <a:pt x="4" y="36"/>
                    </a:lnTo>
                    <a:lnTo>
                      <a:pt x="0" y="46"/>
                    </a:lnTo>
                    <a:lnTo>
                      <a:pt x="0" y="56"/>
                    </a:lnTo>
                    <a:lnTo>
                      <a:pt x="2" y="64"/>
                    </a:lnTo>
                    <a:lnTo>
                      <a:pt x="8" y="70"/>
                    </a:lnTo>
                    <a:lnTo>
                      <a:pt x="18" y="74"/>
                    </a:lnTo>
                    <a:lnTo>
                      <a:pt x="34" y="76"/>
                    </a:lnTo>
                    <a:lnTo>
                      <a:pt x="54" y="76"/>
                    </a:lnTo>
                    <a:lnTo>
                      <a:pt x="54" y="76"/>
                    </a:lnTo>
                    <a:lnTo>
                      <a:pt x="72" y="74"/>
                    </a:lnTo>
                    <a:lnTo>
                      <a:pt x="84" y="70"/>
                    </a:lnTo>
                    <a:lnTo>
                      <a:pt x="90" y="64"/>
                    </a:lnTo>
                    <a:lnTo>
                      <a:pt x="94" y="58"/>
                    </a:lnTo>
                    <a:lnTo>
                      <a:pt x="92" y="50"/>
                    </a:lnTo>
                    <a:lnTo>
                      <a:pt x="92" y="40"/>
                    </a:lnTo>
                    <a:lnTo>
                      <a:pt x="90" y="32"/>
                    </a:lnTo>
                    <a:lnTo>
                      <a:pt x="92" y="22"/>
                    </a:lnTo>
                    <a:lnTo>
                      <a:pt x="92" y="22"/>
                    </a:lnTo>
                    <a:lnTo>
                      <a:pt x="92" y="18"/>
                    </a:lnTo>
                    <a:lnTo>
                      <a:pt x="90" y="14"/>
                    </a:lnTo>
                    <a:lnTo>
                      <a:pt x="88" y="10"/>
                    </a:lnTo>
                    <a:lnTo>
                      <a:pt x="84" y="6"/>
                    </a:lnTo>
                    <a:lnTo>
                      <a:pt x="74" y="2"/>
                    </a:lnTo>
                    <a:lnTo>
                      <a:pt x="60" y="0"/>
                    </a:lnTo>
                    <a:lnTo>
                      <a:pt x="46" y="2"/>
                    </a:lnTo>
                    <a:lnTo>
                      <a:pt x="32" y="6"/>
                    </a:lnTo>
                    <a:lnTo>
                      <a:pt x="18" y="14"/>
                    </a:lnTo>
                    <a:lnTo>
                      <a:pt x="14" y="20"/>
                    </a:lnTo>
                    <a:lnTo>
                      <a:pt x="8" y="26"/>
                    </a:lnTo>
                    <a:lnTo>
                      <a:pt x="8" y="2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8" name="Freeform 6098">
                <a:extLst>
                  <a:ext uri="{FF2B5EF4-FFF2-40B4-BE49-F238E27FC236}">
                    <a16:creationId xmlns:a16="http://schemas.microsoft.com/office/drawing/2014/main" id="{3EB65C1C-F5C2-4F21-8948-43633138ED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668780" y="1211263"/>
                <a:ext cx="63500" cy="43180"/>
              </a:xfrm>
              <a:custGeom>
                <a:avLst/>
                <a:gdLst/>
                <a:ahLst/>
                <a:cxnLst>
                  <a:cxn ang="0">
                    <a:pos x="46" y="2"/>
                  </a:cxn>
                  <a:cxn ang="0">
                    <a:pos x="46" y="2"/>
                  </a:cxn>
                  <a:cxn ang="0">
                    <a:pos x="32" y="4"/>
                  </a:cxn>
                  <a:cxn ang="0">
                    <a:pos x="20" y="6"/>
                  </a:cxn>
                  <a:cxn ang="0">
                    <a:pos x="10" y="10"/>
                  </a:cxn>
                  <a:cxn ang="0">
                    <a:pos x="4" y="12"/>
                  </a:cxn>
                  <a:cxn ang="0">
                    <a:pos x="0" y="16"/>
                  </a:cxn>
                  <a:cxn ang="0">
                    <a:pos x="0" y="20"/>
                  </a:cxn>
                  <a:cxn ang="0">
                    <a:pos x="2" y="22"/>
                  </a:cxn>
                  <a:cxn ang="0">
                    <a:pos x="8" y="24"/>
                  </a:cxn>
                  <a:cxn ang="0">
                    <a:pos x="8" y="24"/>
                  </a:cxn>
                  <a:cxn ang="0">
                    <a:pos x="20" y="28"/>
                  </a:cxn>
                  <a:cxn ang="0">
                    <a:pos x="28" y="32"/>
                  </a:cxn>
                  <a:cxn ang="0">
                    <a:pos x="32" y="36"/>
                  </a:cxn>
                  <a:cxn ang="0">
                    <a:pos x="34" y="40"/>
                  </a:cxn>
                  <a:cxn ang="0">
                    <a:pos x="34" y="40"/>
                  </a:cxn>
                  <a:cxn ang="0">
                    <a:pos x="38" y="46"/>
                  </a:cxn>
                  <a:cxn ang="0">
                    <a:pos x="44" y="50"/>
                  </a:cxn>
                  <a:cxn ang="0">
                    <a:pos x="54" y="56"/>
                  </a:cxn>
                  <a:cxn ang="0">
                    <a:pos x="64" y="66"/>
                  </a:cxn>
                  <a:cxn ang="0">
                    <a:pos x="64" y="66"/>
                  </a:cxn>
                  <a:cxn ang="0">
                    <a:pos x="68" y="68"/>
                  </a:cxn>
                  <a:cxn ang="0">
                    <a:pos x="70" y="68"/>
                  </a:cxn>
                  <a:cxn ang="0">
                    <a:pos x="70" y="66"/>
                  </a:cxn>
                  <a:cxn ang="0">
                    <a:pos x="70" y="66"/>
                  </a:cxn>
                  <a:cxn ang="0">
                    <a:pos x="70" y="62"/>
                  </a:cxn>
                  <a:cxn ang="0">
                    <a:pos x="74" y="60"/>
                  </a:cxn>
                  <a:cxn ang="0">
                    <a:pos x="80" y="56"/>
                  </a:cxn>
                  <a:cxn ang="0">
                    <a:pos x="86" y="48"/>
                  </a:cxn>
                  <a:cxn ang="0">
                    <a:pos x="86" y="48"/>
                  </a:cxn>
                  <a:cxn ang="0">
                    <a:pos x="100" y="26"/>
                  </a:cxn>
                  <a:cxn ang="0">
                    <a:pos x="100" y="20"/>
                  </a:cxn>
                  <a:cxn ang="0">
                    <a:pos x="100" y="16"/>
                  </a:cxn>
                  <a:cxn ang="0">
                    <a:pos x="98" y="14"/>
                  </a:cxn>
                  <a:cxn ang="0">
                    <a:pos x="94" y="10"/>
                  </a:cxn>
                  <a:cxn ang="0">
                    <a:pos x="94" y="10"/>
                  </a:cxn>
                  <a:cxn ang="0">
                    <a:pos x="86" y="6"/>
                  </a:cxn>
                  <a:cxn ang="0">
                    <a:pos x="80" y="2"/>
                  </a:cxn>
                  <a:cxn ang="0">
                    <a:pos x="70" y="0"/>
                  </a:cxn>
                  <a:cxn ang="0">
                    <a:pos x="46" y="2"/>
                  </a:cxn>
                  <a:cxn ang="0">
                    <a:pos x="46" y="2"/>
                  </a:cxn>
                </a:cxnLst>
                <a:rect l="0" t="0" r="r" b="b"/>
                <a:pathLst>
                  <a:path w="100" h="68">
                    <a:moveTo>
                      <a:pt x="46" y="2"/>
                    </a:moveTo>
                    <a:lnTo>
                      <a:pt x="46" y="2"/>
                    </a:lnTo>
                    <a:lnTo>
                      <a:pt x="32" y="4"/>
                    </a:lnTo>
                    <a:lnTo>
                      <a:pt x="20" y="6"/>
                    </a:lnTo>
                    <a:lnTo>
                      <a:pt x="10" y="10"/>
                    </a:lnTo>
                    <a:lnTo>
                      <a:pt x="4" y="12"/>
                    </a:lnTo>
                    <a:lnTo>
                      <a:pt x="0" y="16"/>
                    </a:lnTo>
                    <a:lnTo>
                      <a:pt x="0" y="20"/>
                    </a:lnTo>
                    <a:lnTo>
                      <a:pt x="2" y="22"/>
                    </a:lnTo>
                    <a:lnTo>
                      <a:pt x="8" y="24"/>
                    </a:lnTo>
                    <a:lnTo>
                      <a:pt x="8" y="24"/>
                    </a:lnTo>
                    <a:lnTo>
                      <a:pt x="20" y="28"/>
                    </a:lnTo>
                    <a:lnTo>
                      <a:pt x="28" y="32"/>
                    </a:lnTo>
                    <a:lnTo>
                      <a:pt x="32" y="36"/>
                    </a:lnTo>
                    <a:lnTo>
                      <a:pt x="34" y="40"/>
                    </a:lnTo>
                    <a:lnTo>
                      <a:pt x="34" y="40"/>
                    </a:lnTo>
                    <a:lnTo>
                      <a:pt x="38" y="46"/>
                    </a:lnTo>
                    <a:lnTo>
                      <a:pt x="44" y="50"/>
                    </a:lnTo>
                    <a:lnTo>
                      <a:pt x="54" y="56"/>
                    </a:lnTo>
                    <a:lnTo>
                      <a:pt x="64" y="66"/>
                    </a:lnTo>
                    <a:lnTo>
                      <a:pt x="64" y="66"/>
                    </a:lnTo>
                    <a:lnTo>
                      <a:pt x="68" y="68"/>
                    </a:lnTo>
                    <a:lnTo>
                      <a:pt x="70" y="68"/>
                    </a:lnTo>
                    <a:lnTo>
                      <a:pt x="70" y="66"/>
                    </a:lnTo>
                    <a:lnTo>
                      <a:pt x="70" y="66"/>
                    </a:lnTo>
                    <a:lnTo>
                      <a:pt x="70" y="62"/>
                    </a:lnTo>
                    <a:lnTo>
                      <a:pt x="74" y="60"/>
                    </a:lnTo>
                    <a:lnTo>
                      <a:pt x="80" y="56"/>
                    </a:lnTo>
                    <a:lnTo>
                      <a:pt x="86" y="48"/>
                    </a:lnTo>
                    <a:lnTo>
                      <a:pt x="86" y="48"/>
                    </a:lnTo>
                    <a:lnTo>
                      <a:pt x="100" y="26"/>
                    </a:lnTo>
                    <a:lnTo>
                      <a:pt x="100" y="20"/>
                    </a:lnTo>
                    <a:lnTo>
                      <a:pt x="100" y="16"/>
                    </a:lnTo>
                    <a:lnTo>
                      <a:pt x="98" y="14"/>
                    </a:lnTo>
                    <a:lnTo>
                      <a:pt x="94" y="10"/>
                    </a:lnTo>
                    <a:lnTo>
                      <a:pt x="94" y="10"/>
                    </a:lnTo>
                    <a:lnTo>
                      <a:pt x="86" y="6"/>
                    </a:lnTo>
                    <a:lnTo>
                      <a:pt x="80" y="2"/>
                    </a:lnTo>
                    <a:lnTo>
                      <a:pt x="70" y="0"/>
                    </a:lnTo>
                    <a:lnTo>
                      <a:pt x="46" y="2"/>
                    </a:lnTo>
                    <a:lnTo>
                      <a:pt x="4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69" name="Freeform 6099">
                <a:extLst>
                  <a:ext uri="{FF2B5EF4-FFF2-40B4-BE49-F238E27FC236}">
                    <a16:creationId xmlns:a16="http://schemas.microsoft.com/office/drawing/2014/main" id="{C1AC7F51-2A2D-45FB-A1C3-0615B5F6FC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33550" y="1088073"/>
                <a:ext cx="48260" cy="10160"/>
              </a:xfrm>
              <a:custGeom>
                <a:avLst/>
                <a:gdLst/>
                <a:ahLst/>
                <a:cxnLst>
                  <a:cxn ang="0">
                    <a:pos x="76" y="2"/>
                  </a:cxn>
                  <a:cxn ang="0">
                    <a:pos x="76" y="2"/>
                  </a:cxn>
                  <a:cxn ang="0">
                    <a:pos x="68" y="0"/>
                  </a:cxn>
                  <a:cxn ang="0">
                    <a:pos x="56" y="0"/>
                  </a:cxn>
                  <a:cxn ang="0">
                    <a:pos x="30" y="2"/>
                  </a:cxn>
                  <a:cxn ang="0">
                    <a:pos x="16" y="6"/>
                  </a:cxn>
                  <a:cxn ang="0">
                    <a:pos x="6" y="8"/>
                  </a:cxn>
                  <a:cxn ang="0">
                    <a:pos x="0" y="12"/>
                  </a:cxn>
                  <a:cxn ang="0">
                    <a:pos x="0" y="14"/>
                  </a:cxn>
                  <a:cxn ang="0">
                    <a:pos x="2" y="16"/>
                  </a:cxn>
                  <a:cxn ang="0">
                    <a:pos x="2" y="16"/>
                  </a:cxn>
                  <a:cxn ang="0">
                    <a:pos x="8" y="16"/>
                  </a:cxn>
                  <a:cxn ang="0">
                    <a:pos x="20" y="16"/>
                  </a:cxn>
                  <a:cxn ang="0">
                    <a:pos x="48" y="14"/>
                  </a:cxn>
                  <a:cxn ang="0">
                    <a:pos x="70" y="8"/>
                  </a:cxn>
                  <a:cxn ang="0">
                    <a:pos x="76" y="4"/>
                  </a:cxn>
                  <a:cxn ang="0">
                    <a:pos x="76" y="2"/>
                  </a:cxn>
                  <a:cxn ang="0">
                    <a:pos x="76" y="2"/>
                  </a:cxn>
                  <a:cxn ang="0">
                    <a:pos x="76" y="2"/>
                  </a:cxn>
                </a:cxnLst>
                <a:rect l="0" t="0" r="r" b="b"/>
                <a:pathLst>
                  <a:path w="76" h="16">
                    <a:moveTo>
                      <a:pt x="76" y="2"/>
                    </a:moveTo>
                    <a:lnTo>
                      <a:pt x="76" y="2"/>
                    </a:lnTo>
                    <a:lnTo>
                      <a:pt x="68" y="0"/>
                    </a:lnTo>
                    <a:lnTo>
                      <a:pt x="56" y="0"/>
                    </a:lnTo>
                    <a:lnTo>
                      <a:pt x="30" y="2"/>
                    </a:lnTo>
                    <a:lnTo>
                      <a:pt x="16" y="6"/>
                    </a:lnTo>
                    <a:lnTo>
                      <a:pt x="6" y="8"/>
                    </a:lnTo>
                    <a:lnTo>
                      <a:pt x="0" y="12"/>
                    </a:lnTo>
                    <a:lnTo>
                      <a:pt x="0" y="14"/>
                    </a:lnTo>
                    <a:lnTo>
                      <a:pt x="2" y="16"/>
                    </a:lnTo>
                    <a:lnTo>
                      <a:pt x="2" y="16"/>
                    </a:lnTo>
                    <a:lnTo>
                      <a:pt x="8" y="16"/>
                    </a:lnTo>
                    <a:lnTo>
                      <a:pt x="20" y="16"/>
                    </a:lnTo>
                    <a:lnTo>
                      <a:pt x="48" y="14"/>
                    </a:lnTo>
                    <a:lnTo>
                      <a:pt x="70" y="8"/>
                    </a:lnTo>
                    <a:lnTo>
                      <a:pt x="76" y="4"/>
                    </a:lnTo>
                    <a:lnTo>
                      <a:pt x="76" y="2"/>
                    </a:lnTo>
                    <a:lnTo>
                      <a:pt x="76" y="2"/>
                    </a:lnTo>
                    <a:lnTo>
                      <a:pt x="76" y="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0" name="Freeform 6100">
                <a:extLst>
                  <a:ext uri="{FF2B5EF4-FFF2-40B4-BE49-F238E27FC236}">
                    <a16:creationId xmlns:a16="http://schemas.microsoft.com/office/drawing/2014/main" id="{4D819A71-D015-4825-B34E-DBB06217E5A9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3390" y="1129983"/>
                <a:ext cx="30480" cy="20320"/>
              </a:xfrm>
              <a:custGeom>
                <a:avLst/>
                <a:gdLst/>
                <a:ahLst/>
                <a:cxnLst>
                  <a:cxn ang="0">
                    <a:pos x="0" y="20"/>
                  </a:cxn>
                  <a:cxn ang="0">
                    <a:pos x="0" y="20"/>
                  </a:cxn>
                  <a:cxn ang="0">
                    <a:pos x="0" y="22"/>
                  </a:cxn>
                  <a:cxn ang="0">
                    <a:pos x="2" y="26"/>
                  </a:cxn>
                  <a:cxn ang="0">
                    <a:pos x="8" y="30"/>
                  </a:cxn>
                  <a:cxn ang="0">
                    <a:pos x="16" y="32"/>
                  </a:cxn>
                  <a:cxn ang="0">
                    <a:pos x="26" y="32"/>
                  </a:cxn>
                  <a:cxn ang="0">
                    <a:pos x="34" y="30"/>
                  </a:cxn>
                  <a:cxn ang="0">
                    <a:pos x="42" y="28"/>
                  </a:cxn>
                  <a:cxn ang="0">
                    <a:pos x="46" y="22"/>
                  </a:cxn>
                  <a:cxn ang="0">
                    <a:pos x="48" y="20"/>
                  </a:cxn>
                  <a:cxn ang="0">
                    <a:pos x="48" y="18"/>
                  </a:cxn>
                  <a:cxn ang="0">
                    <a:pos x="48" y="18"/>
                  </a:cxn>
                  <a:cxn ang="0">
                    <a:pos x="44" y="12"/>
                  </a:cxn>
                  <a:cxn ang="0">
                    <a:pos x="38" y="6"/>
                  </a:cxn>
                  <a:cxn ang="0">
                    <a:pos x="30" y="2"/>
                  </a:cxn>
                  <a:cxn ang="0">
                    <a:pos x="22" y="0"/>
                  </a:cxn>
                  <a:cxn ang="0">
                    <a:pos x="14" y="0"/>
                  </a:cxn>
                  <a:cxn ang="0">
                    <a:pos x="6" y="2"/>
                  </a:cxn>
                  <a:cxn ang="0">
                    <a:pos x="2" y="8"/>
                  </a:cxn>
                  <a:cxn ang="0">
                    <a:pos x="0" y="20"/>
                  </a:cxn>
                  <a:cxn ang="0">
                    <a:pos x="0" y="20"/>
                  </a:cxn>
                </a:cxnLst>
                <a:rect l="0" t="0" r="r" b="b"/>
                <a:pathLst>
                  <a:path w="48" h="32">
                    <a:moveTo>
                      <a:pt x="0" y="20"/>
                    </a:moveTo>
                    <a:lnTo>
                      <a:pt x="0" y="20"/>
                    </a:lnTo>
                    <a:lnTo>
                      <a:pt x="0" y="22"/>
                    </a:lnTo>
                    <a:lnTo>
                      <a:pt x="2" y="26"/>
                    </a:lnTo>
                    <a:lnTo>
                      <a:pt x="8" y="30"/>
                    </a:lnTo>
                    <a:lnTo>
                      <a:pt x="16" y="32"/>
                    </a:lnTo>
                    <a:lnTo>
                      <a:pt x="26" y="32"/>
                    </a:lnTo>
                    <a:lnTo>
                      <a:pt x="34" y="30"/>
                    </a:lnTo>
                    <a:lnTo>
                      <a:pt x="42" y="28"/>
                    </a:lnTo>
                    <a:lnTo>
                      <a:pt x="46" y="22"/>
                    </a:lnTo>
                    <a:lnTo>
                      <a:pt x="48" y="20"/>
                    </a:lnTo>
                    <a:lnTo>
                      <a:pt x="48" y="18"/>
                    </a:lnTo>
                    <a:lnTo>
                      <a:pt x="48" y="18"/>
                    </a:lnTo>
                    <a:lnTo>
                      <a:pt x="44" y="12"/>
                    </a:lnTo>
                    <a:lnTo>
                      <a:pt x="38" y="6"/>
                    </a:lnTo>
                    <a:lnTo>
                      <a:pt x="30" y="2"/>
                    </a:lnTo>
                    <a:lnTo>
                      <a:pt x="22" y="0"/>
                    </a:lnTo>
                    <a:lnTo>
                      <a:pt x="14" y="0"/>
                    </a:lnTo>
                    <a:lnTo>
                      <a:pt x="6" y="2"/>
                    </a:lnTo>
                    <a:lnTo>
                      <a:pt x="2" y="8"/>
                    </a:lnTo>
                    <a:lnTo>
                      <a:pt x="0" y="20"/>
                    </a:lnTo>
                    <a:lnTo>
                      <a:pt x="0" y="20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1" name="Freeform 6101">
                <a:extLst>
                  <a:ext uri="{FF2B5EF4-FFF2-40B4-BE49-F238E27FC236}">
                    <a16:creationId xmlns:a16="http://schemas.microsoft.com/office/drawing/2014/main" id="{197CCFAB-2077-4DE0-A786-A66A8529AF0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28470" y="1065213"/>
                <a:ext cx="44450" cy="21590"/>
              </a:xfrm>
              <a:custGeom>
                <a:avLst/>
                <a:gdLst/>
                <a:ahLst/>
                <a:cxnLst>
                  <a:cxn ang="0">
                    <a:pos x="62" y="18"/>
                  </a:cxn>
                  <a:cxn ang="0">
                    <a:pos x="62" y="18"/>
                  </a:cxn>
                  <a:cxn ang="0">
                    <a:pos x="52" y="16"/>
                  </a:cxn>
                  <a:cxn ang="0">
                    <a:pos x="44" y="14"/>
                  </a:cxn>
                  <a:cxn ang="0">
                    <a:pos x="34" y="6"/>
                  </a:cxn>
                  <a:cxn ang="0">
                    <a:pos x="30" y="2"/>
                  </a:cxn>
                  <a:cxn ang="0">
                    <a:pos x="24" y="0"/>
                  </a:cxn>
                  <a:cxn ang="0">
                    <a:pos x="18" y="2"/>
                  </a:cxn>
                  <a:cxn ang="0">
                    <a:pos x="8" y="6"/>
                  </a:cxn>
                  <a:cxn ang="0">
                    <a:pos x="8" y="6"/>
                  </a:cxn>
                  <a:cxn ang="0">
                    <a:pos x="2" y="8"/>
                  </a:cxn>
                  <a:cxn ang="0">
                    <a:pos x="0" y="12"/>
                  </a:cxn>
                  <a:cxn ang="0">
                    <a:pos x="2" y="18"/>
                  </a:cxn>
                  <a:cxn ang="0">
                    <a:pos x="8" y="28"/>
                  </a:cxn>
                  <a:cxn ang="0">
                    <a:pos x="8" y="28"/>
                  </a:cxn>
                  <a:cxn ang="0">
                    <a:pos x="12" y="30"/>
                  </a:cxn>
                  <a:cxn ang="0">
                    <a:pos x="16" y="32"/>
                  </a:cxn>
                  <a:cxn ang="0">
                    <a:pos x="26" y="34"/>
                  </a:cxn>
                  <a:cxn ang="0">
                    <a:pos x="40" y="32"/>
                  </a:cxn>
                  <a:cxn ang="0">
                    <a:pos x="52" y="30"/>
                  </a:cxn>
                  <a:cxn ang="0">
                    <a:pos x="62" y="28"/>
                  </a:cxn>
                  <a:cxn ang="0">
                    <a:pos x="68" y="24"/>
                  </a:cxn>
                  <a:cxn ang="0">
                    <a:pos x="70" y="22"/>
                  </a:cxn>
                  <a:cxn ang="0">
                    <a:pos x="70" y="20"/>
                  </a:cxn>
                  <a:cxn ang="0">
                    <a:pos x="62" y="18"/>
                  </a:cxn>
                  <a:cxn ang="0">
                    <a:pos x="62" y="18"/>
                  </a:cxn>
                </a:cxnLst>
                <a:rect l="0" t="0" r="r" b="b"/>
                <a:pathLst>
                  <a:path w="70" h="34">
                    <a:moveTo>
                      <a:pt x="62" y="18"/>
                    </a:moveTo>
                    <a:lnTo>
                      <a:pt x="62" y="18"/>
                    </a:lnTo>
                    <a:lnTo>
                      <a:pt x="52" y="16"/>
                    </a:lnTo>
                    <a:lnTo>
                      <a:pt x="44" y="14"/>
                    </a:lnTo>
                    <a:lnTo>
                      <a:pt x="34" y="6"/>
                    </a:lnTo>
                    <a:lnTo>
                      <a:pt x="30" y="2"/>
                    </a:lnTo>
                    <a:lnTo>
                      <a:pt x="24" y="0"/>
                    </a:lnTo>
                    <a:lnTo>
                      <a:pt x="18" y="2"/>
                    </a:lnTo>
                    <a:lnTo>
                      <a:pt x="8" y="6"/>
                    </a:lnTo>
                    <a:lnTo>
                      <a:pt x="8" y="6"/>
                    </a:lnTo>
                    <a:lnTo>
                      <a:pt x="2" y="8"/>
                    </a:lnTo>
                    <a:lnTo>
                      <a:pt x="0" y="12"/>
                    </a:lnTo>
                    <a:lnTo>
                      <a:pt x="2" y="18"/>
                    </a:lnTo>
                    <a:lnTo>
                      <a:pt x="8" y="28"/>
                    </a:lnTo>
                    <a:lnTo>
                      <a:pt x="8" y="28"/>
                    </a:lnTo>
                    <a:lnTo>
                      <a:pt x="12" y="30"/>
                    </a:lnTo>
                    <a:lnTo>
                      <a:pt x="16" y="32"/>
                    </a:lnTo>
                    <a:lnTo>
                      <a:pt x="26" y="34"/>
                    </a:lnTo>
                    <a:lnTo>
                      <a:pt x="40" y="32"/>
                    </a:lnTo>
                    <a:lnTo>
                      <a:pt x="52" y="30"/>
                    </a:lnTo>
                    <a:lnTo>
                      <a:pt x="62" y="28"/>
                    </a:lnTo>
                    <a:lnTo>
                      <a:pt x="68" y="24"/>
                    </a:lnTo>
                    <a:lnTo>
                      <a:pt x="70" y="22"/>
                    </a:lnTo>
                    <a:lnTo>
                      <a:pt x="70" y="20"/>
                    </a:lnTo>
                    <a:lnTo>
                      <a:pt x="62" y="18"/>
                    </a:lnTo>
                    <a:lnTo>
                      <a:pt x="6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2" name="Freeform 6102">
                <a:extLst>
                  <a:ext uri="{FF2B5EF4-FFF2-40B4-BE49-F238E27FC236}">
                    <a16:creationId xmlns:a16="http://schemas.microsoft.com/office/drawing/2014/main" id="{9BEA097C-01F3-46F5-911A-3807DEFD683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22780" y="1048703"/>
                <a:ext cx="449580" cy="129540"/>
              </a:xfrm>
              <a:custGeom>
                <a:avLst/>
                <a:gdLst/>
                <a:ahLst/>
                <a:cxnLst>
                  <a:cxn ang="0">
                    <a:pos x="342" y="198"/>
                  </a:cxn>
                  <a:cxn ang="0">
                    <a:pos x="406" y="202"/>
                  </a:cxn>
                  <a:cxn ang="0">
                    <a:pos x="530" y="198"/>
                  </a:cxn>
                  <a:cxn ang="0">
                    <a:pos x="560" y="176"/>
                  </a:cxn>
                  <a:cxn ang="0">
                    <a:pos x="566" y="188"/>
                  </a:cxn>
                  <a:cxn ang="0">
                    <a:pos x="624" y="200"/>
                  </a:cxn>
                  <a:cxn ang="0">
                    <a:pos x="680" y="190"/>
                  </a:cxn>
                  <a:cxn ang="0">
                    <a:pos x="688" y="174"/>
                  </a:cxn>
                  <a:cxn ang="0">
                    <a:pos x="708" y="168"/>
                  </a:cxn>
                  <a:cxn ang="0">
                    <a:pos x="694" y="158"/>
                  </a:cxn>
                  <a:cxn ang="0">
                    <a:pos x="700" y="144"/>
                  </a:cxn>
                  <a:cxn ang="0">
                    <a:pos x="700" y="126"/>
                  </a:cxn>
                  <a:cxn ang="0">
                    <a:pos x="672" y="110"/>
                  </a:cxn>
                  <a:cxn ang="0">
                    <a:pos x="642" y="104"/>
                  </a:cxn>
                  <a:cxn ang="0">
                    <a:pos x="600" y="96"/>
                  </a:cxn>
                  <a:cxn ang="0">
                    <a:pos x="480" y="110"/>
                  </a:cxn>
                  <a:cxn ang="0">
                    <a:pos x="442" y="126"/>
                  </a:cxn>
                  <a:cxn ang="0">
                    <a:pos x="416" y="122"/>
                  </a:cxn>
                  <a:cxn ang="0">
                    <a:pos x="374" y="120"/>
                  </a:cxn>
                  <a:cxn ang="0">
                    <a:pos x="346" y="114"/>
                  </a:cxn>
                  <a:cxn ang="0">
                    <a:pos x="330" y="110"/>
                  </a:cxn>
                  <a:cxn ang="0">
                    <a:pos x="324" y="124"/>
                  </a:cxn>
                  <a:cxn ang="0">
                    <a:pos x="310" y="116"/>
                  </a:cxn>
                  <a:cxn ang="0">
                    <a:pos x="310" y="102"/>
                  </a:cxn>
                  <a:cxn ang="0">
                    <a:pos x="294" y="84"/>
                  </a:cxn>
                  <a:cxn ang="0">
                    <a:pos x="268" y="84"/>
                  </a:cxn>
                  <a:cxn ang="0">
                    <a:pos x="262" y="76"/>
                  </a:cxn>
                  <a:cxn ang="0">
                    <a:pos x="308" y="74"/>
                  </a:cxn>
                  <a:cxn ang="0">
                    <a:pos x="316" y="66"/>
                  </a:cxn>
                  <a:cxn ang="0">
                    <a:pos x="278" y="52"/>
                  </a:cxn>
                  <a:cxn ang="0">
                    <a:pos x="240" y="34"/>
                  </a:cxn>
                  <a:cxn ang="0">
                    <a:pos x="182" y="36"/>
                  </a:cxn>
                  <a:cxn ang="0">
                    <a:pos x="154" y="30"/>
                  </a:cxn>
                  <a:cxn ang="0">
                    <a:pos x="124" y="10"/>
                  </a:cxn>
                  <a:cxn ang="0">
                    <a:pos x="78" y="6"/>
                  </a:cxn>
                  <a:cxn ang="0">
                    <a:pos x="10" y="0"/>
                  </a:cxn>
                  <a:cxn ang="0">
                    <a:pos x="2" y="12"/>
                  </a:cxn>
                  <a:cxn ang="0">
                    <a:pos x="18" y="32"/>
                  </a:cxn>
                  <a:cxn ang="0">
                    <a:pos x="58" y="52"/>
                  </a:cxn>
                  <a:cxn ang="0">
                    <a:pos x="66" y="66"/>
                  </a:cxn>
                  <a:cxn ang="0">
                    <a:pos x="112" y="66"/>
                  </a:cxn>
                  <a:cxn ang="0">
                    <a:pos x="160" y="60"/>
                  </a:cxn>
                  <a:cxn ang="0">
                    <a:pos x="186" y="84"/>
                  </a:cxn>
                  <a:cxn ang="0">
                    <a:pos x="202" y="98"/>
                  </a:cxn>
                  <a:cxn ang="0">
                    <a:pos x="194" y="120"/>
                  </a:cxn>
                  <a:cxn ang="0">
                    <a:pos x="186" y="142"/>
                  </a:cxn>
                  <a:cxn ang="0">
                    <a:pos x="198" y="154"/>
                  </a:cxn>
                  <a:cxn ang="0">
                    <a:pos x="206" y="182"/>
                  </a:cxn>
                  <a:cxn ang="0">
                    <a:pos x="232" y="190"/>
                  </a:cxn>
                  <a:cxn ang="0">
                    <a:pos x="250" y="186"/>
                  </a:cxn>
                  <a:cxn ang="0">
                    <a:pos x="282" y="198"/>
                  </a:cxn>
                  <a:cxn ang="0">
                    <a:pos x="326" y="188"/>
                  </a:cxn>
                  <a:cxn ang="0">
                    <a:pos x="342" y="188"/>
                  </a:cxn>
                </a:cxnLst>
                <a:rect l="0" t="0" r="r" b="b"/>
                <a:pathLst>
                  <a:path w="708" h="204">
                    <a:moveTo>
                      <a:pt x="342" y="188"/>
                    </a:moveTo>
                    <a:lnTo>
                      <a:pt x="342" y="188"/>
                    </a:lnTo>
                    <a:lnTo>
                      <a:pt x="342" y="196"/>
                    </a:lnTo>
                    <a:lnTo>
                      <a:pt x="342" y="198"/>
                    </a:lnTo>
                    <a:lnTo>
                      <a:pt x="344" y="200"/>
                    </a:lnTo>
                    <a:lnTo>
                      <a:pt x="352" y="202"/>
                    </a:lnTo>
                    <a:lnTo>
                      <a:pt x="364" y="204"/>
                    </a:lnTo>
                    <a:lnTo>
                      <a:pt x="406" y="202"/>
                    </a:lnTo>
                    <a:lnTo>
                      <a:pt x="472" y="202"/>
                    </a:lnTo>
                    <a:lnTo>
                      <a:pt x="472" y="202"/>
                    </a:lnTo>
                    <a:lnTo>
                      <a:pt x="506" y="202"/>
                    </a:lnTo>
                    <a:lnTo>
                      <a:pt x="530" y="198"/>
                    </a:lnTo>
                    <a:lnTo>
                      <a:pt x="546" y="192"/>
                    </a:lnTo>
                    <a:lnTo>
                      <a:pt x="554" y="186"/>
                    </a:lnTo>
                    <a:lnTo>
                      <a:pt x="558" y="180"/>
                    </a:lnTo>
                    <a:lnTo>
                      <a:pt x="560" y="176"/>
                    </a:lnTo>
                    <a:lnTo>
                      <a:pt x="562" y="178"/>
                    </a:lnTo>
                    <a:lnTo>
                      <a:pt x="562" y="184"/>
                    </a:lnTo>
                    <a:lnTo>
                      <a:pt x="562" y="184"/>
                    </a:lnTo>
                    <a:lnTo>
                      <a:pt x="566" y="188"/>
                    </a:lnTo>
                    <a:lnTo>
                      <a:pt x="570" y="190"/>
                    </a:lnTo>
                    <a:lnTo>
                      <a:pt x="584" y="196"/>
                    </a:lnTo>
                    <a:lnTo>
                      <a:pt x="604" y="200"/>
                    </a:lnTo>
                    <a:lnTo>
                      <a:pt x="624" y="200"/>
                    </a:lnTo>
                    <a:lnTo>
                      <a:pt x="646" y="200"/>
                    </a:lnTo>
                    <a:lnTo>
                      <a:pt x="664" y="198"/>
                    </a:lnTo>
                    <a:lnTo>
                      <a:pt x="676" y="192"/>
                    </a:lnTo>
                    <a:lnTo>
                      <a:pt x="680" y="190"/>
                    </a:lnTo>
                    <a:lnTo>
                      <a:pt x="682" y="186"/>
                    </a:lnTo>
                    <a:lnTo>
                      <a:pt x="682" y="186"/>
                    </a:lnTo>
                    <a:lnTo>
                      <a:pt x="684" y="178"/>
                    </a:lnTo>
                    <a:lnTo>
                      <a:pt x="688" y="174"/>
                    </a:lnTo>
                    <a:lnTo>
                      <a:pt x="694" y="172"/>
                    </a:lnTo>
                    <a:lnTo>
                      <a:pt x="700" y="170"/>
                    </a:lnTo>
                    <a:lnTo>
                      <a:pt x="706" y="168"/>
                    </a:lnTo>
                    <a:lnTo>
                      <a:pt x="708" y="168"/>
                    </a:lnTo>
                    <a:lnTo>
                      <a:pt x="708" y="166"/>
                    </a:lnTo>
                    <a:lnTo>
                      <a:pt x="700" y="162"/>
                    </a:lnTo>
                    <a:lnTo>
                      <a:pt x="700" y="162"/>
                    </a:lnTo>
                    <a:lnTo>
                      <a:pt x="694" y="158"/>
                    </a:lnTo>
                    <a:lnTo>
                      <a:pt x="690" y="154"/>
                    </a:lnTo>
                    <a:lnTo>
                      <a:pt x="692" y="152"/>
                    </a:lnTo>
                    <a:lnTo>
                      <a:pt x="696" y="148"/>
                    </a:lnTo>
                    <a:lnTo>
                      <a:pt x="700" y="144"/>
                    </a:lnTo>
                    <a:lnTo>
                      <a:pt x="702" y="140"/>
                    </a:lnTo>
                    <a:lnTo>
                      <a:pt x="704" y="134"/>
                    </a:lnTo>
                    <a:lnTo>
                      <a:pt x="700" y="126"/>
                    </a:lnTo>
                    <a:lnTo>
                      <a:pt x="700" y="126"/>
                    </a:lnTo>
                    <a:lnTo>
                      <a:pt x="694" y="118"/>
                    </a:lnTo>
                    <a:lnTo>
                      <a:pt x="688" y="114"/>
                    </a:lnTo>
                    <a:lnTo>
                      <a:pt x="680" y="112"/>
                    </a:lnTo>
                    <a:lnTo>
                      <a:pt x="672" y="110"/>
                    </a:lnTo>
                    <a:lnTo>
                      <a:pt x="654" y="110"/>
                    </a:lnTo>
                    <a:lnTo>
                      <a:pt x="648" y="108"/>
                    </a:lnTo>
                    <a:lnTo>
                      <a:pt x="642" y="104"/>
                    </a:lnTo>
                    <a:lnTo>
                      <a:pt x="642" y="104"/>
                    </a:lnTo>
                    <a:lnTo>
                      <a:pt x="636" y="98"/>
                    </a:lnTo>
                    <a:lnTo>
                      <a:pt x="626" y="96"/>
                    </a:lnTo>
                    <a:lnTo>
                      <a:pt x="614" y="94"/>
                    </a:lnTo>
                    <a:lnTo>
                      <a:pt x="600" y="96"/>
                    </a:lnTo>
                    <a:lnTo>
                      <a:pt x="560" y="98"/>
                    </a:lnTo>
                    <a:lnTo>
                      <a:pt x="506" y="106"/>
                    </a:lnTo>
                    <a:lnTo>
                      <a:pt x="506" y="106"/>
                    </a:lnTo>
                    <a:lnTo>
                      <a:pt x="480" y="110"/>
                    </a:lnTo>
                    <a:lnTo>
                      <a:pt x="464" y="114"/>
                    </a:lnTo>
                    <a:lnTo>
                      <a:pt x="454" y="120"/>
                    </a:lnTo>
                    <a:lnTo>
                      <a:pt x="446" y="124"/>
                    </a:lnTo>
                    <a:lnTo>
                      <a:pt x="442" y="126"/>
                    </a:lnTo>
                    <a:lnTo>
                      <a:pt x="438" y="128"/>
                    </a:lnTo>
                    <a:lnTo>
                      <a:pt x="430" y="126"/>
                    </a:lnTo>
                    <a:lnTo>
                      <a:pt x="416" y="122"/>
                    </a:lnTo>
                    <a:lnTo>
                      <a:pt x="416" y="122"/>
                    </a:lnTo>
                    <a:lnTo>
                      <a:pt x="402" y="118"/>
                    </a:lnTo>
                    <a:lnTo>
                      <a:pt x="390" y="118"/>
                    </a:lnTo>
                    <a:lnTo>
                      <a:pt x="382" y="118"/>
                    </a:lnTo>
                    <a:lnTo>
                      <a:pt x="374" y="120"/>
                    </a:lnTo>
                    <a:lnTo>
                      <a:pt x="368" y="122"/>
                    </a:lnTo>
                    <a:lnTo>
                      <a:pt x="362" y="122"/>
                    </a:lnTo>
                    <a:lnTo>
                      <a:pt x="354" y="120"/>
                    </a:lnTo>
                    <a:lnTo>
                      <a:pt x="346" y="114"/>
                    </a:lnTo>
                    <a:lnTo>
                      <a:pt x="346" y="114"/>
                    </a:lnTo>
                    <a:lnTo>
                      <a:pt x="338" y="110"/>
                    </a:lnTo>
                    <a:lnTo>
                      <a:pt x="332" y="108"/>
                    </a:lnTo>
                    <a:lnTo>
                      <a:pt x="330" y="110"/>
                    </a:lnTo>
                    <a:lnTo>
                      <a:pt x="328" y="114"/>
                    </a:lnTo>
                    <a:lnTo>
                      <a:pt x="328" y="118"/>
                    </a:lnTo>
                    <a:lnTo>
                      <a:pt x="326" y="122"/>
                    </a:lnTo>
                    <a:lnTo>
                      <a:pt x="324" y="124"/>
                    </a:lnTo>
                    <a:lnTo>
                      <a:pt x="318" y="122"/>
                    </a:lnTo>
                    <a:lnTo>
                      <a:pt x="318" y="122"/>
                    </a:lnTo>
                    <a:lnTo>
                      <a:pt x="312" y="118"/>
                    </a:lnTo>
                    <a:lnTo>
                      <a:pt x="310" y="116"/>
                    </a:lnTo>
                    <a:lnTo>
                      <a:pt x="310" y="112"/>
                    </a:lnTo>
                    <a:lnTo>
                      <a:pt x="310" y="110"/>
                    </a:lnTo>
                    <a:lnTo>
                      <a:pt x="312" y="106"/>
                    </a:lnTo>
                    <a:lnTo>
                      <a:pt x="310" y="102"/>
                    </a:lnTo>
                    <a:lnTo>
                      <a:pt x="308" y="96"/>
                    </a:lnTo>
                    <a:lnTo>
                      <a:pt x="300" y="90"/>
                    </a:lnTo>
                    <a:lnTo>
                      <a:pt x="300" y="90"/>
                    </a:lnTo>
                    <a:lnTo>
                      <a:pt x="294" y="84"/>
                    </a:lnTo>
                    <a:lnTo>
                      <a:pt x="286" y="82"/>
                    </a:lnTo>
                    <a:lnTo>
                      <a:pt x="280" y="82"/>
                    </a:lnTo>
                    <a:lnTo>
                      <a:pt x="276" y="82"/>
                    </a:lnTo>
                    <a:lnTo>
                      <a:pt x="268" y="84"/>
                    </a:lnTo>
                    <a:lnTo>
                      <a:pt x="266" y="82"/>
                    </a:lnTo>
                    <a:lnTo>
                      <a:pt x="264" y="78"/>
                    </a:lnTo>
                    <a:lnTo>
                      <a:pt x="264" y="78"/>
                    </a:lnTo>
                    <a:lnTo>
                      <a:pt x="262" y="76"/>
                    </a:lnTo>
                    <a:lnTo>
                      <a:pt x="264" y="74"/>
                    </a:lnTo>
                    <a:lnTo>
                      <a:pt x="270" y="72"/>
                    </a:lnTo>
                    <a:lnTo>
                      <a:pt x="290" y="72"/>
                    </a:lnTo>
                    <a:lnTo>
                      <a:pt x="308" y="74"/>
                    </a:lnTo>
                    <a:lnTo>
                      <a:pt x="314" y="72"/>
                    </a:lnTo>
                    <a:lnTo>
                      <a:pt x="316" y="70"/>
                    </a:lnTo>
                    <a:lnTo>
                      <a:pt x="316" y="66"/>
                    </a:lnTo>
                    <a:lnTo>
                      <a:pt x="316" y="66"/>
                    </a:lnTo>
                    <a:lnTo>
                      <a:pt x="314" y="62"/>
                    </a:lnTo>
                    <a:lnTo>
                      <a:pt x="308" y="58"/>
                    </a:lnTo>
                    <a:lnTo>
                      <a:pt x="296" y="56"/>
                    </a:lnTo>
                    <a:lnTo>
                      <a:pt x="278" y="52"/>
                    </a:lnTo>
                    <a:lnTo>
                      <a:pt x="268" y="48"/>
                    </a:lnTo>
                    <a:lnTo>
                      <a:pt x="258" y="44"/>
                    </a:lnTo>
                    <a:lnTo>
                      <a:pt x="258" y="44"/>
                    </a:lnTo>
                    <a:lnTo>
                      <a:pt x="240" y="34"/>
                    </a:lnTo>
                    <a:lnTo>
                      <a:pt x="232" y="32"/>
                    </a:lnTo>
                    <a:lnTo>
                      <a:pt x="224" y="30"/>
                    </a:lnTo>
                    <a:lnTo>
                      <a:pt x="204" y="32"/>
                    </a:lnTo>
                    <a:lnTo>
                      <a:pt x="182" y="36"/>
                    </a:lnTo>
                    <a:lnTo>
                      <a:pt x="182" y="36"/>
                    </a:lnTo>
                    <a:lnTo>
                      <a:pt x="170" y="36"/>
                    </a:lnTo>
                    <a:lnTo>
                      <a:pt x="162" y="34"/>
                    </a:lnTo>
                    <a:lnTo>
                      <a:pt x="154" y="30"/>
                    </a:lnTo>
                    <a:lnTo>
                      <a:pt x="148" y="24"/>
                    </a:lnTo>
                    <a:lnTo>
                      <a:pt x="136" y="14"/>
                    </a:lnTo>
                    <a:lnTo>
                      <a:pt x="130" y="10"/>
                    </a:lnTo>
                    <a:lnTo>
                      <a:pt x="124" y="10"/>
                    </a:lnTo>
                    <a:lnTo>
                      <a:pt x="124" y="10"/>
                    </a:lnTo>
                    <a:lnTo>
                      <a:pt x="114" y="10"/>
                    </a:lnTo>
                    <a:lnTo>
                      <a:pt x="104" y="10"/>
                    </a:lnTo>
                    <a:lnTo>
                      <a:pt x="78" y="6"/>
                    </a:lnTo>
                    <a:lnTo>
                      <a:pt x="48" y="2"/>
                    </a:lnTo>
                    <a:lnTo>
                      <a:pt x="14" y="0"/>
                    </a:lnTo>
                    <a:lnTo>
                      <a:pt x="14" y="0"/>
                    </a:lnTo>
                    <a:lnTo>
                      <a:pt x="10" y="0"/>
                    </a:lnTo>
                    <a:lnTo>
                      <a:pt x="4" y="2"/>
                    </a:lnTo>
                    <a:lnTo>
                      <a:pt x="2" y="4"/>
                    </a:lnTo>
                    <a:lnTo>
                      <a:pt x="0" y="8"/>
                    </a:lnTo>
                    <a:lnTo>
                      <a:pt x="2" y="12"/>
                    </a:lnTo>
                    <a:lnTo>
                      <a:pt x="4" y="18"/>
                    </a:lnTo>
                    <a:lnTo>
                      <a:pt x="10" y="24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26" y="38"/>
                    </a:lnTo>
                    <a:lnTo>
                      <a:pt x="36" y="42"/>
                    </a:lnTo>
                    <a:lnTo>
                      <a:pt x="50" y="48"/>
                    </a:lnTo>
                    <a:lnTo>
                      <a:pt x="58" y="52"/>
                    </a:lnTo>
                    <a:lnTo>
                      <a:pt x="62" y="56"/>
                    </a:lnTo>
                    <a:lnTo>
                      <a:pt x="62" y="60"/>
                    </a:lnTo>
                    <a:lnTo>
                      <a:pt x="62" y="60"/>
                    </a:lnTo>
                    <a:lnTo>
                      <a:pt x="66" y="66"/>
                    </a:lnTo>
                    <a:lnTo>
                      <a:pt x="70" y="68"/>
                    </a:lnTo>
                    <a:lnTo>
                      <a:pt x="78" y="70"/>
                    </a:lnTo>
                    <a:lnTo>
                      <a:pt x="88" y="70"/>
                    </a:lnTo>
                    <a:lnTo>
                      <a:pt x="112" y="66"/>
                    </a:lnTo>
                    <a:lnTo>
                      <a:pt x="138" y="60"/>
                    </a:lnTo>
                    <a:lnTo>
                      <a:pt x="138" y="60"/>
                    </a:lnTo>
                    <a:lnTo>
                      <a:pt x="150" y="60"/>
                    </a:lnTo>
                    <a:lnTo>
                      <a:pt x="160" y="60"/>
                    </a:lnTo>
                    <a:lnTo>
                      <a:pt x="166" y="62"/>
                    </a:lnTo>
                    <a:lnTo>
                      <a:pt x="170" y="66"/>
                    </a:lnTo>
                    <a:lnTo>
                      <a:pt x="180" y="78"/>
                    </a:lnTo>
                    <a:lnTo>
                      <a:pt x="186" y="84"/>
                    </a:lnTo>
                    <a:lnTo>
                      <a:pt x="194" y="90"/>
                    </a:lnTo>
                    <a:lnTo>
                      <a:pt x="194" y="90"/>
                    </a:lnTo>
                    <a:lnTo>
                      <a:pt x="198" y="94"/>
                    </a:lnTo>
                    <a:lnTo>
                      <a:pt x="202" y="98"/>
                    </a:lnTo>
                    <a:lnTo>
                      <a:pt x="202" y="102"/>
                    </a:lnTo>
                    <a:lnTo>
                      <a:pt x="202" y="106"/>
                    </a:lnTo>
                    <a:lnTo>
                      <a:pt x="200" y="114"/>
                    </a:lnTo>
                    <a:lnTo>
                      <a:pt x="194" y="120"/>
                    </a:lnTo>
                    <a:lnTo>
                      <a:pt x="190" y="128"/>
                    </a:lnTo>
                    <a:lnTo>
                      <a:pt x="186" y="134"/>
                    </a:lnTo>
                    <a:lnTo>
                      <a:pt x="184" y="140"/>
                    </a:lnTo>
                    <a:lnTo>
                      <a:pt x="186" y="142"/>
                    </a:lnTo>
                    <a:lnTo>
                      <a:pt x="190" y="144"/>
                    </a:lnTo>
                    <a:lnTo>
                      <a:pt x="190" y="144"/>
                    </a:lnTo>
                    <a:lnTo>
                      <a:pt x="196" y="150"/>
                    </a:lnTo>
                    <a:lnTo>
                      <a:pt x="198" y="154"/>
                    </a:lnTo>
                    <a:lnTo>
                      <a:pt x="200" y="164"/>
                    </a:lnTo>
                    <a:lnTo>
                      <a:pt x="200" y="170"/>
                    </a:lnTo>
                    <a:lnTo>
                      <a:pt x="202" y="176"/>
                    </a:lnTo>
                    <a:lnTo>
                      <a:pt x="206" y="182"/>
                    </a:lnTo>
                    <a:lnTo>
                      <a:pt x="216" y="186"/>
                    </a:lnTo>
                    <a:lnTo>
                      <a:pt x="216" y="186"/>
                    </a:lnTo>
                    <a:lnTo>
                      <a:pt x="224" y="190"/>
                    </a:lnTo>
                    <a:lnTo>
                      <a:pt x="232" y="190"/>
                    </a:lnTo>
                    <a:lnTo>
                      <a:pt x="236" y="190"/>
                    </a:lnTo>
                    <a:lnTo>
                      <a:pt x="240" y="188"/>
                    </a:lnTo>
                    <a:lnTo>
                      <a:pt x="244" y="186"/>
                    </a:lnTo>
                    <a:lnTo>
                      <a:pt x="250" y="186"/>
                    </a:lnTo>
                    <a:lnTo>
                      <a:pt x="260" y="188"/>
                    </a:lnTo>
                    <a:lnTo>
                      <a:pt x="274" y="194"/>
                    </a:lnTo>
                    <a:lnTo>
                      <a:pt x="274" y="194"/>
                    </a:lnTo>
                    <a:lnTo>
                      <a:pt x="282" y="198"/>
                    </a:lnTo>
                    <a:lnTo>
                      <a:pt x="290" y="198"/>
                    </a:lnTo>
                    <a:lnTo>
                      <a:pt x="304" y="198"/>
                    </a:lnTo>
                    <a:lnTo>
                      <a:pt x="316" y="194"/>
                    </a:lnTo>
                    <a:lnTo>
                      <a:pt x="326" y="188"/>
                    </a:lnTo>
                    <a:lnTo>
                      <a:pt x="340" y="180"/>
                    </a:lnTo>
                    <a:lnTo>
                      <a:pt x="342" y="180"/>
                    </a:lnTo>
                    <a:lnTo>
                      <a:pt x="342" y="180"/>
                    </a:lnTo>
                    <a:lnTo>
                      <a:pt x="342" y="188"/>
                    </a:lnTo>
                    <a:lnTo>
                      <a:pt x="342" y="18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Freeform 6103">
                <a:extLst>
                  <a:ext uri="{FF2B5EF4-FFF2-40B4-BE49-F238E27FC236}">
                    <a16:creationId xmlns:a16="http://schemas.microsoft.com/office/drawing/2014/main" id="{A1890D90-5390-4545-93A3-827C74573B2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36750" y="1119823"/>
                <a:ext cx="81280" cy="49530"/>
              </a:xfrm>
              <a:custGeom>
                <a:avLst/>
                <a:gdLst/>
                <a:ahLst/>
                <a:cxnLst>
                  <a:cxn ang="0">
                    <a:pos x="94" y="78"/>
                  </a:cxn>
                  <a:cxn ang="0">
                    <a:pos x="94" y="78"/>
                  </a:cxn>
                  <a:cxn ang="0">
                    <a:pos x="110" y="76"/>
                  </a:cxn>
                  <a:cxn ang="0">
                    <a:pos x="120" y="72"/>
                  </a:cxn>
                  <a:cxn ang="0">
                    <a:pos x="126" y="66"/>
                  </a:cxn>
                  <a:cxn ang="0">
                    <a:pos x="128" y="58"/>
                  </a:cxn>
                  <a:cxn ang="0">
                    <a:pos x="126" y="48"/>
                  </a:cxn>
                  <a:cxn ang="0">
                    <a:pos x="120" y="38"/>
                  </a:cxn>
                  <a:cxn ang="0">
                    <a:pos x="114" y="28"/>
                  </a:cxn>
                  <a:cxn ang="0">
                    <a:pos x="104" y="16"/>
                  </a:cxn>
                  <a:cxn ang="0">
                    <a:pos x="104" y="16"/>
                  </a:cxn>
                  <a:cxn ang="0">
                    <a:pos x="92" y="8"/>
                  </a:cxn>
                  <a:cxn ang="0">
                    <a:pos x="80" y="2"/>
                  </a:cxn>
                  <a:cxn ang="0">
                    <a:pos x="68" y="0"/>
                  </a:cxn>
                  <a:cxn ang="0">
                    <a:pos x="58" y="0"/>
                  </a:cxn>
                  <a:cxn ang="0">
                    <a:pos x="46" y="2"/>
                  </a:cxn>
                  <a:cxn ang="0">
                    <a:pos x="34" y="8"/>
                  </a:cxn>
                  <a:cxn ang="0">
                    <a:pos x="24" y="14"/>
                  </a:cxn>
                  <a:cxn ang="0">
                    <a:pos x="16" y="24"/>
                  </a:cxn>
                  <a:cxn ang="0">
                    <a:pos x="16" y="24"/>
                  </a:cxn>
                  <a:cxn ang="0">
                    <a:pos x="6" y="36"/>
                  </a:cxn>
                  <a:cxn ang="0">
                    <a:pos x="2" y="42"/>
                  </a:cxn>
                  <a:cxn ang="0">
                    <a:pos x="0" y="48"/>
                  </a:cxn>
                  <a:cxn ang="0">
                    <a:pos x="0" y="52"/>
                  </a:cxn>
                  <a:cxn ang="0">
                    <a:pos x="4" y="56"/>
                  </a:cxn>
                  <a:cxn ang="0">
                    <a:pos x="10" y="58"/>
                  </a:cxn>
                  <a:cxn ang="0">
                    <a:pos x="22" y="60"/>
                  </a:cxn>
                  <a:cxn ang="0">
                    <a:pos x="22" y="60"/>
                  </a:cxn>
                  <a:cxn ang="0">
                    <a:pos x="32" y="62"/>
                  </a:cxn>
                  <a:cxn ang="0">
                    <a:pos x="40" y="64"/>
                  </a:cxn>
                  <a:cxn ang="0">
                    <a:pos x="54" y="70"/>
                  </a:cxn>
                  <a:cxn ang="0">
                    <a:pos x="68" y="76"/>
                  </a:cxn>
                  <a:cxn ang="0">
                    <a:pos x="80" y="76"/>
                  </a:cxn>
                  <a:cxn ang="0">
                    <a:pos x="94" y="78"/>
                  </a:cxn>
                  <a:cxn ang="0">
                    <a:pos x="94" y="78"/>
                  </a:cxn>
                </a:cxnLst>
                <a:rect l="0" t="0" r="r" b="b"/>
                <a:pathLst>
                  <a:path w="128" h="78">
                    <a:moveTo>
                      <a:pt x="94" y="78"/>
                    </a:moveTo>
                    <a:lnTo>
                      <a:pt x="94" y="78"/>
                    </a:lnTo>
                    <a:lnTo>
                      <a:pt x="110" y="76"/>
                    </a:lnTo>
                    <a:lnTo>
                      <a:pt x="120" y="72"/>
                    </a:lnTo>
                    <a:lnTo>
                      <a:pt x="126" y="66"/>
                    </a:lnTo>
                    <a:lnTo>
                      <a:pt x="128" y="58"/>
                    </a:lnTo>
                    <a:lnTo>
                      <a:pt x="126" y="48"/>
                    </a:lnTo>
                    <a:lnTo>
                      <a:pt x="120" y="38"/>
                    </a:lnTo>
                    <a:lnTo>
                      <a:pt x="114" y="28"/>
                    </a:lnTo>
                    <a:lnTo>
                      <a:pt x="104" y="16"/>
                    </a:lnTo>
                    <a:lnTo>
                      <a:pt x="104" y="16"/>
                    </a:lnTo>
                    <a:lnTo>
                      <a:pt x="92" y="8"/>
                    </a:lnTo>
                    <a:lnTo>
                      <a:pt x="80" y="2"/>
                    </a:lnTo>
                    <a:lnTo>
                      <a:pt x="68" y="0"/>
                    </a:lnTo>
                    <a:lnTo>
                      <a:pt x="58" y="0"/>
                    </a:lnTo>
                    <a:lnTo>
                      <a:pt x="46" y="2"/>
                    </a:lnTo>
                    <a:lnTo>
                      <a:pt x="34" y="8"/>
                    </a:lnTo>
                    <a:lnTo>
                      <a:pt x="24" y="14"/>
                    </a:lnTo>
                    <a:lnTo>
                      <a:pt x="16" y="24"/>
                    </a:lnTo>
                    <a:lnTo>
                      <a:pt x="16" y="24"/>
                    </a:lnTo>
                    <a:lnTo>
                      <a:pt x="6" y="36"/>
                    </a:lnTo>
                    <a:lnTo>
                      <a:pt x="2" y="42"/>
                    </a:lnTo>
                    <a:lnTo>
                      <a:pt x="0" y="48"/>
                    </a:lnTo>
                    <a:lnTo>
                      <a:pt x="0" y="52"/>
                    </a:lnTo>
                    <a:lnTo>
                      <a:pt x="4" y="56"/>
                    </a:lnTo>
                    <a:lnTo>
                      <a:pt x="10" y="58"/>
                    </a:lnTo>
                    <a:lnTo>
                      <a:pt x="22" y="60"/>
                    </a:lnTo>
                    <a:lnTo>
                      <a:pt x="22" y="60"/>
                    </a:lnTo>
                    <a:lnTo>
                      <a:pt x="32" y="62"/>
                    </a:lnTo>
                    <a:lnTo>
                      <a:pt x="40" y="64"/>
                    </a:lnTo>
                    <a:lnTo>
                      <a:pt x="54" y="70"/>
                    </a:lnTo>
                    <a:lnTo>
                      <a:pt x="68" y="76"/>
                    </a:lnTo>
                    <a:lnTo>
                      <a:pt x="80" y="76"/>
                    </a:lnTo>
                    <a:lnTo>
                      <a:pt x="94" y="78"/>
                    </a:lnTo>
                    <a:lnTo>
                      <a:pt x="94" y="7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Freeform 6104">
                <a:extLst>
                  <a:ext uri="{FF2B5EF4-FFF2-40B4-BE49-F238E27FC236}">
                    <a16:creationId xmlns:a16="http://schemas.microsoft.com/office/drawing/2014/main" id="{0C666610-3D8B-49C5-9A52-68FEA677804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40560" y="1010603"/>
                <a:ext cx="80010" cy="19050"/>
              </a:xfrm>
              <a:custGeom>
                <a:avLst/>
                <a:gdLst/>
                <a:ahLst/>
                <a:cxnLst>
                  <a:cxn ang="0">
                    <a:pos x="92" y="28"/>
                  </a:cxn>
                  <a:cxn ang="0">
                    <a:pos x="92" y="28"/>
                  </a:cxn>
                  <a:cxn ang="0">
                    <a:pos x="108" y="28"/>
                  </a:cxn>
                  <a:cxn ang="0">
                    <a:pos x="120" y="26"/>
                  </a:cxn>
                  <a:cxn ang="0">
                    <a:pos x="124" y="22"/>
                  </a:cxn>
                  <a:cxn ang="0">
                    <a:pos x="126" y="20"/>
                  </a:cxn>
                  <a:cxn ang="0">
                    <a:pos x="126" y="16"/>
                  </a:cxn>
                  <a:cxn ang="0">
                    <a:pos x="122" y="12"/>
                  </a:cxn>
                  <a:cxn ang="0">
                    <a:pos x="112" y="8"/>
                  </a:cxn>
                  <a:cxn ang="0">
                    <a:pos x="100" y="4"/>
                  </a:cxn>
                  <a:cxn ang="0">
                    <a:pos x="82" y="2"/>
                  </a:cxn>
                  <a:cxn ang="0">
                    <a:pos x="82" y="2"/>
                  </a:cxn>
                  <a:cxn ang="0">
                    <a:pos x="48" y="0"/>
                  </a:cxn>
                  <a:cxn ang="0">
                    <a:pos x="22" y="4"/>
                  </a:cxn>
                  <a:cxn ang="0">
                    <a:pos x="14" y="6"/>
                  </a:cxn>
                  <a:cxn ang="0">
                    <a:pos x="6" y="8"/>
                  </a:cxn>
                  <a:cxn ang="0">
                    <a:pos x="2" y="12"/>
                  </a:cxn>
                  <a:cxn ang="0">
                    <a:pos x="0" y="18"/>
                  </a:cxn>
                  <a:cxn ang="0">
                    <a:pos x="0" y="18"/>
                  </a:cxn>
                  <a:cxn ang="0">
                    <a:pos x="2" y="24"/>
                  </a:cxn>
                  <a:cxn ang="0">
                    <a:pos x="6" y="26"/>
                  </a:cxn>
                  <a:cxn ang="0">
                    <a:pos x="16" y="28"/>
                  </a:cxn>
                  <a:cxn ang="0">
                    <a:pos x="26" y="30"/>
                  </a:cxn>
                  <a:cxn ang="0">
                    <a:pos x="56" y="28"/>
                  </a:cxn>
                  <a:cxn ang="0">
                    <a:pos x="92" y="28"/>
                  </a:cxn>
                  <a:cxn ang="0">
                    <a:pos x="92" y="28"/>
                  </a:cxn>
                </a:cxnLst>
                <a:rect l="0" t="0" r="r" b="b"/>
                <a:pathLst>
                  <a:path w="126" h="30">
                    <a:moveTo>
                      <a:pt x="92" y="28"/>
                    </a:moveTo>
                    <a:lnTo>
                      <a:pt x="92" y="28"/>
                    </a:lnTo>
                    <a:lnTo>
                      <a:pt x="108" y="28"/>
                    </a:lnTo>
                    <a:lnTo>
                      <a:pt x="120" y="26"/>
                    </a:lnTo>
                    <a:lnTo>
                      <a:pt x="124" y="22"/>
                    </a:lnTo>
                    <a:lnTo>
                      <a:pt x="126" y="20"/>
                    </a:lnTo>
                    <a:lnTo>
                      <a:pt x="126" y="16"/>
                    </a:lnTo>
                    <a:lnTo>
                      <a:pt x="122" y="12"/>
                    </a:lnTo>
                    <a:lnTo>
                      <a:pt x="112" y="8"/>
                    </a:lnTo>
                    <a:lnTo>
                      <a:pt x="100" y="4"/>
                    </a:lnTo>
                    <a:lnTo>
                      <a:pt x="82" y="2"/>
                    </a:lnTo>
                    <a:lnTo>
                      <a:pt x="82" y="2"/>
                    </a:lnTo>
                    <a:lnTo>
                      <a:pt x="48" y="0"/>
                    </a:lnTo>
                    <a:lnTo>
                      <a:pt x="22" y="4"/>
                    </a:lnTo>
                    <a:lnTo>
                      <a:pt x="14" y="6"/>
                    </a:lnTo>
                    <a:lnTo>
                      <a:pt x="6" y="8"/>
                    </a:lnTo>
                    <a:lnTo>
                      <a:pt x="2" y="12"/>
                    </a:lnTo>
                    <a:lnTo>
                      <a:pt x="0" y="18"/>
                    </a:lnTo>
                    <a:lnTo>
                      <a:pt x="0" y="18"/>
                    </a:lnTo>
                    <a:lnTo>
                      <a:pt x="2" y="24"/>
                    </a:lnTo>
                    <a:lnTo>
                      <a:pt x="6" y="26"/>
                    </a:lnTo>
                    <a:lnTo>
                      <a:pt x="16" y="28"/>
                    </a:lnTo>
                    <a:lnTo>
                      <a:pt x="26" y="30"/>
                    </a:lnTo>
                    <a:lnTo>
                      <a:pt x="56" y="28"/>
                    </a:lnTo>
                    <a:lnTo>
                      <a:pt x="92" y="28"/>
                    </a:lnTo>
                    <a:lnTo>
                      <a:pt x="92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5" name="Freeform 6105">
                <a:extLst>
                  <a:ext uri="{FF2B5EF4-FFF2-40B4-BE49-F238E27FC236}">
                    <a16:creationId xmlns:a16="http://schemas.microsoft.com/office/drawing/2014/main" id="{08BBF72D-A3DA-4E66-8C87-52DB2E916F6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94560" y="944563"/>
                <a:ext cx="34290" cy="12700"/>
              </a:xfrm>
              <a:custGeom>
                <a:avLst/>
                <a:gdLst/>
                <a:ahLst/>
                <a:cxnLst>
                  <a:cxn ang="0">
                    <a:pos x="54" y="4"/>
                  </a:cxn>
                  <a:cxn ang="0">
                    <a:pos x="54" y="4"/>
                  </a:cxn>
                  <a:cxn ang="0">
                    <a:pos x="54" y="2"/>
                  </a:cxn>
                  <a:cxn ang="0">
                    <a:pos x="50" y="0"/>
                  </a:cxn>
                  <a:cxn ang="0">
                    <a:pos x="36" y="0"/>
                  </a:cxn>
                  <a:cxn ang="0">
                    <a:pos x="18" y="6"/>
                  </a:cxn>
                  <a:cxn ang="0">
                    <a:pos x="8" y="10"/>
                  </a:cxn>
                  <a:cxn ang="0">
                    <a:pos x="2" y="14"/>
                  </a:cxn>
                  <a:cxn ang="0">
                    <a:pos x="2" y="14"/>
                  </a:cxn>
                  <a:cxn ang="0">
                    <a:pos x="0" y="18"/>
                  </a:cxn>
                  <a:cxn ang="0">
                    <a:pos x="4" y="20"/>
                  </a:cxn>
                  <a:cxn ang="0">
                    <a:pos x="20" y="18"/>
                  </a:cxn>
                  <a:cxn ang="0">
                    <a:pos x="42" y="12"/>
                  </a:cxn>
                  <a:cxn ang="0">
                    <a:pos x="50" y="8"/>
                  </a:cxn>
                  <a:cxn ang="0">
                    <a:pos x="54" y="4"/>
                  </a:cxn>
                  <a:cxn ang="0">
                    <a:pos x="54" y="4"/>
                  </a:cxn>
                </a:cxnLst>
                <a:rect l="0" t="0" r="r" b="b"/>
                <a:pathLst>
                  <a:path w="54" h="20">
                    <a:moveTo>
                      <a:pt x="54" y="4"/>
                    </a:moveTo>
                    <a:lnTo>
                      <a:pt x="54" y="4"/>
                    </a:lnTo>
                    <a:lnTo>
                      <a:pt x="54" y="2"/>
                    </a:lnTo>
                    <a:lnTo>
                      <a:pt x="50" y="0"/>
                    </a:lnTo>
                    <a:lnTo>
                      <a:pt x="36" y="0"/>
                    </a:lnTo>
                    <a:lnTo>
                      <a:pt x="18" y="6"/>
                    </a:lnTo>
                    <a:lnTo>
                      <a:pt x="8" y="10"/>
                    </a:lnTo>
                    <a:lnTo>
                      <a:pt x="2" y="14"/>
                    </a:lnTo>
                    <a:lnTo>
                      <a:pt x="2" y="14"/>
                    </a:lnTo>
                    <a:lnTo>
                      <a:pt x="0" y="18"/>
                    </a:lnTo>
                    <a:lnTo>
                      <a:pt x="4" y="20"/>
                    </a:lnTo>
                    <a:lnTo>
                      <a:pt x="20" y="18"/>
                    </a:lnTo>
                    <a:lnTo>
                      <a:pt x="42" y="12"/>
                    </a:lnTo>
                    <a:lnTo>
                      <a:pt x="50" y="8"/>
                    </a:lnTo>
                    <a:lnTo>
                      <a:pt x="54" y="4"/>
                    </a:lnTo>
                    <a:lnTo>
                      <a:pt x="54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6" name="Freeform 6106">
                <a:extLst>
                  <a:ext uri="{FF2B5EF4-FFF2-40B4-BE49-F238E27FC236}">
                    <a16:creationId xmlns:a16="http://schemas.microsoft.com/office/drawing/2014/main" id="{BFD46560-BA1E-4F04-9C4C-44744C2478C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057400" y="727393"/>
                <a:ext cx="784860" cy="367030"/>
              </a:xfrm>
              <a:custGeom>
                <a:avLst/>
                <a:gdLst/>
                <a:ahLst/>
                <a:cxnLst>
                  <a:cxn ang="0">
                    <a:pos x="68" y="162"/>
                  </a:cxn>
                  <a:cxn ang="0">
                    <a:pos x="122" y="204"/>
                  </a:cxn>
                  <a:cxn ang="0">
                    <a:pos x="246" y="182"/>
                  </a:cxn>
                  <a:cxn ang="0">
                    <a:pos x="202" y="210"/>
                  </a:cxn>
                  <a:cxn ang="0">
                    <a:pos x="334" y="210"/>
                  </a:cxn>
                  <a:cxn ang="0">
                    <a:pos x="494" y="186"/>
                  </a:cxn>
                  <a:cxn ang="0">
                    <a:pos x="540" y="190"/>
                  </a:cxn>
                  <a:cxn ang="0">
                    <a:pos x="450" y="222"/>
                  </a:cxn>
                  <a:cxn ang="0">
                    <a:pos x="402" y="274"/>
                  </a:cxn>
                  <a:cxn ang="0">
                    <a:pos x="402" y="298"/>
                  </a:cxn>
                  <a:cxn ang="0">
                    <a:pos x="246" y="240"/>
                  </a:cxn>
                  <a:cxn ang="0">
                    <a:pos x="226" y="284"/>
                  </a:cxn>
                  <a:cxn ang="0">
                    <a:pos x="296" y="336"/>
                  </a:cxn>
                  <a:cxn ang="0">
                    <a:pos x="336" y="356"/>
                  </a:cxn>
                  <a:cxn ang="0">
                    <a:pos x="298" y="364"/>
                  </a:cxn>
                  <a:cxn ang="0">
                    <a:pos x="168" y="410"/>
                  </a:cxn>
                  <a:cxn ang="0">
                    <a:pos x="226" y="422"/>
                  </a:cxn>
                  <a:cxn ang="0">
                    <a:pos x="256" y="440"/>
                  </a:cxn>
                  <a:cxn ang="0">
                    <a:pos x="330" y="460"/>
                  </a:cxn>
                  <a:cxn ang="0">
                    <a:pos x="342" y="464"/>
                  </a:cxn>
                  <a:cxn ang="0">
                    <a:pos x="238" y="460"/>
                  </a:cxn>
                  <a:cxn ang="0">
                    <a:pos x="140" y="450"/>
                  </a:cxn>
                  <a:cxn ang="0">
                    <a:pos x="160" y="502"/>
                  </a:cxn>
                  <a:cxn ang="0">
                    <a:pos x="92" y="546"/>
                  </a:cxn>
                  <a:cxn ang="0">
                    <a:pos x="146" y="562"/>
                  </a:cxn>
                  <a:cxn ang="0">
                    <a:pos x="244" y="562"/>
                  </a:cxn>
                  <a:cxn ang="0">
                    <a:pos x="322" y="552"/>
                  </a:cxn>
                  <a:cxn ang="0">
                    <a:pos x="438" y="548"/>
                  </a:cxn>
                  <a:cxn ang="0">
                    <a:pos x="462" y="578"/>
                  </a:cxn>
                  <a:cxn ang="0">
                    <a:pos x="560" y="538"/>
                  </a:cxn>
                  <a:cxn ang="0">
                    <a:pos x="518" y="514"/>
                  </a:cxn>
                  <a:cxn ang="0">
                    <a:pos x="550" y="472"/>
                  </a:cxn>
                  <a:cxn ang="0">
                    <a:pos x="550" y="432"/>
                  </a:cxn>
                  <a:cxn ang="0">
                    <a:pos x="668" y="402"/>
                  </a:cxn>
                  <a:cxn ang="0">
                    <a:pos x="684" y="372"/>
                  </a:cxn>
                  <a:cxn ang="0">
                    <a:pos x="686" y="348"/>
                  </a:cxn>
                  <a:cxn ang="0">
                    <a:pos x="658" y="326"/>
                  </a:cxn>
                  <a:cxn ang="0">
                    <a:pos x="588" y="318"/>
                  </a:cxn>
                  <a:cxn ang="0">
                    <a:pos x="752" y="284"/>
                  </a:cxn>
                  <a:cxn ang="0">
                    <a:pos x="832" y="278"/>
                  </a:cxn>
                  <a:cxn ang="0">
                    <a:pos x="1076" y="154"/>
                  </a:cxn>
                  <a:cxn ang="0">
                    <a:pos x="1000" y="142"/>
                  </a:cxn>
                  <a:cxn ang="0">
                    <a:pos x="1232" y="76"/>
                  </a:cxn>
                  <a:cxn ang="0">
                    <a:pos x="1168" y="54"/>
                  </a:cxn>
                  <a:cxn ang="0">
                    <a:pos x="1094" y="20"/>
                  </a:cxn>
                  <a:cxn ang="0">
                    <a:pos x="962" y="40"/>
                  </a:cxn>
                  <a:cxn ang="0">
                    <a:pos x="1006" y="20"/>
                  </a:cxn>
                  <a:cxn ang="0">
                    <a:pos x="858" y="2"/>
                  </a:cxn>
                  <a:cxn ang="0">
                    <a:pos x="690" y="10"/>
                  </a:cxn>
                  <a:cxn ang="0">
                    <a:pos x="500" y="14"/>
                  </a:cxn>
                  <a:cxn ang="0">
                    <a:pos x="412" y="24"/>
                  </a:cxn>
                  <a:cxn ang="0">
                    <a:pos x="392" y="42"/>
                  </a:cxn>
                  <a:cxn ang="0">
                    <a:pos x="340" y="70"/>
                  </a:cxn>
                  <a:cxn ang="0">
                    <a:pos x="264" y="52"/>
                  </a:cxn>
                  <a:cxn ang="0">
                    <a:pos x="224" y="76"/>
                  </a:cxn>
                  <a:cxn ang="0">
                    <a:pos x="248" y="98"/>
                  </a:cxn>
                  <a:cxn ang="0">
                    <a:pos x="130" y="92"/>
                  </a:cxn>
                  <a:cxn ang="0">
                    <a:pos x="50" y="104"/>
                  </a:cxn>
                  <a:cxn ang="0">
                    <a:pos x="12" y="144"/>
                  </a:cxn>
                </a:cxnLst>
                <a:rect l="0" t="0" r="r" b="b"/>
                <a:pathLst>
                  <a:path w="1236" h="578">
                    <a:moveTo>
                      <a:pt x="44" y="148"/>
                    </a:moveTo>
                    <a:lnTo>
                      <a:pt x="44" y="148"/>
                    </a:lnTo>
                    <a:lnTo>
                      <a:pt x="50" y="150"/>
                    </a:lnTo>
                    <a:lnTo>
                      <a:pt x="58" y="152"/>
                    </a:lnTo>
                    <a:lnTo>
                      <a:pt x="74" y="150"/>
                    </a:lnTo>
                    <a:lnTo>
                      <a:pt x="80" y="150"/>
                    </a:lnTo>
                    <a:lnTo>
                      <a:pt x="80" y="152"/>
                    </a:lnTo>
                    <a:lnTo>
                      <a:pt x="74" y="156"/>
                    </a:lnTo>
                    <a:lnTo>
                      <a:pt x="74" y="156"/>
                    </a:lnTo>
                    <a:lnTo>
                      <a:pt x="68" y="162"/>
                    </a:lnTo>
                    <a:lnTo>
                      <a:pt x="62" y="168"/>
                    </a:lnTo>
                    <a:lnTo>
                      <a:pt x="62" y="172"/>
                    </a:lnTo>
                    <a:lnTo>
                      <a:pt x="62" y="178"/>
                    </a:lnTo>
                    <a:lnTo>
                      <a:pt x="66" y="182"/>
                    </a:lnTo>
                    <a:lnTo>
                      <a:pt x="72" y="186"/>
                    </a:lnTo>
                    <a:lnTo>
                      <a:pt x="82" y="190"/>
                    </a:lnTo>
                    <a:lnTo>
                      <a:pt x="94" y="194"/>
                    </a:lnTo>
                    <a:lnTo>
                      <a:pt x="94" y="194"/>
                    </a:lnTo>
                    <a:lnTo>
                      <a:pt x="108" y="200"/>
                    </a:lnTo>
                    <a:lnTo>
                      <a:pt x="122" y="204"/>
                    </a:lnTo>
                    <a:lnTo>
                      <a:pt x="144" y="212"/>
                    </a:lnTo>
                    <a:lnTo>
                      <a:pt x="156" y="216"/>
                    </a:lnTo>
                    <a:lnTo>
                      <a:pt x="166" y="214"/>
                    </a:lnTo>
                    <a:lnTo>
                      <a:pt x="178" y="212"/>
                    </a:lnTo>
                    <a:lnTo>
                      <a:pt x="192" y="204"/>
                    </a:lnTo>
                    <a:lnTo>
                      <a:pt x="192" y="204"/>
                    </a:lnTo>
                    <a:lnTo>
                      <a:pt x="206" y="194"/>
                    </a:lnTo>
                    <a:lnTo>
                      <a:pt x="222" y="188"/>
                    </a:lnTo>
                    <a:lnTo>
                      <a:pt x="234" y="184"/>
                    </a:lnTo>
                    <a:lnTo>
                      <a:pt x="246" y="182"/>
                    </a:lnTo>
                    <a:lnTo>
                      <a:pt x="254" y="182"/>
                    </a:lnTo>
                    <a:lnTo>
                      <a:pt x="258" y="182"/>
                    </a:lnTo>
                    <a:lnTo>
                      <a:pt x="256" y="184"/>
                    </a:lnTo>
                    <a:lnTo>
                      <a:pt x="250" y="186"/>
                    </a:lnTo>
                    <a:lnTo>
                      <a:pt x="250" y="186"/>
                    </a:lnTo>
                    <a:lnTo>
                      <a:pt x="224" y="194"/>
                    </a:lnTo>
                    <a:lnTo>
                      <a:pt x="212" y="200"/>
                    </a:lnTo>
                    <a:lnTo>
                      <a:pt x="204" y="206"/>
                    </a:lnTo>
                    <a:lnTo>
                      <a:pt x="202" y="208"/>
                    </a:lnTo>
                    <a:lnTo>
                      <a:pt x="202" y="210"/>
                    </a:lnTo>
                    <a:lnTo>
                      <a:pt x="204" y="214"/>
                    </a:lnTo>
                    <a:lnTo>
                      <a:pt x="208" y="216"/>
                    </a:lnTo>
                    <a:lnTo>
                      <a:pt x="224" y="220"/>
                    </a:lnTo>
                    <a:lnTo>
                      <a:pt x="254" y="224"/>
                    </a:lnTo>
                    <a:lnTo>
                      <a:pt x="254" y="224"/>
                    </a:lnTo>
                    <a:lnTo>
                      <a:pt x="284" y="224"/>
                    </a:lnTo>
                    <a:lnTo>
                      <a:pt x="304" y="224"/>
                    </a:lnTo>
                    <a:lnTo>
                      <a:pt x="318" y="220"/>
                    </a:lnTo>
                    <a:lnTo>
                      <a:pt x="326" y="216"/>
                    </a:lnTo>
                    <a:lnTo>
                      <a:pt x="334" y="210"/>
                    </a:lnTo>
                    <a:lnTo>
                      <a:pt x="338" y="210"/>
                    </a:lnTo>
                    <a:lnTo>
                      <a:pt x="346" y="214"/>
                    </a:lnTo>
                    <a:lnTo>
                      <a:pt x="346" y="214"/>
                    </a:lnTo>
                    <a:lnTo>
                      <a:pt x="358" y="218"/>
                    </a:lnTo>
                    <a:lnTo>
                      <a:pt x="374" y="218"/>
                    </a:lnTo>
                    <a:lnTo>
                      <a:pt x="394" y="216"/>
                    </a:lnTo>
                    <a:lnTo>
                      <a:pt x="418" y="212"/>
                    </a:lnTo>
                    <a:lnTo>
                      <a:pt x="442" y="206"/>
                    </a:lnTo>
                    <a:lnTo>
                      <a:pt x="468" y="196"/>
                    </a:lnTo>
                    <a:lnTo>
                      <a:pt x="494" y="186"/>
                    </a:lnTo>
                    <a:lnTo>
                      <a:pt x="520" y="174"/>
                    </a:lnTo>
                    <a:lnTo>
                      <a:pt x="520" y="174"/>
                    </a:lnTo>
                    <a:lnTo>
                      <a:pt x="546" y="160"/>
                    </a:lnTo>
                    <a:lnTo>
                      <a:pt x="544" y="162"/>
                    </a:lnTo>
                    <a:lnTo>
                      <a:pt x="540" y="168"/>
                    </a:lnTo>
                    <a:lnTo>
                      <a:pt x="536" y="176"/>
                    </a:lnTo>
                    <a:lnTo>
                      <a:pt x="534" y="180"/>
                    </a:lnTo>
                    <a:lnTo>
                      <a:pt x="534" y="184"/>
                    </a:lnTo>
                    <a:lnTo>
                      <a:pt x="536" y="186"/>
                    </a:lnTo>
                    <a:lnTo>
                      <a:pt x="540" y="190"/>
                    </a:lnTo>
                    <a:lnTo>
                      <a:pt x="548" y="192"/>
                    </a:lnTo>
                    <a:lnTo>
                      <a:pt x="558" y="192"/>
                    </a:lnTo>
                    <a:lnTo>
                      <a:pt x="558" y="192"/>
                    </a:lnTo>
                    <a:lnTo>
                      <a:pt x="576" y="194"/>
                    </a:lnTo>
                    <a:lnTo>
                      <a:pt x="584" y="196"/>
                    </a:lnTo>
                    <a:lnTo>
                      <a:pt x="584" y="196"/>
                    </a:lnTo>
                    <a:lnTo>
                      <a:pt x="580" y="198"/>
                    </a:lnTo>
                    <a:lnTo>
                      <a:pt x="570" y="200"/>
                    </a:lnTo>
                    <a:lnTo>
                      <a:pt x="524" y="208"/>
                    </a:lnTo>
                    <a:lnTo>
                      <a:pt x="450" y="222"/>
                    </a:lnTo>
                    <a:lnTo>
                      <a:pt x="450" y="222"/>
                    </a:lnTo>
                    <a:lnTo>
                      <a:pt x="388" y="236"/>
                    </a:lnTo>
                    <a:lnTo>
                      <a:pt x="370" y="238"/>
                    </a:lnTo>
                    <a:lnTo>
                      <a:pt x="360" y="242"/>
                    </a:lnTo>
                    <a:lnTo>
                      <a:pt x="358" y="242"/>
                    </a:lnTo>
                    <a:lnTo>
                      <a:pt x="358" y="244"/>
                    </a:lnTo>
                    <a:lnTo>
                      <a:pt x="362" y="248"/>
                    </a:lnTo>
                    <a:lnTo>
                      <a:pt x="386" y="264"/>
                    </a:lnTo>
                    <a:lnTo>
                      <a:pt x="386" y="264"/>
                    </a:lnTo>
                    <a:lnTo>
                      <a:pt x="402" y="274"/>
                    </a:lnTo>
                    <a:lnTo>
                      <a:pt x="418" y="282"/>
                    </a:lnTo>
                    <a:lnTo>
                      <a:pt x="442" y="292"/>
                    </a:lnTo>
                    <a:lnTo>
                      <a:pt x="450" y="296"/>
                    </a:lnTo>
                    <a:lnTo>
                      <a:pt x="452" y="298"/>
                    </a:lnTo>
                    <a:lnTo>
                      <a:pt x="448" y="302"/>
                    </a:lnTo>
                    <a:lnTo>
                      <a:pt x="436" y="304"/>
                    </a:lnTo>
                    <a:lnTo>
                      <a:pt x="436" y="304"/>
                    </a:lnTo>
                    <a:lnTo>
                      <a:pt x="422" y="304"/>
                    </a:lnTo>
                    <a:lnTo>
                      <a:pt x="410" y="302"/>
                    </a:lnTo>
                    <a:lnTo>
                      <a:pt x="402" y="298"/>
                    </a:lnTo>
                    <a:lnTo>
                      <a:pt x="394" y="292"/>
                    </a:lnTo>
                    <a:lnTo>
                      <a:pt x="378" y="276"/>
                    </a:lnTo>
                    <a:lnTo>
                      <a:pt x="368" y="268"/>
                    </a:lnTo>
                    <a:lnTo>
                      <a:pt x="356" y="260"/>
                    </a:lnTo>
                    <a:lnTo>
                      <a:pt x="356" y="260"/>
                    </a:lnTo>
                    <a:lnTo>
                      <a:pt x="338" y="254"/>
                    </a:lnTo>
                    <a:lnTo>
                      <a:pt x="316" y="248"/>
                    </a:lnTo>
                    <a:lnTo>
                      <a:pt x="292" y="244"/>
                    </a:lnTo>
                    <a:lnTo>
                      <a:pt x="268" y="242"/>
                    </a:lnTo>
                    <a:lnTo>
                      <a:pt x="246" y="240"/>
                    </a:lnTo>
                    <a:lnTo>
                      <a:pt x="228" y="242"/>
                    </a:lnTo>
                    <a:lnTo>
                      <a:pt x="220" y="244"/>
                    </a:lnTo>
                    <a:lnTo>
                      <a:pt x="216" y="246"/>
                    </a:lnTo>
                    <a:lnTo>
                      <a:pt x="212" y="250"/>
                    </a:lnTo>
                    <a:lnTo>
                      <a:pt x="210" y="254"/>
                    </a:lnTo>
                    <a:lnTo>
                      <a:pt x="210" y="254"/>
                    </a:lnTo>
                    <a:lnTo>
                      <a:pt x="210" y="270"/>
                    </a:lnTo>
                    <a:lnTo>
                      <a:pt x="212" y="274"/>
                    </a:lnTo>
                    <a:lnTo>
                      <a:pt x="214" y="278"/>
                    </a:lnTo>
                    <a:lnTo>
                      <a:pt x="226" y="284"/>
                    </a:lnTo>
                    <a:lnTo>
                      <a:pt x="250" y="292"/>
                    </a:lnTo>
                    <a:lnTo>
                      <a:pt x="250" y="292"/>
                    </a:lnTo>
                    <a:lnTo>
                      <a:pt x="262" y="298"/>
                    </a:lnTo>
                    <a:lnTo>
                      <a:pt x="276" y="304"/>
                    </a:lnTo>
                    <a:lnTo>
                      <a:pt x="294" y="318"/>
                    </a:lnTo>
                    <a:lnTo>
                      <a:pt x="300" y="326"/>
                    </a:lnTo>
                    <a:lnTo>
                      <a:pt x="302" y="330"/>
                    </a:lnTo>
                    <a:lnTo>
                      <a:pt x="302" y="334"/>
                    </a:lnTo>
                    <a:lnTo>
                      <a:pt x="296" y="336"/>
                    </a:lnTo>
                    <a:lnTo>
                      <a:pt x="296" y="336"/>
                    </a:lnTo>
                    <a:lnTo>
                      <a:pt x="290" y="338"/>
                    </a:lnTo>
                    <a:lnTo>
                      <a:pt x="286" y="340"/>
                    </a:lnTo>
                    <a:lnTo>
                      <a:pt x="284" y="344"/>
                    </a:lnTo>
                    <a:lnTo>
                      <a:pt x="286" y="346"/>
                    </a:lnTo>
                    <a:lnTo>
                      <a:pt x="290" y="348"/>
                    </a:lnTo>
                    <a:lnTo>
                      <a:pt x="296" y="352"/>
                    </a:lnTo>
                    <a:lnTo>
                      <a:pt x="308" y="354"/>
                    </a:lnTo>
                    <a:lnTo>
                      <a:pt x="320" y="356"/>
                    </a:lnTo>
                    <a:lnTo>
                      <a:pt x="320" y="356"/>
                    </a:lnTo>
                    <a:lnTo>
                      <a:pt x="336" y="356"/>
                    </a:lnTo>
                    <a:lnTo>
                      <a:pt x="348" y="360"/>
                    </a:lnTo>
                    <a:lnTo>
                      <a:pt x="356" y="362"/>
                    </a:lnTo>
                    <a:lnTo>
                      <a:pt x="362" y="366"/>
                    </a:lnTo>
                    <a:lnTo>
                      <a:pt x="364" y="368"/>
                    </a:lnTo>
                    <a:lnTo>
                      <a:pt x="360" y="368"/>
                    </a:lnTo>
                    <a:lnTo>
                      <a:pt x="352" y="368"/>
                    </a:lnTo>
                    <a:lnTo>
                      <a:pt x="340" y="368"/>
                    </a:lnTo>
                    <a:lnTo>
                      <a:pt x="340" y="368"/>
                    </a:lnTo>
                    <a:lnTo>
                      <a:pt x="320" y="366"/>
                    </a:lnTo>
                    <a:lnTo>
                      <a:pt x="298" y="364"/>
                    </a:lnTo>
                    <a:lnTo>
                      <a:pt x="250" y="366"/>
                    </a:lnTo>
                    <a:lnTo>
                      <a:pt x="228" y="368"/>
                    </a:lnTo>
                    <a:lnTo>
                      <a:pt x="208" y="372"/>
                    </a:lnTo>
                    <a:lnTo>
                      <a:pt x="192" y="376"/>
                    </a:lnTo>
                    <a:lnTo>
                      <a:pt x="182" y="382"/>
                    </a:lnTo>
                    <a:lnTo>
                      <a:pt x="182" y="382"/>
                    </a:lnTo>
                    <a:lnTo>
                      <a:pt x="176" y="388"/>
                    </a:lnTo>
                    <a:lnTo>
                      <a:pt x="172" y="394"/>
                    </a:lnTo>
                    <a:lnTo>
                      <a:pt x="170" y="402"/>
                    </a:lnTo>
                    <a:lnTo>
                      <a:pt x="168" y="410"/>
                    </a:lnTo>
                    <a:lnTo>
                      <a:pt x="170" y="416"/>
                    </a:lnTo>
                    <a:lnTo>
                      <a:pt x="176" y="420"/>
                    </a:lnTo>
                    <a:lnTo>
                      <a:pt x="184" y="422"/>
                    </a:lnTo>
                    <a:lnTo>
                      <a:pt x="196" y="420"/>
                    </a:lnTo>
                    <a:lnTo>
                      <a:pt x="196" y="420"/>
                    </a:lnTo>
                    <a:lnTo>
                      <a:pt x="208" y="418"/>
                    </a:lnTo>
                    <a:lnTo>
                      <a:pt x="216" y="418"/>
                    </a:lnTo>
                    <a:lnTo>
                      <a:pt x="220" y="418"/>
                    </a:lnTo>
                    <a:lnTo>
                      <a:pt x="224" y="420"/>
                    </a:lnTo>
                    <a:lnTo>
                      <a:pt x="226" y="422"/>
                    </a:lnTo>
                    <a:lnTo>
                      <a:pt x="230" y="424"/>
                    </a:lnTo>
                    <a:lnTo>
                      <a:pt x="236" y="424"/>
                    </a:lnTo>
                    <a:lnTo>
                      <a:pt x="246" y="424"/>
                    </a:lnTo>
                    <a:lnTo>
                      <a:pt x="246" y="424"/>
                    </a:lnTo>
                    <a:lnTo>
                      <a:pt x="256" y="422"/>
                    </a:lnTo>
                    <a:lnTo>
                      <a:pt x="260" y="422"/>
                    </a:lnTo>
                    <a:lnTo>
                      <a:pt x="260" y="424"/>
                    </a:lnTo>
                    <a:lnTo>
                      <a:pt x="260" y="428"/>
                    </a:lnTo>
                    <a:lnTo>
                      <a:pt x="258" y="434"/>
                    </a:lnTo>
                    <a:lnTo>
                      <a:pt x="256" y="440"/>
                    </a:lnTo>
                    <a:lnTo>
                      <a:pt x="258" y="450"/>
                    </a:lnTo>
                    <a:lnTo>
                      <a:pt x="266" y="460"/>
                    </a:lnTo>
                    <a:lnTo>
                      <a:pt x="266" y="460"/>
                    </a:lnTo>
                    <a:lnTo>
                      <a:pt x="270" y="464"/>
                    </a:lnTo>
                    <a:lnTo>
                      <a:pt x="276" y="468"/>
                    </a:lnTo>
                    <a:lnTo>
                      <a:pt x="282" y="470"/>
                    </a:lnTo>
                    <a:lnTo>
                      <a:pt x="288" y="472"/>
                    </a:lnTo>
                    <a:lnTo>
                      <a:pt x="302" y="470"/>
                    </a:lnTo>
                    <a:lnTo>
                      <a:pt x="316" y="466"/>
                    </a:lnTo>
                    <a:lnTo>
                      <a:pt x="330" y="460"/>
                    </a:lnTo>
                    <a:lnTo>
                      <a:pt x="342" y="450"/>
                    </a:lnTo>
                    <a:lnTo>
                      <a:pt x="354" y="442"/>
                    </a:lnTo>
                    <a:lnTo>
                      <a:pt x="366" y="432"/>
                    </a:lnTo>
                    <a:lnTo>
                      <a:pt x="366" y="432"/>
                    </a:lnTo>
                    <a:lnTo>
                      <a:pt x="372" y="426"/>
                    </a:lnTo>
                    <a:lnTo>
                      <a:pt x="372" y="428"/>
                    </a:lnTo>
                    <a:lnTo>
                      <a:pt x="372" y="430"/>
                    </a:lnTo>
                    <a:lnTo>
                      <a:pt x="366" y="440"/>
                    </a:lnTo>
                    <a:lnTo>
                      <a:pt x="356" y="452"/>
                    </a:lnTo>
                    <a:lnTo>
                      <a:pt x="342" y="464"/>
                    </a:lnTo>
                    <a:lnTo>
                      <a:pt x="326" y="476"/>
                    </a:lnTo>
                    <a:lnTo>
                      <a:pt x="316" y="482"/>
                    </a:lnTo>
                    <a:lnTo>
                      <a:pt x="306" y="484"/>
                    </a:lnTo>
                    <a:lnTo>
                      <a:pt x="296" y="486"/>
                    </a:lnTo>
                    <a:lnTo>
                      <a:pt x="286" y="486"/>
                    </a:lnTo>
                    <a:lnTo>
                      <a:pt x="286" y="486"/>
                    </a:lnTo>
                    <a:lnTo>
                      <a:pt x="270" y="482"/>
                    </a:lnTo>
                    <a:lnTo>
                      <a:pt x="256" y="476"/>
                    </a:lnTo>
                    <a:lnTo>
                      <a:pt x="246" y="468"/>
                    </a:lnTo>
                    <a:lnTo>
                      <a:pt x="238" y="460"/>
                    </a:lnTo>
                    <a:lnTo>
                      <a:pt x="228" y="452"/>
                    </a:lnTo>
                    <a:lnTo>
                      <a:pt x="218" y="446"/>
                    </a:lnTo>
                    <a:lnTo>
                      <a:pt x="206" y="440"/>
                    </a:lnTo>
                    <a:lnTo>
                      <a:pt x="190" y="438"/>
                    </a:lnTo>
                    <a:lnTo>
                      <a:pt x="190" y="438"/>
                    </a:lnTo>
                    <a:lnTo>
                      <a:pt x="160" y="440"/>
                    </a:lnTo>
                    <a:lnTo>
                      <a:pt x="150" y="440"/>
                    </a:lnTo>
                    <a:lnTo>
                      <a:pt x="144" y="444"/>
                    </a:lnTo>
                    <a:lnTo>
                      <a:pt x="140" y="446"/>
                    </a:lnTo>
                    <a:lnTo>
                      <a:pt x="140" y="450"/>
                    </a:lnTo>
                    <a:lnTo>
                      <a:pt x="144" y="456"/>
                    </a:lnTo>
                    <a:lnTo>
                      <a:pt x="150" y="462"/>
                    </a:lnTo>
                    <a:lnTo>
                      <a:pt x="150" y="462"/>
                    </a:lnTo>
                    <a:lnTo>
                      <a:pt x="166" y="476"/>
                    </a:lnTo>
                    <a:lnTo>
                      <a:pt x="182" y="490"/>
                    </a:lnTo>
                    <a:lnTo>
                      <a:pt x="184" y="494"/>
                    </a:lnTo>
                    <a:lnTo>
                      <a:pt x="184" y="496"/>
                    </a:lnTo>
                    <a:lnTo>
                      <a:pt x="182" y="498"/>
                    </a:lnTo>
                    <a:lnTo>
                      <a:pt x="174" y="500"/>
                    </a:lnTo>
                    <a:lnTo>
                      <a:pt x="160" y="502"/>
                    </a:lnTo>
                    <a:lnTo>
                      <a:pt x="160" y="502"/>
                    </a:lnTo>
                    <a:lnTo>
                      <a:pt x="142" y="502"/>
                    </a:lnTo>
                    <a:lnTo>
                      <a:pt x="124" y="506"/>
                    </a:lnTo>
                    <a:lnTo>
                      <a:pt x="110" y="512"/>
                    </a:lnTo>
                    <a:lnTo>
                      <a:pt x="98" y="518"/>
                    </a:lnTo>
                    <a:lnTo>
                      <a:pt x="90" y="526"/>
                    </a:lnTo>
                    <a:lnTo>
                      <a:pt x="88" y="534"/>
                    </a:lnTo>
                    <a:lnTo>
                      <a:pt x="88" y="538"/>
                    </a:lnTo>
                    <a:lnTo>
                      <a:pt x="88" y="542"/>
                    </a:lnTo>
                    <a:lnTo>
                      <a:pt x="92" y="546"/>
                    </a:lnTo>
                    <a:lnTo>
                      <a:pt x="96" y="550"/>
                    </a:lnTo>
                    <a:lnTo>
                      <a:pt x="96" y="550"/>
                    </a:lnTo>
                    <a:lnTo>
                      <a:pt x="100" y="552"/>
                    </a:lnTo>
                    <a:lnTo>
                      <a:pt x="104" y="552"/>
                    </a:lnTo>
                    <a:lnTo>
                      <a:pt x="114" y="552"/>
                    </a:lnTo>
                    <a:lnTo>
                      <a:pt x="124" y="552"/>
                    </a:lnTo>
                    <a:lnTo>
                      <a:pt x="130" y="554"/>
                    </a:lnTo>
                    <a:lnTo>
                      <a:pt x="138" y="558"/>
                    </a:lnTo>
                    <a:lnTo>
                      <a:pt x="138" y="558"/>
                    </a:lnTo>
                    <a:lnTo>
                      <a:pt x="146" y="562"/>
                    </a:lnTo>
                    <a:lnTo>
                      <a:pt x="154" y="566"/>
                    </a:lnTo>
                    <a:lnTo>
                      <a:pt x="162" y="566"/>
                    </a:lnTo>
                    <a:lnTo>
                      <a:pt x="170" y="564"/>
                    </a:lnTo>
                    <a:lnTo>
                      <a:pt x="186" y="560"/>
                    </a:lnTo>
                    <a:lnTo>
                      <a:pt x="200" y="552"/>
                    </a:lnTo>
                    <a:lnTo>
                      <a:pt x="200" y="552"/>
                    </a:lnTo>
                    <a:lnTo>
                      <a:pt x="206" y="552"/>
                    </a:lnTo>
                    <a:lnTo>
                      <a:pt x="212" y="552"/>
                    </a:lnTo>
                    <a:lnTo>
                      <a:pt x="226" y="556"/>
                    </a:lnTo>
                    <a:lnTo>
                      <a:pt x="244" y="562"/>
                    </a:lnTo>
                    <a:lnTo>
                      <a:pt x="256" y="566"/>
                    </a:lnTo>
                    <a:lnTo>
                      <a:pt x="272" y="566"/>
                    </a:lnTo>
                    <a:lnTo>
                      <a:pt x="272" y="566"/>
                    </a:lnTo>
                    <a:lnTo>
                      <a:pt x="286" y="566"/>
                    </a:lnTo>
                    <a:lnTo>
                      <a:pt x="294" y="564"/>
                    </a:lnTo>
                    <a:lnTo>
                      <a:pt x="298" y="560"/>
                    </a:lnTo>
                    <a:lnTo>
                      <a:pt x="302" y="556"/>
                    </a:lnTo>
                    <a:lnTo>
                      <a:pt x="306" y="554"/>
                    </a:lnTo>
                    <a:lnTo>
                      <a:pt x="312" y="552"/>
                    </a:lnTo>
                    <a:lnTo>
                      <a:pt x="322" y="552"/>
                    </a:lnTo>
                    <a:lnTo>
                      <a:pt x="336" y="558"/>
                    </a:lnTo>
                    <a:lnTo>
                      <a:pt x="336" y="558"/>
                    </a:lnTo>
                    <a:lnTo>
                      <a:pt x="346" y="560"/>
                    </a:lnTo>
                    <a:lnTo>
                      <a:pt x="356" y="560"/>
                    </a:lnTo>
                    <a:lnTo>
                      <a:pt x="376" y="560"/>
                    </a:lnTo>
                    <a:lnTo>
                      <a:pt x="394" y="556"/>
                    </a:lnTo>
                    <a:lnTo>
                      <a:pt x="412" y="552"/>
                    </a:lnTo>
                    <a:lnTo>
                      <a:pt x="426" y="548"/>
                    </a:lnTo>
                    <a:lnTo>
                      <a:pt x="436" y="548"/>
                    </a:lnTo>
                    <a:lnTo>
                      <a:pt x="438" y="548"/>
                    </a:lnTo>
                    <a:lnTo>
                      <a:pt x="440" y="550"/>
                    </a:lnTo>
                    <a:lnTo>
                      <a:pt x="442" y="554"/>
                    </a:lnTo>
                    <a:lnTo>
                      <a:pt x="440" y="560"/>
                    </a:lnTo>
                    <a:lnTo>
                      <a:pt x="440" y="560"/>
                    </a:lnTo>
                    <a:lnTo>
                      <a:pt x="438" y="564"/>
                    </a:lnTo>
                    <a:lnTo>
                      <a:pt x="438" y="570"/>
                    </a:lnTo>
                    <a:lnTo>
                      <a:pt x="440" y="572"/>
                    </a:lnTo>
                    <a:lnTo>
                      <a:pt x="442" y="576"/>
                    </a:lnTo>
                    <a:lnTo>
                      <a:pt x="450" y="578"/>
                    </a:lnTo>
                    <a:lnTo>
                      <a:pt x="462" y="578"/>
                    </a:lnTo>
                    <a:lnTo>
                      <a:pt x="474" y="574"/>
                    </a:lnTo>
                    <a:lnTo>
                      <a:pt x="486" y="570"/>
                    </a:lnTo>
                    <a:lnTo>
                      <a:pt x="510" y="558"/>
                    </a:lnTo>
                    <a:lnTo>
                      <a:pt x="510" y="558"/>
                    </a:lnTo>
                    <a:lnTo>
                      <a:pt x="518" y="552"/>
                    </a:lnTo>
                    <a:lnTo>
                      <a:pt x="528" y="552"/>
                    </a:lnTo>
                    <a:lnTo>
                      <a:pt x="544" y="550"/>
                    </a:lnTo>
                    <a:lnTo>
                      <a:pt x="550" y="550"/>
                    </a:lnTo>
                    <a:lnTo>
                      <a:pt x="556" y="546"/>
                    </a:lnTo>
                    <a:lnTo>
                      <a:pt x="560" y="538"/>
                    </a:lnTo>
                    <a:lnTo>
                      <a:pt x="562" y="526"/>
                    </a:lnTo>
                    <a:lnTo>
                      <a:pt x="562" y="526"/>
                    </a:lnTo>
                    <a:lnTo>
                      <a:pt x="562" y="520"/>
                    </a:lnTo>
                    <a:lnTo>
                      <a:pt x="560" y="518"/>
                    </a:lnTo>
                    <a:lnTo>
                      <a:pt x="558" y="514"/>
                    </a:lnTo>
                    <a:lnTo>
                      <a:pt x="556" y="514"/>
                    </a:lnTo>
                    <a:lnTo>
                      <a:pt x="546" y="512"/>
                    </a:lnTo>
                    <a:lnTo>
                      <a:pt x="536" y="512"/>
                    </a:lnTo>
                    <a:lnTo>
                      <a:pt x="526" y="514"/>
                    </a:lnTo>
                    <a:lnTo>
                      <a:pt x="518" y="514"/>
                    </a:lnTo>
                    <a:lnTo>
                      <a:pt x="512" y="512"/>
                    </a:lnTo>
                    <a:lnTo>
                      <a:pt x="510" y="510"/>
                    </a:lnTo>
                    <a:lnTo>
                      <a:pt x="508" y="506"/>
                    </a:lnTo>
                    <a:lnTo>
                      <a:pt x="508" y="506"/>
                    </a:lnTo>
                    <a:lnTo>
                      <a:pt x="510" y="500"/>
                    </a:lnTo>
                    <a:lnTo>
                      <a:pt x="512" y="494"/>
                    </a:lnTo>
                    <a:lnTo>
                      <a:pt x="514" y="490"/>
                    </a:lnTo>
                    <a:lnTo>
                      <a:pt x="520" y="488"/>
                    </a:lnTo>
                    <a:lnTo>
                      <a:pt x="532" y="482"/>
                    </a:lnTo>
                    <a:lnTo>
                      <a:pt x="550" y="472"/>
                    </a:lnTo>
                    <a:lnTo>
                      <a:pt x="550" y="472"/>
                    </a:lnTo>
                    <a:lnTo>
                      <a:pt x="554" y="468"/>
                    </a:lnTo>
                    <a:lnTo>
                      <a:pt x="556" y="464"/>
                    </a:lnTo>
                    <a:lnTo>
                      <a:pt x="556" y="460"/>
                    </a:lnTo>
                    <a:lnTo>
                      <a:pt x="556" y="456"/>
                    </a:lnTo>
                    <a:lnTo>
                      <a:pt x="552" y="448"/>
                    </a:lnTo>
                    <a:lnTo>
                      <a:pt x="548" y="442"/>
                    </a:lnTo>
                    <a:lnTo>
                      <a:pt x="546" y="436"/>
                    </a:lnTo>
                    <a:lnTo>
                      <a:pt x="548" y="434"/>
                    </a:lnTo>
                    <a:lnTo>
                      <a:pt x="550" y="432"/>
                    </a:lnTo>
                    <a:lnTo>
                      <a:pt x="560" y="430"/>
                    </a:lnTo>
                    <a:lnTo>
                      <a:pt x="582" y="434"/>
                    </a:lnTo>
                    <a:lnTo>
                      <a:pt x="582" y="434"/>
                    </a:lnTo>
                    <a:lnTo>
                      <a:pt x="602" y="436"/>
                    </a:lnTo>
                    <a:lnTo>
                      <a:pt x="620" y="434"/>
                    </a:lnTo>
                    <a:lnTo>
                      <a:pt x="636" y="430"/>
                    </a:lnTo>
                    <a:lnTo>
                      <a:pt x="650" y="424"/>
                    </a:lnTo>
                    <a:lnTo>
                      <a:pt x="660" y="418"/>
                    </a:lnTo>
                    <a:lnTo>
                      <a:pt x="666" y="410"/>
                    </a:lnTo>
                    <a:lnTo>
                      <a:pt x="668" y="402"/>
                    </a:lnTo>
                    <a:lnTo>
                      <a:pt x="668" y="400"/>
                    </a:lnTo>
                    <a:lnTo>
                      <a:pt x="666" y="396"/>
                    </a:lnTo>
                    <a:lnTo>
                      <a:pt x="666" y="396"/>
                    </a:lnTo>
                    <a:lnTo>
                      <a:pt x="664" y="394"/>
                    </a:lnTo>
                    <a:lnTo>
                      <a:pt x="664" y="392"/>
                    </a:lnTo>
                    <a:lnTo>
                      <a:pt x="666" y="388"/>
                    </a:lnTo>
                    <a:lnTo>
                      <a:pt x="680" y="382"/>
                    </a:lnTo>
                    <a:lnTo>
                      <a:pt x="684" y="378"/>
                    </a:lnTo>
                    <a:lnTo>
                      <a:pt x="684" y="376"/>
                    </a:lnTo>
                    <a:lnTo>
                      <a:pt x="684" y="372"/>
                    </a:lnTo>
                    <a:lnTo>
                      <a:pt x="678" y="366"/>
                    </a:lnTo>
                    <a:lnTo>
                      <a:pt x="662" y="356"/>
                    </a:lnTo>
                    <a:lnTo>
                      <a:pt x="662" y="356"/>
                    </a:lnTo>
                    <a:lnTo>
                      <a:pt x="648" y="350"/>
                    </a:lnTo>
                    <a:lnTo>
                      <a:pt x="644" y="348"/>
                    </a:lnTo>
                    <a:lnTo>
                      <a:pt x="644" y="346"/>
                    </a:lnTo>
                    <a:lnTo>
                      <a:pt x="650" y="346"/>
                    </a:lnTo>
                    <a:lnTo>
                      <a:pt x="662" y="348"/>
                    </a:lnTo>
                    <a:lnTo>
                      <a:pt x="674" y="348"/>
                    </a:lnTo>
                    <a:lnTo>
                      <a:pt x="686" y="348"/>
                    </a:lnTo>
                    <a:lnTo>
                      <a:pt x="690" y="348"/>
                    </a:lnTo>
                    <a:lnTo>
                      <a:pt x="694" y="346"/>
                    </a:lnTo>
                    <a:lnTo>
                      <a:pt x="696" y="344"/>
                    </a:lnTo>
                    <a:lnTo>
                      <a:pt x="694" y="340"/>
                    </a:lnTo>
                    <a:lnTo>
                      <a:pt x="694" y="340"/>
                    </a:lnTo>
                    <a:lnTo>
                      <a:pt x="690" y="332"/>
                    </a:lnTo>
                    <a:lnTo>
                      <a:pt x="684" y="328"/>
                    </a:lnTo>
                    <a:lnTo>
                      <a:pt x="680" y="324"/>
                    </a:lnTo>
                    <a:lnTo>
                      <a:pt x="674" y="324"/>
                    </a:lnTo>
                    <a:lnTo>
                      <a:pt x="658" y="326"/>
                    </a:lnTo>
                    <a:lnTo>
                      <a:pt x="638" y="328"/>
                    </a:lnTo>
                    <a:lnTo>
                      <a:pt x="638" y="328"/>
                    </a:lnTo>
                    <a:lnTo>
                      <a:pt x="614" y="328"/>
                    </a:lnTo>
                    <a:lnTo>
                      <a:pt x="592" y="328"/>
                    </a:lnTo>
                    <a:lnTo>
                      <a:pt x="584" y="328"/>
                    </a:lnTo>
                    <a:lnTo>
                      <a:pt x="578" y="326"/>
                    </a:lnTo>
                    <a:lnTo>
                      <a:pt x="576" y="324"/>
                    </a:lnTo>
                    <a:lnTo>
                      <a:pt x="580" y="320"/>
                    </a:lnTo>
                    <a:lnTo>
                      <a:pt x="580" y="320"/>
                    </a:lnTo>
                    <a:lnTo>
                      <a:pt x="588" y="318"/>
                    </a:lnTo>
                    <a:lnTo>
                      <a:pt x="602" y="314"/>
                    </a:lnTo>
                    <a:lnTo>
                      <a:pt x="644" y="312"/>
                    </a:lnTo>
                    <a:lnTo>
                      <a:pt x="692" y="310"/>
                    </a:lnTo>
                    <a:lnTo>
                      <a:pt x="730" y="306"/>
                    </a:lnTo>
                    <a:lnTo>
                      <a:pt x="730" y="306"/>
                    </a:lnTo>
                    <a:lnTo>
                      <a:pt x="742" y="304"/>
                    </a:lnTo>
                    <a:lnTo>
                      <a:pt x="750" y="300"/>
                    </a:lnTo>
                    <a:lnTo>
                      <a:pt x="752" y="296"/>
                    </a:lnTo>
                    <a:lnTo>
                      <a:pt x="752" y="290"/>
                    </a:lnTo>
                    <a:lnTo>
                      <a:pt x="752" y="284"/>
                    </a:lnTo>
                    <a:lnTo>
                      <a:pt x="754" y="284"/>
                    </a:lnTo>
                    <a:lnTo>
                      <a:pt x="762" y="286"/>
                    </a:lnTo>
                    <a:lnTo>
                      <a:pt x="762" y="286"/>
                    </a:lnTo>
                    <a:lnTo>
                      <a:pt x="770" y="290"/>
                    </a:lnTo>
                    <a:lnTo>
                      <a:pt x="780" y="292"/>
                    </a:lnTo>
                    <a:lnTo>
                      <a:pt x="790" y="294"/>
                    </a:lnTo>
                    <a:lnTo>
                      <a:pt x="800" y="292"/>
                    </a:lnTo>
                    <a:lnTo>
                      <a:pt x="812" y="290"/>
                    </a:lnTo>
                    <a:lnTo>
                      <a:pt x="822" y="286"/>
                    </a:lnTo>
                    <a:lnTo>
                      <a:pt x="832" y="278"/>
                    </a:lnTo>
                    <a:lnTo>
                      <a:pt x="842" y="270"/>
                    </a:lnTo>
                    <a:lnTo>
                      <a:pt x="842" y="270"/>
                    </a:lnTo>
                    <a:lnTo>
                      <a:pt x="852" y="260"/>
                    </a:lnTo>
                    <a:lnTo>
                      <a:pt x="866" y="248"/>
                    </a:lnTo>
                    <a:lnTo>
                      <a:pt x="882" y="238"/>
                    </a:lnTo>
                    <a:lnTo>
                      <a:pt x="902" y="228"/>
                    </a:lnTo>
                    <a:lnTo>
                      <a:pt x="954" y="204"/>
                    </a:lnTo>
                    <a:lnTo>
                      <a:pt x="1020" y="178"/>
                    </a:lnTo>
                    <a:lnTo>
                      <a:pt x="1020" y="178"/>
                    </a:lnTo>
                    <a:lnTo>
                      <a:pt x="1076" y="154"/>
                    </a:lnTo>
                    <a:lnTo>
                      <a:pt x="1092" y="146"/>
                    </a:lnTo>
                    <a:lnTo>
                      <a:pt x="1098" y="142"/>
                    </a:lnTo>
                    <a:lnTo>
                      <a:pt x="1098" y="140"/>
                    </a:lnTo>
                    <a:lnTo>
                      <a:pt x="1094" y="140"/>
                    </a:lnTo>
                    <a:lnTo>
                      <a:pt x="1084" y="140"/>
                    </a:lnTo>
                    <a:lnTo>
                      <a:pt x="1038" y="142"/>
                    </a:lnTo>
                    <a:lnTo>
                      <a:pt x="1038" y="142"/>
                    </a:lnTo>
                    <a:lnTo>
                      <a:pt x="1014" y="144"/>
                    </a:lnTo>
                    <a:lnTo>
                      <a:pt x="1002" y="144"/>
                    </a:lnTo>
                    <a:lnTo>
                      <a:pt x="1000" y="142"/>
                    </a:lnTo>
                    <a:lnTo>
                      <a:pt x="1000" y="142"/>
                    </a:lnTo>
                    <a:lnTo>
                      <a:pt x="1006" y="138"/>
                    </a:lnTo>
                    <a:lnTo>
                      <a:pt x="1034" y="130"/>
                    </a:lnTo>
                    <a:lnTo>
                      <a:pt x="1072" y="122"/>
                    </a:lnTo>
                    <a:lnTo>
                      <a:pt x="1072" y="122"/>
                    </a:lnTo>
                    <a:lnTo>
                      <a:pt x="1118" y="112"/>
                    </a:lnTo>
                    <a:lnTo>
                      <a:pt x="1172" y="100"/>
                    </a:lnTo>
                    <a:lnTo>
                      <a:pt x="1198" y="92"/>
                    </a:lnTo>
                    <a:lnTo>
                      <a:pt x="1218" y="84"/>
                    </a:lnTo>
                    <a:lnTo>
                      <a:pt x="1232" y="76"/>
                    </a:lnTo>
                    <a:lnTo>
                      <a:pt x="1236" y="72"/>
                    </a:lnTo>
                    <a:lnTo>
                      <a:pt x="1236" y="68"/>
                    </a:lnTo>
                    <a:lnTo>
                      <a:pt x="1236" y="68"/>
                    </a:lnTo>
                    <a:lnTo>
                      <a:pt x="1236" y="64"/>
                    </a:lnTo>
                    <a:lnTo>
                      <a:pt x="1234" y="62"/>
                    </a:lnTo>
                    <a:lnTo>
                      <a:pt x="1224" y="58"/>
                    </a:lnTo>
                    <a:lnTo>
                      <a:pt x="1210" y="58"/>
                    </a:lnTo>
                    <a:lnTo>
                      <a:pt x="1196" y="56"/>
                    </a:lnTo>
                    <a:lnTo>
                      <a:pt x="1182" y="56"/>
                    </a:lnTo>
                    <a:lnTo>
                      <a:pt x="1168" y="54"/>
                    </a:lnTo>
                    <a:lnTo>
                      <a:pt x="1160" y="50"/>
                    </a:lnTo>
                    <a:lnTo>
                      <a:pt x="1158" y="48"/>
                    </a:lnTo>
                    <a:lnTo>
                      <a:pt x="1156" y="44"/>
                    </a:lnTo>
                    <a:lnTo>
                      <a:pt x="1156" y="44"/>
                    </a:lnTo>
                    <a:lnTo>
                      <a:pt x="1156" y="40"/>
                    </a:lnTo>
                    <a:lnTo>
                      <a:pt x="1154" y="36"/>
                    </a:lnTo>
                    <a:lnTo>
                      <a:pt x="1146" y="30"/>
                    </a:lnTo>
                    <a:lnTo>
                      <a:pt x="1136" y="26"/>
                    </a:lnTo>
                    <a:lnTo>
                      <a:pt x="1122" y="24"/>
                    </a:lnTo>
                    <a:lnTo>
                      <a:pt x="1094" y="20"/>
                    </a:lnTo>
                    <a:lnTo>
                      <a:pt x="1078" y="20"/>
                    </a:lnTo>
                    <a:lnTo>
                      <a:pt x="1078" y="20"/>
                    </a:lnTo>
                    <a:lnTo>
                      <a:pt x="1062" y="22"/>
                    </a:lnTo>
                    <a:lnTo>
                      <a:pt x="1050" y="22"/>
                    </a:lnTo>
                    <a:lnTo>
                      <a:pt x="1038" y="22"/>
                    </a:lnTo>
                    <a:lnTo>
                      <a:pt x="1018" y="30"/>
                    </a:lnTo>
                    <a:lnTo>
                      <a:pt x="1018" y="30"/>
                    </a:lnTo>
                    <a:lnTo>
                      <a:pt x="1004" y="34"/>
                    </a:lnTo>
                    <a:lnTo>
                      <a:pt x="990" y="38"/>
                    </a:lnTo>
                    <a:lnTo>
                      <a:pt x="962" y="40"/>
                    </a:lnTo>
                    <a:lnTo>
                      <a:pt x="948" y="40"/>
                    </a:lnTo>
                    <a:lnTo>
                      <a:pt x="948" y="40"/>
                    </a:lnTo>
                    <a:lnTo>
                      <a:pt x="948" y="38"/>
                    </a:lnTo>
                    <a:lnTo>
                      <a:pt x="958" y="36"/>
                    </a:lnTo>
                    <a:lnTo>
                      <a:pt x="958" y="36"/>
                    </a:lnTo>
                    <a:lnTo>
                      <a:pt x="986" y="30"/>
                    </a:lnTo>
                    <a:lnTo>
                      <a:pt x="1004" y="24"/>
                    </a:lnTo>
                    <a:lnTo>
                      <a:pt x="1008" y="22"/>
                    </a:lnTo>
                    <a:lnTo>
                      <a:pt x="1008" y="20"/>
                    </a:lnTo>
                    <a:lnTo>
                      <a:pt x="1006" y="20"/>
                    </a:lnTo>
                    <a:lnTo>
                      <a:pt x="998" y="18"/>
                    </a:lnTo>
                    <a:lnTo>
                      <a:pt x="980" y="16"/>
                    </a:lnTo>
                    <a:lnTo>
                      <a:pt x="980" y="16"/>
                    </a:lnTo>
                    <a:lnTo>
                      <a:pt x="958" y="16"/>
                    </a:lnTo>
                    <a:lnTo>
                      <a:pt x="942" y="14"/>
                    </a:lnTo>
                    <a:lnTo>
                      <a:pt x="912" y="6"/>
                    </a:lnTo>
                    <a:lnTo>
                      <a:pt x="900" y="2"/>
                    </a:lnTo>
                    <a:lnTo>
                      <a:pt x="888" y="0"/>
                    </a:lnTo>
                    <a:lnTo>
                      <a:pt x="874" y="0"/>
                    </a:lnTo>
                    <a:lnTo>
                      <a:pt x="858" y="2"/>
                    </a:lnTo>
                    <a:lnTo>
                      <a:pt x="858" y="2"/>
                    </a:lnTo>
                    <a:lnTo>
                      <a:pt x="830" y="4"/>
                    </a:lnTo>
                    <a:lnTo>
                      <a:pt x="808" y="4"/>
                    </a:lnTo>
                    <a:lnTo>
                      <a:pt x="788" y="4"/>
                    </a:lnTo>
                    <a:lnTo>
                      <a:pt x="776" y="6"/>
                    </a:lnTo>
                    <a:lnTo>
                      <a:pt x="762" y="10"/>
                    </a:lnTo>
                    <a:lnTo>
                      <a:pt x="762" y="10"/>
                    </a:lnTo>
                    <a:lnTo>
                      <a:pt x="746" y="14"/>
                    </a:lnTo>
                    <a:lnTo>
                      <a:pt x="728" y="14"/>
                    </a:lnTo>
                    <a:lnTo>
                      <a:pt x="690" y="10"/>
                    </a:lnTo>
                    <a:lnTo>
                      <a:pt x="666" y="10"/>
                    </a:lnTo>
                    <a:lnTo>
                      <a:pt x="640" y="10"/>
                    </a:lnTo>
                    <a:lnTo>
                      <a:pt x="608" y="12"/>
                    </a:lnTo>
                    <a:lnTo>
                      <a:pt x="574" y="20"/>
                    </a:lnTo>
                    <a:lnTo>
                      <a:pt x="574" y="20"/>
                    </a:lnTo>
                    <a:lnTo>
                      <a:pt x="556" y="22"/>
                    </a:lnTo>
                    <a:lnTo>
                      <a:pt x="540" y="22"/>
                    </a:lnTo>
                    <a:lnTo>
                      <a:pt x="526" y="20"/>
                    </a:lnTo>
                    <a:lnTo>
                      <a:pt x="514" y="16"/>
                    </a:lnTo>
                    <a:lnTo>
                      <a:pt x="500" y="14"/>
                    </a:lnTo>
                    <a:lnTo>
                      <a:pt x="490" y="12"/>
                    </a:lnTo>
                    <a:lnTo>
                      <a:pt x="478" y="14"/>
                    </a:lnTo>
                    <a:lnTo>
                      <a:pt x="466" y="18"/>
                    </a:lnTo>
                    <a:lnTo>
                      <a:pt x="466" y="18"/>
                    </a:lnTo>
                    <a:lnTo>
                      <a:pt x="454" y="22"/>
                    </a:lnTo>
                    <a:lnTo>
                      <a:pt x="442" y="24"/>
                    </a:lnTo>
                    <a:lnTo>
                      <a:pt x="432" y="24"/>
                    </a:lnTo>
                    <a:lnTo>
                      <a:pt x="422" y="24"/>
                    </a:lnTo>
                    <a:lnTo>
                      <a:pt x="416" y="22"/>
                    </a:lnTo>
                    <a:lnTo>
                      <a:pt x="412" y="24"/>
                    </a:lnTo>
                    <a:lnTo>
                      <a:pt x="416" y="28"/>
                    </a:lnTo>
                    <a:lnTo>
                      <a:pt x="424" y="36"/>
                    </a:lnTo>
                    <a:lnTo>
                      <a:pt x="424" y="36"/>
                    </a:lnTo>
                    <a:lnTo>
                      <a:pt x="430" y="44"/>
                    </a:lnTo>
                    <a:lnTo>
                      <a:pt x="430" y="46"/>
                    </a:lnTo>
                    <a:lnTo>
                      <a:pt x="430" y="48"/>
                    </a:lnTo>
                    <a:lnTo>
                      <a:pt x="424" y="48"/>
                    </a:lnTo>
                    <a:lnTo>
                      <a:pt x="414" y="46"/>
                    </a:lnTo>
                    <a:lnTo>
                      <a:pt x="404" y="44"/>
                    </a:lnTo>
                    <a:lnTo>
                      <a:pt x="392" y="42"/>
                    </a:lnTo>
                    <a:lnTo>
                      <a:pt x="384" y="44"/>
                    </a:lnTo>
                    <a:lnTo>
                      <a:pt x="380" y="46"/>
                    </a:lnTo>
                    <a:lnTo>
                      <a:pt x="378" y="50"/>
                    </a:lnTo>
                    <a:lnTo>
                      <a:pt x="378" y="50"/>
                    </a:lnTo>
                    <a:lnTo>
                      <a:pt x="376" y="58"/>
                    </a:lnTo>
                    <a:lnTo>
                      <a:pt x="372" y="62"/>
                    </a:lnTo>
                    <a:lnTo>
                      <a:pt x="366" y="66"/>
                    </a:lnTo>
                    <a:lnTo>
                      <a:pt x="360" y="68"/>
                    </a:lnTo>
                    <a:lnTo>
                      <a:pt x="352" y="70"/>
                    </a:lnTo>
                    <a:lnTo>
                      <a:pt x="340" y="70"/>
                    </a:lnTo>
                    <a:lnTo>
                      <a:pt x="312" y="68"/>
                    </a:lnTo>
                    <a:lnTo>
                      <a:pt x="312" y="68"/>
                    </a:lnTo>
                    <a:lnTo>
                      <a:pt x="300" y="66"/>
                    </a:lnTo>
                    <a:lnTo>
                      <a:pt x="292" y="64"/>
                    </a:lnTo>
                    <a:lnTo>
                      <a:pt x="290" y="60"/>
                    </a:lnTo>
                    <a:lnTo>
                      <a:pt x="290" y="58"/>
                    </a:lnTo>
                    <a:lnTo>
                      <a:pt x="290" y="56"/>
                    </a:lnTo>
                    <a:lnTo>
                      <a:pt x="288" y="54"/>
                    </a:lnTo>
                    <a:lnTo>
                      <a:pt x="280" y="52"/>
                    </a:lnTo>
                    <a:lnTo>
                      <a:pt x="264" y="52"/>
                    </a:lnTo>
                    <a:lnTo>
                      <a:pt x="264" y="52"/>
                    </a:lnTo>
                    <a:lnTo>
                      <a:pt x="250" y="52"/>
                    </a:lnTo>
                    <a:lnTo>
                      <a:pt x="244" y="52"/>
                    </a:lnTo>
                    <a:lnTo>
                      <a:pt x="244" y="56"/>
                    </a:lnTo>
                    <a:lnTo>
                      <a:pt x="246" y="60"/>
                    </a:lnTo>
                    <a:lnTo>
                      <a:pt x="248" y="64"/>
                    </a:lnTo>
                    <a:lnTo>
                      <a:pt x="248" y="66"/>
                    </a:lnTo>
                    <a:lnTo>
                      <a:pt x="248" y="68"/>
                    </a:lnTo>
                    <a:lnTo>
                      <a:pt x="240" y="72"/>
                    </a:lnTo>
                    <a:lnTo>
                      <a:pt x="224" y="76"/>
                    </a:lnTo>
                    <a:lnTo>
                      <a:pt x="224" y="76"/>
                    </a:lnTo>
                    <a:lnTo>
                      <a:pt x="208" y="78"/>
                    </a:lnTo>
                    <a:lnTo>
                      <a:pt x="206" y="78"/>
                    </a:lnTo>
                    <a:lnTo>
                      <a:pt x="206" y="80"/>
                    </a:lnTo>
                    <a:lnTo>
                      <a:pt x="212" y="82"/>
                    </a:lnTo>
                    <a:lnTo>
                      <a:pt x="224" y="86"/>
                    </a:lnTo>
                    <a:lnTo>
                      <a:pt x="248" y="92"/>
                    </a:lnTo>
                    <a:lnTo>
                      <a:pt x="254" y="94"/>
                    </a:lnTo>
                    <a:lnTo>
                      <a:pt x="252" y="96"/>
                    </a:lnTo>
                    <a:lnTo>
                      <a:pt x="248" y="98"/>
                    </a:lnTo>
                    <a:lnTo>
                      <a:pt x="248" y="98"/>
                    </a:lnTo>
                    <a:lnTo>
                      <a:pt x="238" y="98"/>
                    </a:lnTo>
                    <a:lnTo>
                      <a:pt x="228" y="98"/>
                    </a:lnTo>
                    <a:lnTo>
                      <a:pt x="206" y="92"/>
                    </a:lnTo>
                    <a:lnTo>
                      <a:pt x="194" y="90"/>
                    </a:lnTo>
                    <a:lnTo>
                      <a:pt x="180" y="88"/>
                    </a:lnTo>
                    <a:lnTo>
                      <a:pt x="166" y="86"/>
                    </a:lnTo>
                    <a:lnTo>
                      <a:pt x="146" y="88"/>
                    </a:lnTo>
                    <a:lnTo>
                      <a:pt x="146" y="88"/>
                    </a:lnTo>
                    <a:lnTo>
                      <a:pt x="130" y="92"/>
                    </a:lnTo>
                    <a:lnTo>
                      <a:pt x="120" y="94"/>
                    </a:lnTo>
                    <a:lnTo>
                      <a:pt x="112" y="98"/>
                    </a:lnTo>
                    <a:lnTo>
                      <a:pt x="108" y="102"/>
                    </a:lnTo>
                    <a:lnTo>
                      <a:pt x="104" y="106"/>
                    </a:lnTo>
                    <a:lnTo>
                      <a:pt x="100" y="106"/>
                    </a:lnTo>
                    <a:lnTo>
                      <a:pt x="92" y="108"/>
                    </a:lnTo>
                    <a:lnTo>
                      <a:pt x="80" y="106"/>
                    </a:lnTo>
                    <a:lnTo>
                      <a:pt x="80" y="106"/>
                    </a:lnTo>
                    <a:lnTo>
                      <a:pt x="66" y="104"/>
                    </a:lnTo>
                    <a:lnTo>
                      <a:pt x="50" y="104"/>
                    </a:lnTo>
                    <a:lnTo>
                      <a:pt x="36" y="108"/>
                    </a:lnTo>
                    <a:lnTo>
                      <a:pt x="22" y="112"/>
                    </a:lnTo>
                    <a:lnTo>
                      <a:pt x="12" y="118"/>
                    </a:lnTo>
                    <a:lnTo>
                      <a:pt x="4" y="124"/>
                    </a:lnTo>
                    <a:lnTo>
                      <a:pt x="0" y="130"/>
                    </a:lnTo>
                    <a:lnTo>
                      <a:pt x="2" y="134"/>
                    </a:lnTo>
                    <a:lnTo>
                      <a:pt x="4" y="138"/>
                    </a:lnTo>
                    <a:lnTo>
                      <a:pt x="4" y="138"/>
                    </a:lnTo>
                    <a:lnTo>
                      <a:pt x="8" y="142"/>
                    </a:lnTo>
                    <a:lnTo>
                      <a:pt x="12" y="144"/>
                    </a:lnTo>
                    <a:lnTo>
                      <a:pt x="16" y="144"/>
                    </a:lnTo>
                    <a:lnTo>
                      <a:pt x="22" y="144"/>
                    </a:lnTo>
                    <a:lnTo>
                      <a:pt x="32" y="144"/>
                    </a:lnTo>
                    <a:lnTo>
                      <a:pt x="36" y="144"/>
                    </a:lnTo>
                    <a:lnTo>
                      <a:pt x="44" y="148"/>
                    </a:lnTo>
                    <a:lnTo>
                      <a:pt x="44" y="14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7" name="Freeform 6107">
                <a:extLst>
                  <a:ext uri="{FF2B5EF4-FFF2-40B4-BE49-F238E27FC236}">
                    <a16:creationId xmlns:a16="http://schemas.microsoft.com/office/drawing/2014/main" id="{8C9F764B-D13F-46E7-A93E-15AEEE66FDD4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335530" y="1211263"/>
                <a:ext cx="121920" cy="48260"/>
              </a:xfrm>
              <a:custGeom>
                <a:avLst/>
                <a:gdLst/>
                <a:ahLst/>
                <a:cxnLst>
                  <a:cxn ang="0">
                    <a:pos x="2" y="16"/>
                  </a:cxn>
                  <a:cxn ang="0">
                    <a:pos x="2" y="16"/>
                  </a:cxn>
                  <a:cxn ang="0">
                    <a:pos x="0" y="24"/>
                  </a:cxn>
                  <a:cxn ang="0">
                    <a:pos x="2" y="30"/>
                  </a:cxn>
                  <a:cxn ang="0">
                    <a:pos x="6" y="34"/>
                  </a:cxn>
                  <a:cxn ang="0">
                    <a:pos x="18" y="38"/>
                  </a:cxn>
                  <a:cxn ang="0">
                    <a:pos x="18" y="38"/>
                  </a:cxn>
                  <a:cxn ang="0">
                    <a:pos x="22" y="42"/>
                  </a:cxn>
                  <a:cxn ang="0">
                    <a:pos x="26" y="46"/>
                  </a:cxn>
                  <a:cxn ang="0">
                    <a:pos x="26" y="52"/>
                  </a:cxn>
                  <a:cxn ang="0">
                    <a:pos x="28" y="56"/>
                  </a:cxn>
                  <a:cxn ang="0">
                    <a:pos x="30" y="62"/>
                  </a:cxn>
                  <a:cxn ang="0">
                    <a:pos x="36" y="66"/>
                  </a:cxn>
                  <a:cxn ang="0">
                    <a:pos x="46" y="72"/>
                  </a:cxn>
                  <a:cxn ang="0">
                    <a:pos x="46" y="72"/>
                  </a:cxn>
                  <a:cxn ang="0">
                    <a:pos x="56" y="76"/>
                  </a:cxn>
                  <a:cxn ang="0">
                    <a:pos x="66" y="76"/>
                  </a:cxn>
                  <a:cxn ang="0">
                    <a:pos x="72" y="76"/>
                  </a:cxn>
                  <a:cxn ang="0">
                    <a:pos x="80" y="74"/>
                  </a:cxn>
                  <a:cxn ang="0">
                    <a:pos x="94" y="68"/>
                  </a:cxn>
                  <a:cxn ang="0">
                    <a:pos x="104" y="66"/>
                  </a:cxn>
                  <a:cxn ang="0">
                    <a:pos x="118" y="68"/>
                  </a:cxn>
                  <a:cxn ang="0">
                    <a:pos x="118" y="68"/>
                  </a:cxn>
                  <a:cxn ang="0">
                    <a:pos x="148" y="70"/>
                  </a:cxn>
                  <a:cxn ang="0">
                    <a:pos x="176" y="72"/>
                  </a:cxn>
                  <a:cxn ang="0">
                    <a:pos x="184" y="70"/>
                  </a:cxn>
                  <a:cxn ang="0">
                    <a:pos x="192" y="68"/>
                  </a:cxn>
                  <a:cxn ang="0">
                    <a:pos x="192" y="66"/>
                  </a:cxn>
                  <a:cxn ang="0">
                    <a:pos x="192" y="62"/>
                  </a:cxn>
                  <a:cxn ang="0">
                    <a:pos x="188" y="58"/>
                  </a:cxn>
                  <a:cxn ang="0">
                    <a:pos x="188" y="58"/>
                  </a:cxn>
                  <a:cxn ang="0">
                    <a:pos x="174" y="42"/>
                  </a:cxn>
                  <a:cxn ang="0">
                    <a:pos x="166" y="34"/>
                  </a:cxn>
                  <a:cxn ang="0">
                    <a:pos x="156" y="26"/>
                  </a:cxn>
                  <a:cxn ang="0">
                    <a:pos x="144" y="18"/>
                  </a:cxn>
                  <a:cxn ang="0">
                    <a:pos x="130" y="12"/>
                  </a:cxn>
                  <a:cxn ang="0">
                    <a:pos x="114" y="10"/>
                  </a:cxn>
                  <a:cxn ang="0">
                    <a:pos x="96" y="10"/>
                  </a:cxn>
                  <a:cxn ang="0">
                    <a:pos x="96" y="10"/>
                  </a:cxn>
                  <a:cxn ang="0">
                    <a:pos x="76" y="8"/>
                  </a:cxn>
                  <a:cxn ang="0">
                    <a:pos x="58" y="6"/>
                  </a:cxn>
                  <a:cxn ang="0">
                    <a:pos x="30" y="2"/>
                  </a:cxn>
                  <a:cxn ang="0">
                    <a:pos x="18" y="0"/>
                  </a:cxn>
                  <a:cxn ang="0">
                    <a:pos x="10" y="2"/>
                  </a:cxn>
                  <a:cxn ang="0">
                    <a:pos x="8" y="4"/>
                  </a:cxn>
                  <a:cxn ang="0">
                    <a:pos x="4" y="6"/>
                  </a:cxn>
                  <a:cxn ang="0">
                    <a:pos x="2" y="16"/>
                  </a:cxn>
                  <a:cxn ang="0">
                    <a:pos x="2" y="16"/>
                  </a:cxn>
                </a:cxnLst>
                <a:rect l="0" t="0" r="r" b="b"/>
                <a:pathLst>
                  <a:path w="192" h="76">
                    <a:moveTo>
                      <a:pt x="2" y="16"/>
                    </a:moveTo>
                    <a:lnTo>
                      <a:pt x="2" y="16"/>
                    </a:lnTo>
                    <a:lnTo>
                      <a:pt x="0" y="24"/>
                    </a:lnTo>
                    <a:lnTo>
                      <a:pt x="2" y="30"/>
                    </a:lnTo>
                    <a:lnTo>
                      <a:pt x="6" y="34"/>
                    </a:lnTo>
                    <a:lnTo>
                      <a:pt x="18" y="38"/>
                    </a:lnTo>
                    <a:lnTo>
                      <a:pt x="18" y="38"/>
                    </a:lnTo>
                    <a:lnTo>
                      <a:pt x="22" y="42"/>
                    </a:lnTo>
                    <a:lnTo>
                      <a:pt x="26" y="46"/>
                    </a:lnTo>
                    <a:lnTo>
                      <a:pt x="26" y="52"/>
                    </a:lnTo>
                    <a:lnTo>
                      <a:pt x="28" y="56"/>
                    </a:lnTo>
                    <a:lnTo>
                      <a:pt x="30" y="62"/>
                    </a:lnTo>
                    <a:lnTo>
                      <a:pt x="36" y="66"/>
                    </a:lnTo>
                    <a:lnTo>
                      <a:pt x="46" y="72"/>
                    </a:lnTo>
                    <a:lnTo>
                      <a:pt x="46" y="72"/>
                    </a:lnTo>
                    <a:lnTo>
                      <a:pt x="56" y="76"/>
                    </a:lnTo>
                    <a:lnTo>
                      <a:pt x="66" y="76"/>
                    </a:lnTo>
                    <a:lnTo>
                      <a:pt x="72" y="76"/>
                    </a:lnTo>
                    <a:lnTo>
                      <a:pt x="80" y="74"/>
                    </a:lnTo>
                    <a:lnTo>
                      <a:pt x="94" y="68"/>
                    </a:lnTo>
                    <a:lnTo>
                      <a:pt x="104" y="66"/>
                    </a:lnTo>
                    <a:lnTo>
                      <a:pt x="118" y="68"/>
                    </a:lnTo>
                    <a:lnTo>
                      <a:pt x="118" y="68"/>
                    </a:lnTo>
                    <a:lnTo>
                      <a:pt x="148" y="70"/>
                    </a:lnTo>
                    <a:lnTo>
                      <a:pt x="176" y="72"/>
                    </a:lnTo>
                    <a:lnTo>
                      <a:pt x="184" y="70"/>
                    </a:lnTo>
                    <a:lnTo>
                      <a:pt x="192" y="68"/>
                    </a:lnTo>
                    <a:lnTo>
                      <a:pt x="192" y="66"/>
                    </a:lnTo>
                    <a:lnTo>
                      <a:pt x="192" y="62"/>
                    </a:lnTo>
                    <a:lnTo>
                      <a:pt x="188" y="58"/>
                    </a:lnTo>
                    <a:lnTo>
                      <a:pt x="188" y="58"/>
                    </a:lnTo>
                    <a:lnTo>
                      <a:pt x="174" y="42"/>
                    </a:lnTo>
                    <a:lnTo>
                      <a:pt x="166" y="34"/>
                    </a:lnTo>
                    <a:lnTo>
                      <a:pt x="156" y="26"/>
                    </a:lnTo>
                    <a:lnTo>
                      <a:pt x="144" y="18"/>
                    </a:lnTo>
                    <a:lnTo>
                      <a:pt x="130" y="12"/>
                    </a:lnTo>
                    <a:lnTo>
                      <a:pt x="114" y="10"/>
                    </a:lnTo>
                    <a:lnTo>
                      <a:pt x="96" y="10"/>
                    </a:lnTo>
                    <a:lnTo>
                      <a:pt x="96" y="10"/>
                    </a:lnTo>
                    <a:lnTo>
                      <a:pt x="76" y="8"/>
                    </a:lnTo>
                    <a:lnTo>
                      <a:pt x="58" y="6"/>
                    </a:lnTo>
                    <a:lnTo>
                      <a:pt x="30" y="2"/>
                    </a:lnTo>
                    <a:lnTo>
                      <a:pt x="18" y="0"/>
                    </a:lnTo>
                    <a:lnTo>
                      <a:pt x="10" y="2"/>
                    </a:lnTo>
                    <a:lnTo>
                      <a:pt x="8" y="4"/>
                    </a:lnTo>
                    <a:lnTo>
                      <a:pt x="4" y="6"/>
                    </a:lnTo>
                    <a:lnTo>
                      <a:pt x="2" y="16"/>
                    </a:lnTo>
                    <a:lnTo>
                      <a:pt x="2" y="1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8" name="Freeform 6108">
                <a:extLst>
                  <a:ext uri="{FF2B5EF4-FFF2-40B4-BE49-F238E27FC236}">
                    <a16:creationId xmlns:a16="http://schemas.microsoft.com/office/drawing/2014/main" id="{9A2AB3D4-34AD-4023-94F4-A827B1C8B377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62760" y="1103313"/>
                <a:ext cx="29210" cy="11430"/>
              </a:xfrm>
              <a:custGeom>
                <a:avLst/>
                <a:gdLst/>
                <a:ahLst/>
                <a:cxnLst>
                  <a:cxn ang="0">
                    <a:pos x="2" y="18"/>
                  </a:cxn>
                  <a:cxn ang="0">
                    <a:pos x="2" y="18"/>
                  </a:cxn>
                  <a:cxn ang="0">
                    <a:pos x="8" y="18"/>
                  </a:cxn>
                  <a:cxn ang="0">
                    <a:pos x="14" y="18"/>
                  </a:cxn>
                  <a:cxn ang="0">
                    <a:pos x="30" y="12"/>
                  </a:cxn>
                  <a:cxn ang="0">
                    <a:pos x="42" y="4"/>
                  </a:cxn>
                  <a:cxn ang="0">
                    <a:pos x="46" y="2"/>
                  </a:cxn>
                  <a:cxn ang="0">
                    <a:pos x="44" y="0"/>
                  </a:cxn>
                  <a:cxn ang="0">
                    <a:pos x="44" y="0"/>
                  </a:cxn>
                  <a:cxn ang="0">
                    <a:pos x="32" y="2"/>
                  </a:cxn>
                  <a:cxn ang="0">
                    <a:pos x="16" y="6"/>
                  </a:cxn>
                  <a:cxn ang="0">
                    <a:pos x="2" y="14"/>
                  </a:cxn>
                  <a:cxn ang="0">
                    <a:pos x="0" y="16"/>
                  </a:cxn>
                  <a:cxn ang="0">
                    <a:pos x="2" y="18"/>
                  </a:cxn>
                  <a:cxn ang="0">
                    <a:pos x="2" y="18"/>
                  </a:cxn>
                </a:cxnLst>
                <a:rect l="0" t="0" r="r" b="b"/>
                <a:pathLst>
                  <a:path w="46" h="18">
                    <a:moveTo>
                      <a:pt x="2" y="18"/>
                    </a:moveTo>
                    <a:lnTo>
                      <a:pt x="2" y="18"/>
                    </a:lnTo>
                    <a:lnTo>
                      <a:pt x="8" y="18"/>
                    </a:lnTo>
                    <a:lnTo>
                      <a:pt x="14" y="18"/>
                    </a:lnTo>
                    <a:lnTo>
                      <a:pt x="30" y="12"/>
                    </a:lnTo>
                    <a:lnTo>
                      <a:pt x="42" y="4"/>
                    </a:lnTo>
                    <a:lnTo>
                      <a:pt x="46" y="2"/>
                    </a:lnTo>
                    <a:lnTo>
                      <a:pt x="44" y="0"/>
                    </a:lnTo>
                    <a:lnTo>
                      <a:pt x="44" y="0"/>
                    </a:lnTo>
                    <a:lnTo>
                      <a:pt x="32" y="2"/>
                    </a:lnTo>
                    <a:lnTo>
                      <a:pt x="16" y="6"/>
                    </a:lnTo>
                    <a:lnTo>
                      <a:pt x="2" y="14"/>
                    </a:lnTo>
                    <a:lnTo>
                      <a:pt x="0" y="16"/>
                    </a:lnTo>
                    <a:lnTo>
                      <a:pt x="2" y="18"/>
                    </a:lnTo>
                    <a:lnTo>
                      <a:pt x="2" y="1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9" name="Freeform 6109">
                <a:extLst>
                  <a:ext uri="{FF2B5EF4-FFF2-40B4-BE49-F238E27FC236}">
                    <a16:creationId xmlns:a16="http://schemas.microsoft.com/office/drawing/2014/main" id="{0FB1DF29-DB12-473C-928A-81F8260C626A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954530" y="1190943"/>
                <a:ext cx="138430" cy="102870"/>
              </a:xfrm>
              <a:custGeom>
                <a:avLst/>
                <a:gdLst/>
                <a:ahLst/>
                <a:cxnLst>
                  <a:cxn ang="0">
                    <a:pos x="166" y="92"/>
                  </a:cxn>
                  <a:cxn ang="0">
                    <a:pos x="186" y="66"/>
                  </a:cxn>
                  <a:cxn ang="0">
                    <a:pos x="216" y="36"/>
                  </a:cxn>
                  <a:cxn ang="0">
                    <a:pos x="218" y="28"/>
                  </a:cxn>
                  <a:cxn ang="0">
                    <a:pos x="216" y="22"/>
                  </a:cxn>
                  <a:cxn ang="0">
                    <a:pos x="204" y="16"/>
                  </a:cxn>
                  <a:cxn ang="0">
                    <a:pos x="190" y="12"/>
                  </a:cxn>
                  <a:cxn ang="0">
                    <a:pos x="172" y="12"/>
                  </a:cxn>
                  <a:cxn ang="0">
                    <a:pos x="156" y="16"/>
                  </a:cxn>
                  <a:cxn ang="0">
                    <a:pos x="140" y="12"/>
                  </a:cxn>
                  <a:cxn ang="0">
                    <a:pos x="122" y="4"/>
                  </a:cxn>
                  <a:cxn ang="0">
                    <a:pos x="106" y="0"/>
                  </a:cxn>
                  <a:cxn ang="0">
                    <a:pos x="84" y="0"/>
                  </a:cxn>
                  <a:cxn ang="0">
                    <a:pos x="48" y="6"/>
                  </a:cxn>
                  <a:cxn ang="0">
                    <a:pos x="20" y="16"/>
                  </a:cxn>
                  <a:cxn ang="0">
                    <a:pos x="16" y="24"/>
                  </a:cxn>
                  <a:cxn ang="0">
                    <a:pos x="22" y="30"/>
                  </a:cxn>
                  <a:cxn ang="0">
                    <a:pos x="18" y="32"/>
                  </a:cxn>
                  <a:cxn ang="0">
                    <a:pos x="6" y="32"/>
                  </a:cxn>
                  <a:cxn ang="0">
                    <a:pos x="0" y="48"/>
                  </a:cxn>
                  <a:cxn ang="0">
                    <a:pos x="0" y="74"/>
                  </a:cxn>
                  <a:cxn ang="0">
                    <a:pos x="2" y="98"/>
                  </a:cxn>
                  <a:cxn ang="0">
                    <a:pos x="10" y="114"/>
                  </a:cxn>
                  <a:cxn ang="0">
                    <a:pos x="20" y="134"/>
                  </a:cxn>
                  <a:cxn ang="0">
                    <a:pos x="20" y="142"/>
                  </a:cxn>
                  <a:cxn ang="0">
                    <a:pos x="22" y="154"/>
                  </a:cxn>
                  <a:cxn ang="0">
                    <a:pos x="30" y="156"/>
                  </a:cxn>
                  <a:cxn ang="0">
                    <a:pos x="54" y="156"/>
                  </a:cxn>
                  <a:cxn ang="0">
                    <a:pos x="62" y="160"/>
                  </a:cxn>
                  <a:cxn ang="0">
                    <a:pos x="70" y="160"/>
                  </a:cxn>
                  <a:cxn ang="0">
                    <a:pos x="76" y="146"/>
                  </a:cxn>
                  <a:cxn ang="0">
                    <a:pos x="82" y="138"/>
                  </a:cxn>
                  <a:cxn ang="0">
                    <a:pos x="90" y="132"/>
                  </a:cxn>
                  <a:cxn ang="0">
                    <a:pos x="90" y="122"/>
                  </a:cxn>
                  <a:cxn ang="0">
                    <a:pos x="86" y="114"/>
                  </a:cxn>
                  <a:cxn ang="0">
                    <a:pos x="84" y="106"/>
                  </a:cxn>
                  <a:cxn ang="0">
                    <a:pos x="88" y="104"/>
                  </a:cxn>
                  <a:cxn ang="0">
                    <a:pos x="112" y="106"/>
                  </a:cxn>
                  <a:cxn ang="0">
                    <a:pos x="142" y="106"/>
                  </a:cxn>
                  <a:cxn ang="0">
                    <a:pos x="156" y="102"/>
                  </a:cxn>
                  <a:cxn ang="0">
                    <a:pos x="166" y="92"/>
                  </a:cxn>
                </a:cxnLst>
                <a:rect l="0" t="0" r="r" b="b"/>
                <a:pathLst>
                  <a:path w="218" h="162">
                    <a:moveTo>
                      <a:pt x="166" y="92"/>
                    </a:moveTo>
                    <a:lnTo>
                      <a:pt x="166" y="92"/>
                    </a:lnTo>
                    <a:lnTo>
                      <a:pt x="176" y="80"/>
                    </a:lnTo>
                    <a:lnTo>
                      <a:pt x="186" y="66"/>
                    </a:lnTo>
                    <a:lnTo>
                      <a:pt x="208" y="46"/>
                    </a:lnTo>
                    <a:lnTo>
                      <a:pt x="216" y="36"/>
                    </a:lnTo>
                    <a:lnTo>
                      <a:pt x="218" y="32"/>
                    </a:lnTo>
                    <a:lnTo>
                      <a:pt x="218" y="28"/>
                    </a:lnTo>
                    <a:lnTo>
                      <a:pt x="218" y="24"/>
                    </a:lnTo>
                    <a:lnTo>
                      <a:pt x="216" y="22"/>
                    </a:lnTo>
                    <a:lnTo>
                      <a:pt x="210" y="18"/>
                    </a:lnTo>
                    <a:lnTo>
                      <a:pt x="204" y="16"/>
                    </a:lnTo>
                    <a:lnTo>
                      <a:pt x="204" y="16"/>
                    </a:lnTo>
                    <a:lnTo>
                      <a:pt x="190" y="12"/>
                    </a:lnTo>
                    <a:lnTo>
                      <a:pt x="180" y="12"/>
                    </a:lnTo>
                    <a:lnTo>
                      <a:pt x="172" y="12"/>
                    </a:lnTo>
                    <a:lnTo>
                      <a:pt x="166" y="14"/>
                    </a:lnTo>
                    <a:lnTo>
                      <a:pt x="156" y="16"/>
                    </a:lnTo>
                    <a:lnTo>
                      <a:pt x="148" y="16"/>
                    </a:lnTo>
                    <a:lnTo>
                      <a:pt x="140" y="12"/>
                    </a:lnTo>
                    <a:lnTo>
                      <a:pt x="140" y="12"/>
                    </a:lnTo>
                    <a:lnTo>
                      <a:pt x="122" y="4"/>
                    </a:lnTo>
                    <a:lnTo>
                      <a:pt x="114" y="2"/>
                    </a:lnTo>
                    <a:lnTo>
                      <a:pt x="106" y="0"/>
                    </a:lnTo>
                    <a:lnTo>
                      <a:pt x="96" y="0"/>
                    </a:lnTo>
                    <a:lnTo>
                      <a:pt x="84" y="0"/>
                    </a:lnTo>
                    <a:lnTo>
                      <a:pt x="48" y="6"/>
                    </a:lnTo>
                    <a:lnTo>
                      <a:pt x="48" y="6"/>
                    </a:lnTo>
                    <a:lnTo>
                      <a:pt x="30" y="10"/>
                    </a:lnTo>
                    <a:lnTo>
                      <a:pt x="20" y="16"/>
                    </a:lnTo>
                    <a:lnTo>
                      <a:pt x="16" y="20"/>
                    </a:lnTo>
                    <a:lnTo>
                      <a:pt x="16" y="24"/>
                    </a:lnTo>
                    <a:lnTo>
                      <a:pt x="22" y="30"/>
                    </a:lnTo>
                    <a:lnTo>
                      <a:pt x="22" y="30"/>
                    </a:lnTo>
                    <a:lnTo>
                      <a:pt x="18" y="32"/>
                    </a:lnTo>
                    <a:lnTo>
                      <a:pt x="18" y="32"/>
                    </a:lnTo>
                    <a:lnTo>
                      <a:pt x="8" y="30"/>
                    </a:lnTo>
                    <a:lnTo>
                      <a:pt x="6" y="32"/>
                    </a:lnTo>
                    <a:lnTo>
                      <a:pt x="4" y="36"/>
                    </a:lnTo>
                    <a:lnTo>
                      <a:pt x="0" y="48"/>
                    </a:lnTo>
                    <a:lnTo>
                      <a:pt x="0" y="74"/>
                    </a:lnTo>
                    <a:lnTo>
                      <a:pt x="0" y="74"/>
                    </a:lnTo>
                    <a:lnTo>
                      <a:pt x="0" y="88"/>
                    </a:lnTo>
                    <a:lnTo>
                      <a:pt x="2" y="98"/>
                    </a:lnTo>
                    <a:lnTo>
                      <a:pt x="6" y="108"/>
                    </a:lnTo>
                    <a:lnTo>
                      <a:pt x="10" y="114"/>
                    </a:lnTo>
                    <a:lnTo>
                      <a:pt x="18" y="126"/>
                    </a:lnTo>
                    <a:lnTo>
                      <a:pt x="20" y="134"/>
                    </a:lnTo>
                    <a:lnTo>
                      <a:pt x="20" y="142"/>
                    </a:lnTo>
                    <a:lnTo>
                      <a:pt x="20" y="142"/>
                    </a:lnTo>
                    <a:lnTo>
                      <a:pt x="20" y="150"/>
                    </a:lnTo>
                    <a:lnTo>
                      <a:pt x="22" y="154"/>
                    </a:lnTo>
                    <a:lnTo>
                      <a:pt x="26" y="156"/>
                    </a:lnTo>
                    <a:lnTo>
                      <a:pt x="30" y="156"/>
                    </a:lnTo>
                    <a:lnTo>
                      <a:pt x="46" y="156"/>
                    </a:lnTo>
                    <a:lnTo>
                      <a:pt x="54" y="156"/>
                    </a:lnTo>
                    <a:lnTo>
                      <a:pt x="62" y="160"/>
                    </a:lnTo>
                    <a:lnTo>
                      <a:pt x="62" y="160"/>
                    </a:lnTo>
                    <a:lnTo>
                      <a:pt x="68" y="162"/>
                    </a:lnTo>
                    <a:lnTo>
                      <a:pt x="70" y="160"/>
                    </a:lnTo>
                    <a:lnTo>
                      <a:pt x="76" y="146"/>
                    </a:lnTo>
                    <a:lnTo>
                      <a:pt x="76" y="146"/>
                    </a:lnTo>
                    <a:lnTo>
                      <a:pt x="78" y="140"/>
                    </a:lnTo>
                    <a:lnTo>
                      <a:pt x="82" y="138"/>
                    </a:lnTo>
                    <a:lnTo>
                      <a:pt x="88" y="134"/>
                    </a:lnTo>
                    <a:lnTo>
                      <a:pt x="90" y="132"/>
                    </a:lnTo>
                    <a:lnTo>
                      <a:pt x="90" y="128"/>
                    </a:lnTo>
                    <a:lnTo>
                      <a:pt x="90" y="122"/>
                    </a:lnTo>
                    <a:lnTo>
                      <a:pt x="86" y="114"/>
                    </a:lnTo>
                    <a:lnTo>
                      <a:pt x="86" y="114"/>
                    </a:lnTo>
                    <a:lnTo>
                      <a:pt x="84" y="110"/>
                    </a:lnTo>
                    <a:lnTo>
                      <a:pt x="84" y="106"/>
                    </a:lnTo>
                    <a:lnTo>
                      <a:pt x="86" y="104"/>
                    </a:lnTo>
                    <a:lnTo>
                      <a:pt x="88" y="104"/>
                    </a:lnTo>
                    <a:lnTo>
                      <a:pt x="98" y="104"/>
                    </a:lnTo>
                    <a:lnTo>
                      <a:pt x="112" y="106"/>
                    </a:lnTo>
                    <a:lnTo>
                      <a:pt x="128" y="108"/>
                    </a:lnTo>
                    <a:lnTo>
                      <a:pt x="142" y="106"/>
                    </a:lnTo>
                    <a:lnTo>
                      <a:pt x="150" y="106"/>
                    </a:lnTo>
                    <a:lnTo>
                      <a:pt x="156" y="102"/>
                    </a:lnTo>
                    <a:lnTo>
                      <a:pt x="162" y="98"/>
                    </a:lnTo>
                    <a:lnTo>
                      <a:pt x="166" y="92"/>
                    </a:lnTo>
                    <a:lnTo>
                      <a:pt x="166" y="9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0" name="Freeform 6110">
                <a:extLst>
                  <a:ext uri="{FF2B5EF4-FFF2-40B4-BE49-F238E27FC236}">
                    <a16:creationId xmlns:a16="http://schemas.microsoft.com/office/drawing/2014/main" id="{6C30B8F7-E6E5-445B-A129-3198ADB9D70B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2970" y="1573213"/>
                <a:ext cx="176530" cy="121920"/>
              </a:xfrm>
              <a:custGeom>
                <a:avLst/>
                <a:gdLst/>
                <a:ahLst/>
                <a:cxnLst>
                  <a:cxn ang="0">
                    <a:pos x="272" y="132"/>
                  </a:cxn>
                  <a:cxn ang="0">
                    <a:pos x="258" y="122"/>
                  </a:cxn>
                  <a:cxn ang="0">
                    <a:pos x="250" y="126"/>
                  </a:cxn>
                  <a:cxn ang="0">
                    <a:pos x="236" y="124"/>
                  </a:cxn>
                  <a:cxn ang="0">
                    <a:pos x="228" y="120"/>
                  </a:cxn>
                  <a:cxn ang="0">
                    <a:pos x="220" y="102"/>
                  </a:cxn>
                  <a:cxn ang="0">
                    <a:pos x="212" y="88"/>
                  </a:cxn>
                  <a:cxn ang="0">
                    <a:pos x="192" y="78"/>
                  </a:cxn>
                  <a:cxn ang="0">
                    <a:pos x="178" y="72"/>
                  </a:cxn>
                  <a:cxn ang="0">
                    <a:pos x="140" y="46"/>
                  </a:cxn>
                  <a:cxn ang="0">
                    <a:pos x="122" y="34"/>
                  </a:cxn>
                  <a:cxn ang="0">
                    <a:pos x="110" y="34"/>
                  </a:cxn>
                  <a:cxn ang="0">
                    <a:pos x="106" y="36"/>
                  </a:cxn>
                  <a:cxn ang="0">
                    <a:pos x="100" y="40"/>
                  </a:cxn>
                  <a:cxn ang="0">
                    <a:pos x="96" y="38"/>
                  </a:cxn>
                  <a:cxn ang="0">
                    <a:pos x="86" y="24"/>
                  </a:cxn>
                  <a:cxn ang="0">
                    <a:pos x="76" y="8"/>
                  </a:cxn>
                  <a:cxn ang="0">
                    <a:pos x="66" y="0"/>
                  </a:cxn>
                  <a:cxn ang="0">
                    <a:pos x="62" y="2"/>
                  </a:cxn>
                  <a:cxn ang="0">
                    <a:pos x="54" y="6"/>
                  </a:cxn>
                  <a:cxn ang="0">
                    <a:pos x="42" y="26"/>
                  </a:cxn>
                  <a:cxn ang="0">
                    <a:pos x="36" y="58"/>
                  </a:cxn>
                  <a:cxn ang="0">
                    <a:pos x="34" y="90"/>
                  </a:cxn>
                  <a:cxn ang="0">
                    <a:pos x="38" y="106"/>
                  </a:cxn>
                  <a:cxn ang="0">
                    <a:pos x="38" y="116"/>
                  </a:cxn>
                  <a:cxn ang="0">
                    <a:pos x="34" y="124"/>
                  </a:cxn>
                  <a:cxn ang="0">
                    <a:pos x="18" y="134"/>
                  </a:cxn>
                  <a:cxn ang="0">
                    <a:pos x="4" y="142"/>
                  </a:cxn>
                  <a:cxn ang="0">
                    <a:pos x="0" y="150"/>
                  </a:cxn>
                  <a:cxn ang="0">
                    <a:pos x="4" y="158"/>
                  </a:cxn>
                  <a:cxn ang="0">
                    <a:pos x="4" y="160"/>
                  </a:cxn>
                  <a:cxn ang="0">
                    <a:pos x="16" y="162"/>
                  </a:cxn>
                  <a:cxn ang="0">
                    <a:pos x="50" y="156"/>
                  </a:cxn>
                  <a:cxn ang="0">
                    <a:pos x="64" y="156"/>
                  </a:cxn>
                  <a:cxn ang="0">
                    <a:pos x="66" y="162"/>
                  </a:cxn>
                  <a:cxn ang="0">
                    <a:pos x="66" y="166"/>
                  </a:cxn>
                  <a:cxn ang="0">
                    <a:pos x="70" y="182"/>
                  </a:cxn>
                  <a:cxn ang="0">
                    <a:pos x="82" y="190"/>
                  </a:cxn>
                  <a:cxn ang="0">
                    <a:pos x="96" y="190"/>
                  </a:cxn>
                  <a:cxn ang="0">
                    <a:pos x="110" y="176"/>
                  </a:cxn>
                  <a:cxn ang="0">
                    <a:pos x="114" y="166"/>
                  </a:cxn>
                  <a:cxn ang="0">
                    <a:pos x="124" y="160"/>
                  </a:cxn>
                  <a:cxn ang="0">
                    <a:pos x="134" y="158"/>
                  </a:cxn>
                  <a:cxn ang="0">
                    <a:pos x="142" y="150"/>
                  </a:cxn>
                  <a:cxn ang="0">
                    <a:pos x="144" y="142"/>
                  </a:cxn>
                  <a:cxn ang="0">
                    <a:pos x="154" y="128"/>
                  </a:cxn>
                  <a:cxn ang="0">
                    <a:pos x="170" y="124"/>
                  </a:cxn>
                  <a:cxn ang="0">
                    <a:pos x="184" y="130"/>
                  </a:cxn>
                  <a:cxn ang="0">
                    <a:pos x="192" y="142"/>
                  </a:cxn>
                  <a:cxn ang="0">
                    <a:pos x="194" y="148"/>
                  </a:cxn>
                  <a:cxn ang="0">
                    <a:pos x="198" y="154"/>
                  </a:cxn>
                  <a:cxn ang="0">
                    <a:pos x="214" y="156"/>
                  </a:cxn>
                  <a:cxn ang="0">
                    <a:pos x="232" y="160"/>
                  </a:cxn>
                  <a:cxn ang="0">
                    <a:pos x="254" y="162"/>
                  </a:cxn>
                  <a:cxn ang="0">
                    <a:pos x="272" y="158"/>
                  </a:cxn>
                  <a:cxn ang="0">
                    <a:pos x="278" y="148"/>
                  </a:cxn>
                  <a:cxn ang="0">
                    <a:pos x="272" y="132"/>
                  </a:cxn>
                </a:cxnLst>
                <a:rect l="0" t="0" r="r" b="b"/>
                <a:pathLst>
                  <a:path w="278" h="192">
                    <a:moveTo>
                      <a:pt x="272" y="132"/>
                    </a:moveTo>
                    <a:lnTo>
                      <a:pt x="272" y="132"/>
                    </a:lnTo>
                    <a:lnTo>
                      <a:pt x="262" y="122"/>
                    </a:lnTo>
                    <a:lnTo>
                      <a:pt x="258" y="122"/>
                    </a:lnTo>
                    <a:lnTo>
                      <a:pt x="256" y="122"/>
                    </a:lnTo>
                    <a:lnTo>
                      <a:pt x="250" y="126"/>
                    </a:lnTo>
                    <a:lnTo>
                      <a:pt x="244" y="126"/>
                    </a:lnTo>
                    <a:lnTo>
                      <a:pt x="236" y="124"/>
                    </a:lnTo>
                    <a:lnTo>
                      <a:pt x="236" y="124"/>
                    </a:lnTo>
                    <a:lnTo>
                      <a:pt x="228" y="120"/>
                    </a:lnTo>
                    <a:lnTo>
                      <a:pt x="224" y="114"/>
                    </a:lnTo>
                    <a:lnTo>
                      <a:pt x="220" y="102"/>
                    </a:lnTo>
                    <a:lnTo>
                      <a:pt x="218" y="96"/>
                    </a:lnTo>
                    <a:lnTo>
                      <a:pt x="212" y="88"/>
                    </a:lnTo>
                    <a:lnTo>
                      <a:pt x="204" y="82"/>
                    </a:lnTo>
                    <a:lnTo>
                      <a:pt x="192" y="78"/>
                    </a:lnTo>
                    <a:lnTo>
                      <a:pt x="192" y="78"/>
                    </a:lnTo>
                    <a:lnTo>
                      <a:pt x="178" y="72"/>
                    </a:lnTo>
                    <a:lnTo>
                      <a:pt x="164" y="64"/>
                    </a:lnTo>
                    <a:lnTo>
                      <a:pt x="140" y="46"/>
                    </a:lnTo>
                    <a:lnTo>
                      <a:pt x="130" y="38"/>
                    </a:lnTo>
                    <a:lnTo>
                      <a:pt x="122" y="34"/>
                    </a:lnTo>
                    <a:lnTo>
                      <a:pt x="114" y="32"/>
                    </a:lnTo>
                    <a:lnTo>
                      <a:pt x="110" y="34"/>
                    </a:lnTo>
                    <a:lnTo>
                      <a:pt x="106" y="36"/>
                    </a:lnTo>
                    <a:lnTo>
                      <a:pt x="106" y="36"/>
                    </a:lnTo>
                    <a:lnTo>
                      <a:pt x="104" y="38"/>
                    </a:lnTo>
                    <a:lnTo>
                      <a:pt x="100" y="40"/>
                    </a:lnTo>
                    <a:lnTo>
                      <a:pt x="98" y="40"/>
                    </a:lnTo>
                    <a:lnTo>
                      <a:pt x="96" y="38"/>
                    </a:lnTo>
                    <a:lnTo>
                      <a:pt x="90" y="32"/>
                    </a:lnTo>
                    <a:lnTo>
                      <a:pt x="86" y="24"/>
                    </a:lnTo>
                    <a:lnTo>
                      <a:pt x="82" y="14"/>
                    </a:lnTo>
                    <a:lnTo>
                      <a:pt x="76" y="8"/>
                    </a:lnTo>
                    <a:lnTo>
                      <a:pt x="70" y="2"/>
                    </a:lnTo>
                    <a:lnTo>
                      <a:pt x="66" y="0"/>
                    </a:lnTo>
                    <a:lnTo>
                      <a:pt x="62" y="2"/>
                    </a:lnTo>
                    <a:lnTo>
                      <a:pt x="62" y="2"/>
                    </a:lnTo>
                    <a:lnTo>
                      <a:pt x="58" y="2"/>
                    </a:lnTo>
                    <a:lnTo>
                      <a:pt x="54" y="6"/>
                    </a:lnTo>
                    <a:lnTo>
                      <a:pt x="48" y="14"/>
                    </a:lnTo>
                    <a:lnTo>
                      <a:pt x="42" y="26"/>
                    </a:lnTo>
                    <a:lnTo>
                      <a:pt x="38" y="42"/>
                    </a:lnTo>
                    <a:lnTo>
                      <a:pt x="36" y="58"/>
                    </a:lnTo>
                    <a:lnTo>
                      <a:pt x="34" y="74"/>
                    </a:lnTo>
                    <a:lnTo>
                      <a:pt x="34" y="90"/>
                    </a:lnTo>
                    <a:lnTo>
                      <a:pt x="38" y="106"/>
                    </a:lnTo>
                    <a:lnTo>
                      <a:pt x="38" y="106"/>
                    </a:lnTo>
                    <a:lnTo>
                      <a:pt x="38" y="112"/>
                    </a:lnTo>
                    <a:lnTo>
                      <a:pt x="38" y="116"/>
                    </a:lnTo>
                    <a:lnTo>
                      <a:pt x="36" y="122"/>
                    </a:lnTo>
                    <a:lnTo>
                      <a:pt x="34" y="124"/>
                    </a:lnTo>
                    <a:lnTo>
                      <a:pt x="26" y="130"/>
                    </a:lnTo>
                    <a:lnTo>
                      <a:pt x="18" y="134"/>
                    </a:lnTo>
                    <a:lnTo>
                      <a:pt x="10" y="138"/>
                    </a:lnTo>
                    <a:lnTo>
                      <a:pt x="4" y="142"/>
                    </a:lnTo>
                    <a:lnTo>
                      <a:pt x="2" y="146"/>
                    </a:lnTo>
                    <a:lnTo>
                      <a:pt x="0" y="150"/>
                    </a:lnTo>
                    <a:lnTo>
                      <a:pt x="2" y="154"/>
                    </a:lnTo>
                    <a:lnTo>
                      <a:pt x="4" y="158"/>
                    </a:lnTo>
                    <a:lnTo>
                      <a:pt x="4" y="158"/>
                    </a:lnTo>
                    <a:lnTo>
                      <a:pt x="4" y="160"/>
                    </a:lnTo>
                    <a:lnTo>
                      <a:pt x="8" y="162"/>
                    </a:lnTo>
                    <a:lnTo>
                      <a:pt x="16" y="162"/>
                    </a:lnTo>
                    <a:lnTo>
                      <a:pt x="38" y="158"/>
                    </a:lnTo>
                    <a:lnTo>
                      <a:pt x="50" y="156"/>
                    </a:lnTo>
                    <a:lnTo>
                      <a:pt x="60" y="156"/>
                    </a:lnTo>
                    <a:lnTo>
                      <a:pt x="64" y="156"/>
                    </a:lnTo>
                    <a:lnTo>
                      <a:pt x="66" y="158"/>
                    </a:lnTo>
                    <a:lnTo>
                      <a:pt x="66" y="162"/>
                    </a:lnTo>
                    <a:lnTo>
                      <a:pt x="66" y="166"/>
                    </a:lnTo>
                    <a:lnTo>
                      <a:pt x="66" y="166"/>
                    </a:lnTo>
                    <a:lnTo>
                      <a:pt x="66" y="174"/>
                    </a:lnTo>
                    <a:lnTo>
                      <a:pt x="70" y="182"/>
                    </a:lnTo>
                    <a:lnTo>
                      <a:pt x="74" y="188"/>
                    </a:lnTo>
                    <a:lnTo>
                      <a:pt x="82" y="190"/>
                    </a:lnTo>
                    <a:lnTo>
                      <a:pt x="88" y="192"/>
                    </a:lnTo>
                    <a:lnTo>
                      <a:pt x="96" y="190"/>
                    </a:lnTo>
                    <a:lnTo>
                      <a:pt x="104" y="184"/>
                    </a:lnTo>
                    <a:lnTo>
                      <a:pt x="110" y="176"/>
                    </a:lnTo>
                    <a:lnTo>
                      <a:pt x="110" y="176"/>
                    </a:lnTo>
                    <a:lnTo>
                      <a:pt x="114" y="166"/>
                    </a:lnTo>
                    <a:lnTo>
                      <a:pt x="120" y="162"/>
                    </a:lnTo>
                    <a:lnTo>
                      <a:pt x="124" y="160"/>
                    </a:lnTo>
                    <a:lnTo>
                      <a:pt x="130" y="158"/>
                    </a:lnTo>
                    <a:lnTo>
                      <a:pt x="134" y="158"/>
                    </a:lnTo>
                    <a:lnTo>
                      <a:pt x="138" y="156"/>
                    </a:lnTo>
                    <a:lnTo>
                      <a:pt x="142" y="150"/>
                    </a:lnTo>
                    <a:lnTo>
                      <a:pt x="144" y="142"/>
                    </a:lnTo>
                    <a:lnTo>
                      <a:pt x="144" y="142"/>
                    </a:lnTo>
                    <a:lnTo>
                      <a:pt x="148" y="134"/>
                    </a:lnTo>
                    <a:lnTo>
                      <a:pt x="154" y="128"/>
                    </a:lnTo>
                    <a:lnTo>
                      <a:pt x="162" y="124"/>
                    </a:lnTo>
                    <a:lnTo>
                      <a:pt x="170" y="124"/>
                    </a:lnTo>
                    <a:lnTo>
                      <a:pt x="178" y="126"/>
                    </a:lnTo>
                    <a:lnTo>
                      <a:pt x="184" y="130"/>
                    </a:lnTo>
                    <a:lnTo>
                      <a:pt x="190" y="136"/>
                    </a:lnTo>
                    <a:lnTo>
                      <a:pt x="192" y="142"/>
                    </a:lnTo>
                    <a:lnTo>
                      <a:pt x="192" y="142"/>
                    </a:lnTo>
                    <a:lnTo>
                      <a:pt x="194" y="148"/>
                    </a:lnTo>
                    <a:lnTo>
                      <a:pt x="196" y="152"/>
                    </a:lnTo>
                    <a:lnTo>
                      <a:pt x="198" y="154"/>
                    </a:lnTo>
                    <a:lnTo>
                      <a:pt x="202" y="156"/>
                    </a:lnTo>
                    <a:lnTo>
                      <a:pt x="214" y="156"/>
                    </a:lnTo>
                    <a:lnTo>
                      <a:pt x="232" y="160"/>
                    </a:lnTo>
                    <a:lnTo>
                      <a:pt x="232" y="160"/>
                    </a:lnTo>
                    <a:lnTo>
                      <a:pt x="244" y="162"/>
                    </a:lnTo>
                    <a:lnTo>
                      <a:pt x="254" y="162"/>
                    </a:lnTo>
                    <a:lnTo>
                      <a:pt x="264" y="160"/>
                    </a:lnTo>
                    <a:lnTo>
                      <a:pt x="272" y="158"/>
                    </a:lnTo>
                    <a:lnTo>
                      <a:pt x="276" y="154"/>
                    </a:lnTo>
                    <a:lnTo>
                      <a:pt x="278" y="148"/>
                    </a:lnTo>
                    <a:lnTo>
                      <a:pt x="278" y="140"/>
                    </a:lnTo>
                    <a:lnTo>
                      <a:pt x="272" y="132"/>
                    </a:lnTo>
                    <a:lnTo>
                      <a:pt x="272" y="1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1" name="Freeform 6111">
                <a:extLst>
                  <a:ext uri="{FF2B5EF4-FFF2-40B4-BE49-F238E27FC236}">
                    <a16:creationId xmlns:a16="http://schemas.microsoft.com/office/drawing/2014/main" id="{D74CA9DB-9244-494E-ADA7-9A2CA308FADD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178050" y="1465263"/>
                <a:ext cx="15240" cy="24130"/>
              </a:xfrm>
              <a:custGeom>
                <a:avLst/>
                <a:gdLst/>
                <a:ahLst/>
                <a:cxnLst>
                  <a:cxn ang="0">
                    <a:pos x="4" y="28"/>
                  </a:cxn>
                  <a:cxn ang="0">
                    <a:pos x="4" y="28"/>
                  </a:cxn>
                  <a:cxn ang="0">
                    <a:pos x="12" y="36"/>
                  </a:cxn>
                  <a:cxn ang="0">
                    <a:pos x="16" y="38"/>
                  </a:cxn>
                  <a:cxn ang="0">
                    <a:pos x="18" y="38"/>
                  </a:cxn>
                  <a:cxn ang="0">
                    <a:pos x="22" y="36"/>
                  </a:cxn>
                  <a:cxn ang="0">
                    <a:pos x="24" y="30"/>
                  </a:cxn>
                  <a:cxn ang="0">
                    <a:pos x="24" y="12"/>
                  </a:cxn>
                  <a:cxn ang="0">
                    <a:pos x="20" y="0"/>
                  </a:cxn>
                  <a:cxn ang="0">
                    <a:pos x="20" y="0"/>
                  </a:cxn>
                  <a:cxn ang="0">
                    <a:pos x="18" y="0"/>
                  </a:cxn>
                  <a:cxn ang="0">
                    <a:pos x="14" y="0"/>
                  </a:cxn>
                  <a:cxn ang="0">
                    <a:pos x="10" y="2"/>
                  </a:cxn>
                  <a:cxn ang="0">
                    <a:pos x="6" y="6"/>
                  </a:cxn>
                  <a:cxn ang="0">
                    <a:pos x="2" y="10"/>
                  </a:cxn>
                  <a:cxn ang="0">
                    <a:pos x="0" y="16"/>
                  </a:cxn>
                  <a:cxn ang="0">
                    <a:pos x="0" y="22"/>
                  </a:cxn>
                  <a:cxn ang="0">
                    <a:pos x="4" y="28"/>
                  </a:cxn>
                  <a:cxn ang="0">
                    <a:pos x="4" y="28"/>
                  </a:cxn>
                </a:cxnLst>
                <a:rect l="0" t="0" r="r" b="b"/>
                <a:pathLst>
                  <a:path w="24" h="38">
                    <a:moveTo>
                      <a:pt x="4" y="28"/>
                    </a:moveTo>
                    <a:lnTo>
                      <a:pt x="4" y="28"/>
                    </a:lnTo>
                    <a:lnTo>
                      <a:pt x="12" y="36"/>
                    </a:lnTo>
                    <a:lnTo>
                      <a:pt x="16" y="38"/>
                    </a:lnTo>
                    <a:lnTo>
                      <a:pt x="18" y="38"/>
                    </a:lnTo>
                    <a:lnTo>
                      <a:pt x="22" y="36"/>
                    </a:lnTo>
                    <a:lnTo>
                      <a:pt x="24" y="30"/>
                    </a:lnTo>
                    <a:lnTo>
                      <a:pt x="24" y="12"/>
                    </a:lnTo>
                    <a:lnTo>
                      <a:pt x="20" y="0"/>
                    </a:lnTo>
                    <a:lnTo>
                      <a:pt x="20" y="0"/>
                    </a:lnTo>
                    <a:lnTo>
                      <a:pt x="18" y="0"/>
                    </a:lnTo>
                    <a:lnTo>
                      <a:pt x="14" y="0"/>
                    </a:lnTo>
                    <a:lnTo>
                      <a:pt x="10" y="2"/>
                    </a:lnTo>
                    <a:lnTo>
                      <a:pt x="6" y="6"/>
                    </a:lnTo>
                    <a:lnTo>
                      <a:pt x="2" y="10"/>
                    </a:lnTo>
                    <a:lnTo>
                      <a:pt x="0" y="16"/>
                    </a:lnTo>
                    <a:lnTo>
                      <a:pt x="0" y="22"/>
                    </a:lnTo>
                    <a:lnTo>
                      <a:pt x="4" y="28"/>
                    </a:lnTo>
                    <a:lnTo>
                      <a:pt x="4" y="2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2" name="Freeform 6112">
                <a:extLst>
                  <a:ext uri="{FF2B5EF4-FFF2-40B4-BE49-F238E27FC236}">
                    <a16:creationId xmlns:a16="http://schemas.microsoft.com/office/drawing/2014/main" id="{CBBA8C44-C397-483F-87D3-88E2D85F9C4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258060" y="1697673"/>
                <a:ext cx="52070" cy="36830"/>
              </a:xfrm>
              <a:custGeom>
                <a:avLst/>
                <a:gdLst/>
                <a:ahLst/>
                <a:cxnLst>
                  <a:cxn ang="0">
                    <a:pos x="78" y="4"/>
                  </a:cxn>
                  <a:cxn ang="0">
                    <a:pos x="78" y="4"/>
                  </a:cxn>
                  <a:cxn ang="0">
                    <a:pos x="72" y="2"/>
                  </a:cxn>
                  <a:cxn ang="0">
                    <a:pos x="68" y="0"/>
                  </a:cxn>
                  <a:cxn ang="0">
                    <a:pos x="54" y="2"/>
                  </a:cxn>
                  <a:cxn ang="0">
                    <a:pos x="38" y="6"/>
                  </a:cxn>
                  <a:cxn ang="0">
                    <a:pos x="24" y="14"/>
                  </a:cxn>
                  <a:cxn ang="0">
                    <a:pos x="12" y="22"/>
                  </a:cxn>
                  <a:cxn ang="0">
                    <a:pos x="4" y="32"/>
                  </a:cxn>
                  <a:cxn ang="0">
                    <a:pos x="0" y="38"/>
                  </a:cxn>
                  <a:cxn ang="0">
                    <a:pos x="0" y="42"/>
                  </a:cxn>
                  <a:cxn ang="0">
                    <a:pos x="2" y="48"/>
                  </a:cxn>
                  <a:cxn ang="0">
                    <a:pos x="6" y="52"/>
                  </a:cxn>
                  <a:cxn ang="0">
                    <a:pos x="6" y="52"/>
                  </a:cxn>
                  <a:cxn ang="0">
                    <a:pos x="10" y="56"/>
                  </a:cxn>
                  <a:cxn ang="0">
                    <a:pos x="16" y="58"/>
                  </a:cxn>
                  <a:cxn ang="0">
                    <a:pos x="22" y="58"/>
                  </a:cxn>
                  <a:cxn ang="0">
                    <a:pos x="28" y="56"/>
                  </a:cxn>
                  <a:cxn ang="0">
                    <a:pos x="42" y="50"/>
                  </a:cxn>
                  <a:cxn ang="0">
                    <a:pos x="58" y="42"/>
                  </a:cxn>
                  <a:cxn ang="0">
                    <a:pos x="70" y="32"/>
                  </a:cxn>
                  <a:cxn ang="0">
                    <a:pos x="78" y="20"/>
                  </a:cxn>
                  <a:cxn ang="0">
                    <a:pos x="80" y="16"/>
                  </a:cxn>
                  <a:cxn ang="0">
                    <a:pos x="82" y="10"/>
                  </a:cxn>
                  <a:cxn ang="0">
                    <a:pos x="80" y="6"/>
                  </a:cxn>
                  <a:cxn ang="0">
                    <a:pos x="78" y="4"/>
                  </a:cxn>
                  <a:cxn ang="0">
                    <a:pos x="78" y="4"/>
                  </a:cxn>
                </a:cxnLst>
                <a:rect l="0" t="0" r="r" b="b"/>
                <a:pathLst>
                  <a:path w="82" h="58">
                    <a:moveTo>
                      <a:pt x="78" y="4"/>
                    </a:moveTo>
                    <a:lnTo>
                      <a:pt x="78" y="4"/>
                    </a:lnTo>
                    <a:lnTo>
                      <a:pt x="72" y="2"/>
                    </a:lnTo>
                    <a:lnTo>
                      <a:pt x="68" y="0"/>
                    </a:lnTo>
                    <a:lnTo>
                      <a:pt x="54" y="2"/>
                    </a:lnTo>
                    <a:lnTo>
                      <a:pt x="38" y="6"/>
                    </a:lnTo>
                    <a:lnTo>
                      <a:pt x="24" y="14"/>
                    </a:lnTo>
                    <a:lnTo>
                      <a:pt x="12" y="22"/>
                    </a:lnTo>
                    <a:lnTo>
                      <a:pt x="4" y="32"/>
                    </a:lnTo>
                    <a:lnTo>
                      <a:pt x="0" y="38"/>
                    </a:lnTo>
                    <a:lnTo>
                      <a:pt x="0" y="42"/>
                    </a:lnTo>
                    <a:lnTo>
                      <a:pt x="2" y="48"/>
                    </a:lnTo>
                    <a:lnTo>
                      <a:pt x="6" y="52"/>
                    </a:lnTo>
                    <a:lnTo>
                      <a:pt x="6" y="52"/>
                    </a:lnTo>
                    <a:lnTo>
                      <a:pt x="10" y="56"/>
                    </a:lnTo>
                    <a:lnTo>
                      <a:pt x="16" y="58"/>
                    </a:lnTo>
                    <a:lnTo>
                      <a:pt x="22" y="58"/>
                    </a:lnTo>
                    <a:lnTo>
                      <a:pt x="28" y="56"/>
                    </a:lnTo>
                    <a:lnTo>
                      <a:pt x="42" y="50"/>
                    </a:lnTo>
                    <a:lnTo>
                      <a:pt x="58" y="42"/>
                    </a:lnTo>
                    <a:lnTo>
                      <a:pt x="70" y="32"/>
                    </a:lnTo>
                    <a:lnTo>
                      <a:pt x="78" y="20"/>
                    </a:lnTo>
                    <a:lnTo>
                      <a:pt x="80" y="16"/>
                    </a:lnTo>
                    <a:lnTo>
                      <a:pt x="82" y="10"/>
                    </a:lnTo>
                    <a:lnTo>
                      <a:pt x="80" y="6"/>
                    </a:lnTo>
                    <a:lnTo>
                      <a:pt x="78" y="4"/>
                    </a:lnTo>
                    <a:lnTo>
                      <a:pt x="78" y="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3" name="Freeform 6113">
                <a:extLst>
                  <a:ext uri="{FF2B5EF4-FFF2-40B4-BE49-F238E27FC236}">
                    <a16:creationId xmlns:a16="http://schemas.microsoft.com/office/drawing/2014/main" id="{307DD4C5-0482-4C5C-B669-64F87C9FC9A1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357630" y="1230313"/>
                <a:ext cx="467360" cy="227330"/>
              </a:xfrm>
              <a:custGeom>
                <a:avLst/>
                <a:gdLst/>
                <a:ahLst/>
                <a:cxnLst>
                  <a:cxn ang="0">
                    <a:pos x="700" y="272"/>
                  </a:cxn>
                  <a:cxn ang="0">
                    <a:pos x="720" y="274"/>
                  </a:cxn>
                  <a:cxn ang="0">
                    <a:pos x="736" y="254"/>
                  </a:cxn>
                  <a:cxn ang="0">
                    <a:pos x="708" y="238"/>
                  </a:cxn>
                  <a:cxn ang="0">
                    <a:pos x="684" y="224"/>
                  </a:cxn>
                  <a:cxn ang="0">
                    <a:pos x="646" y="206"/>
                  </a:cxn>
                  <a:cxn ang="0">
                    <a:pos x="608" y="190"/>
                  </a:cxn>
                  <a:cxn ang="0">
                    <a:pos x="586" y="166"/>
                  </a:cxn>
                  <a:cxn ang="0">
                    <a:pos x="592" y="128"/>
                  </a:cxn>
                  <a:cxn ang="0">
                    <a:pos x="560" y="58"/>
                  </a:cxn>
                  <a:cxn ang="0">
                    <a:pos x="506" y="10"/>
                  </a:cxn>
                  <a:cxn ang="0">
                    <a:pos x="482" y="10"/>
                  </a:cxn>
                  <a:cxn ang="0">
                    <a:pos x="438" y="8"/>
                  </a:cxn>
                  <a:cxn ang="0">
                    <a:pos x="450" y="68"/>
                  </a:cxn>
                  <a:cxn ang="0">
                    <a:pos x="478" y="114"/>
                  </a:cxn>
                  <a:cxn ang="0">
                    <a:pos x="456" y="132"/>
                  </a:cxn>
                  <a:cxn ang="0">
                    <a:pos x="420" y="68"/>
                  </a:cxn>
                  <a:cxn ang="0">
                    <a:pos x="382" y="40"/>
                  </a:cxn>
                  <a:cxn ang="0">
                    <a:pos x="354" y="26"/>
                  </a:cxn>
                  <a:cxn ang="0">
                    <a:pos x="352" y="40"/>
                  </a:cxn>
                  <a:cxn ang="0">
                    <a:pos x="372" y="58"/>
                  </a:cxn>
                  <a:cxn ang="0">
                    <a:pos x="336" y="62"/>
                  </a:cxn>
                  <a:cxn ang="0">
                    <a:pos x="318" y="74"/>
                  </a:cxn>
                  <a:cxn ang="0">
                    <a:pos x="296" y="40"/>
                  </a:cxn>
                  <a:cxn ang="0">
                    <a:pos x="224" y="38"/>
                  </a:cxn>
                  <a:cxn ang="0">
                    <a:pos x="190" y="60"/>
                  </a:cxn>
                  <a:cxn ang="0">
                    <a:pos x="206" y="32"/>
                  </a:cxn>
                  <a:cxn ang="0">
                    <a:pos x="196" y="2"/>
                  </a:cxn>
                  <a:cxn ang="0">
                    <a:pos x="100" y="26"/>
                  </a:cxn>
                  <a:cxn ang="0">
                    <a:pos x="22" y="72"/>
                  </a:cxn>
                  <a:cxn ang="0">
                    <a:pos x="40" y="86"/>
                  </a:cxn>
                  <a:cxn ang="0">
                    <a:pos x="2" y="116"/>
                  </a:cxn>
                  <a:cxn ang="0">
                    <a:pos x="14" y="130"/>
                  </a:cxn>
                  <a:cxn ang="0">
                    <a:pos x="34" y="146"/>
                  </a:cxn>
                  <a:cxn ang="0">
                    <a:pos x="116" y="140"/>
                  </a:cxn>
                  <a:cxn ang="0">
                    <a:pos x="76" y="160"/>
                  </a:cxn>
                  <a:cxn ang="0">
                    <a:pos x="44" y="192"/>
                  </a:cxn>
                  <a:cxn ang="0">
                    <a:pos x="110" y="204"/>
                  </a:cxn>
                  <a:cxn ang="0">
                    <a:pos x="210" y="202"/>
                  </a:cxn>
                  <a:cxn ang="0">
                    <a:pos x="276" y="214"/>
                  </a:cxn>
                  <a:cxn ang="0">
                    <a:pos x="294" y="230"/>
                  </a:cxn>
                  <a:cxn ang="0">
                    <a:pos x="168" y="230"/>
                  </a:cxn>
                  <a:cxn ang="0">
                    <a:pos x="70" y="254"/>
                  </a:cxn>
                  <a:cxn ang="0">
                    <a:pos x="122" y="300"/>
                  </a:cxn>
                  <a:cxn ang="0">
                    <a:pos x="222" y="308"/>
                  </a:cxn>
                  <a:cxn ang="0">
                    <a:pos x="232" y="350"/>
                  </a:cxn>
                  <a:cxn ang="0">
                    <a:pos x="314" y="358"/>
                  </a:cxn>
                  <a:cxn ang="0">
                    <a:pos x="420" y="332"/>
                  </a:cxn>
                  <a:cxn ang="0">
                    <a:pos x="478" y="318"/>
                  </a:cxn>
                  <a:cxn ang="0">
                    <a:pos x="490" y="296"/>
                  </a:cxn>
                  <a:cxn ang="0">
                    <a:pos x="516" y="294"/>
                  </a:cxn>
                  <a:cxn ang="0">
                    <a:pos x="540" y="312"/>
                  </a:cxn>
                  <a:cxn ang="0">
                    <a:pos x="560" y="324"/>
                  </a:cxn>
                  <a:cxn ang="0">
                    <a:pos x="592" y="328"/>
                  </a:cxn>
                  <a:cxn ang="0">
                    <a:pos x="640" y="334"/>
                  </a:cxn>
                  <a:cxn ang="0">
                    <a:pos x="680" y="324"/>
                  </a:cxn>
                  <a:cxn ang="0">
                    <a:pos x="700" y="306"/>
                  </a:cxn>
                  <a:cxn ang="0">
                    <a:pos x="692" y="288"/>
                  </a:cxn>
                  <a:cxn ang="0">
                    <a:pos x="648" y="300"/>
                  </a:cxn>
                  <a:cxn ang="0">
                    <a:pos x="632" y="278"/>
                  </a:cxn>
                  <a:cxn ang="0">
                    <a:pos x="660" y="282"/>
                  </a:cxn>
                  <a:cxn ang="0">
                    <a:pos x="668" y="272"/>
                  </a:cxn>
                </a:cxnLst>
                <a:rect l="0" t="0" r="r" b="b"/>
                <a:pathLst>
                  <a:path w="736" h="358">
                    <a:moveTo>
                      <a:pt x="674" y="264"/>
                    </a:moveTo>
                    <a:lnTo>
                      <a:pt x="674" y="264"/>
                    </a:lnTo>
                    <a:lnTo>
                      <a:pt x="682" y="262"/>
                    </a:lnTo>
                    <a:lnTo>
                      <a:pt x="686" y="262"/>
                    </a:lnTo>
                    <a:lnTo>
                      <a:pt x="690" y="264"/>
                    </a:lnTo>
                    <a:lnTo>
                      <a:pt x="694" y="268"/>
                    </a:lnTo>
                    <a:lnTo>
                      <a:pt x="700" y="272"/>
                    </a:lnTo>
                    <a:lnTo>
                      <a:pt x="702" y="274"/>
                    </a:lnTo>
                    <a:lnTo>
                      <a:pt x="704" y="272"/>
                    </a:lnTo>
                    <a:lnTo>
                      <a:pt x="704" y="272"/>
                    </a:lnTo>
                    <a:lnTo>
                      <a:pt x="710" y="268"/>
                    </a:lnTo>
                    <a:lnTo>
                      <a:pt x="714" y="268"/>
                    </a:lnTo>
                    <a:lnTo>
                      <a:pt x="718" y="272"/>
                    </a:lnTo>
                    <a:lnTo>
                      <a:pt x="720" y="274"/>
                    </a:lnTo>
                    <a:lnTo>
                      <a:pt x="726" y="274"/>
                    </a:lnTo>
                    <a:lnTo>
                      <a:pt x="726" y="274"/>
                    </a:lnTo>
                    <a:lnTo>
                      <a:pt x="730" y="274"/>
                    </a:lnTo>
                    <a:lnTo>
                      <a:pt x="734" y="272"/>
                    </a:lnTo>
                    <a:lnTo>
                      <a:pt x="736" y="268"/>
                    </a:lnTo>
                    <a:lnTo>
                      <a:pt x="736" y="264"/>
                    </a:lnTo>
                    <a:lnTo>
                      <a:pt x="736" y="254"/>
                    </a:lnTo>
                    <a:lnTo>
                      <a:pt x="734" y="244"/>
                    </a:lnTo>
                    <a:lnTo>
                      <a:pt x="734" y="244"/>
                    </a:lnTo>
                    <a:lnTo>
                      <a:pt x="732" y="240"/>
                    </a:lnTo>
                    <a:lnTo>
                      <a:pt x="728" y="238"/>
                    </a:lnTo>
                    <a:lnTo>
                      <a:pt x="720" y="238"/>
                    </a:lnTo>
                    <a:lnTo>
                      <a:pt x="712" y="238"/>
                    </a:lnTo>
                    <a:lnTo>
                      <a:pt x="708" y="238"/>
                    </a:lnTo>
                    <a:lnTo>
                      <a:pt x="708" y="234"/>
                    </a:lnTo>
                    <a:lnTo>
                      <a:pt x="708" y="234"/>
                    </a:lnTo>
                    <a:lnTo>
                      <a:pt x="706" y="230"/>
                    </a:lnTo>
                    <a:lnTo>
                      <a:pt x="704" y="230"/>
                    </a:lnTo>
                    <a:lnTo>
                      <a:pt x="698" y="228"/>
                    </a:lnTo>
                    <a:lnTo>
                      <a:pt x="692" y="228"/>
                    </a:lnTo>
                    <a:lnTo>
                      <a:pt x="684" y="224"/>
                    </a:lnTo>
                    <a:lnTo>
                      <a:pt x="674" y="218"/>
                    </a:lnTo>
                    <a:lnTo>
                      <a:pt x="660" y="210"/>
                    </a:lnTo>
                    <a:lnTo>
                      <a:pt x="660" y="210"/>
                    </a:lnTo>
                    <a:lnTo>
                      <a:pt x="652" y="204"/>
                    </a:lnTo>
                    <a:lnTo>
                      <a:pt x="648" y="200"/>
                    </a:lnTo>
                    <a:lnTo>
                      <a:pt x="644" y="202"/>
                    </a:lnTo>
                    <a:lnTo>
                      <a:pt x="646" y="206"/>
                    </a:lnTo>
                    <a:lnTo>
                      <a:pt x="646" y="206"/>
                    </a:lnTo>
                    <a:lnTo>
                      <a:pt x="646" y="208"/>
                    </a:lnTo>
                    <a:lnTo>
                      <a:pt x="642" y="210"/>
                    </a:lnTo>
                    <a:lnTo>
                      <a:pt x="632" y="208"/>
                    </a:lnTo>
                    <a:lnTo>
                      <a:pt x="618" y="200"/>
                    </a:lnTo>
                    <a:lnTo>
                      <a:pt x="612" y="196"/>
                    </a:lnTo>
                    <a:lnTo>
                      <a:pt x="608" y="190"/>
                    </a:lnTo>
                    <a:lnTo>
                      <a:pt x="608" y="190"/>
                    </a:lnTo>
                    <a:lnTo>
                      <a:pt x="602" y="184"/>
                    </a:lnTo>
                    <a:lnTo>
                      <a:pt x="598" y="180"/>
                    </a:lnTo>
                    <a:lnTo>
                      <a:pt x="590" y="174"/>
                    </a:lnTo>
                    <a:lnTo>
                      <a:pt x="586" y="172"/>
                    </a:lnTo>
                    <a:lnTo>
                      <a:pt x="584" y="168"/>
                    </a:lnTo>
                    <a:lnTo>
                      <a:pt x="586" y="166"/>
                    </a:lnTo>
                    <a:lnTo>
                      <a:pt x="588" y="162"/>
                    </a:lnTo>
                    <a:lnTo>
                      <a:pt x="588" y="162"/>
                    </a:lnTo>
                    <a:lnTo>
                      <a:pt x="594" y="152"/>
                    </a:lnTo>
                    <a:lnTo>
                      <a:pt x="596" y="146"/>
                    </a:lnTo>
                    <a:lnTo>
                      <a:pt x="596" y="140"/>
                    </a:lnTo>
                    <a:lnTo>
                      <a:pt x="594" y="134"/>
                    </a:lnTo>
                    <a:lnTo>
                      <a:pt x="592" y="128"/>
                    </a:lnTo>
                    <a:lnTo>
                      <a:pt x="588" y="124"/>
                    </a:lnTo>
                    <a:lnTo>
                      <a:pt x="582" y="118"/>
                    </a:lnTo>
                    <a:lnTo>
                      <a:pt x="582" y="118"/>
                    </a:lnTo>
                    <a:lnTo>
                      <a:pt x="576" y="112"/>
                    </a:lnTo>
                    <a:lnTo>
                      <a:pt x="572" y="102"/>
                    </a:lnTo>
                    <a:lnTo>
                      <a:pt x="566" y="82"/>
                    </a:lnTo>
                    <a:lnTo>
                      <a:pt x="560" y="58"/>
                    </a:lnTo>
                    <a:lnTo>
                      <a:pt x="554" y="48"/>
                    </a:lnTo>
                    <a:lnTo>
                      <a:pt x="548" y="38"/>
                    </a:lnTo>
                    <a:lnTo>
                      <a:pt x="548" y="38"/>
                    </a:lnTo>
                    <a:lnTo>
                      <a:pt x="540" y="28"/>
                    </a:lnTo>
                    <a:lnTo>
                      <a:pt x="532" y="24"/>
                    </a:lnTo>
                    <a:lnTo>
                      <a:pt x="522" y="20"/>
                    </a:lnTo>
                    <a:lnTo>
                      <a:pt x="506" y="10"/>
                    </a:lnTo>
                    <a:lnTo>
                      <a:pt x="506" y="10"/>
                    </a:lnTo>
                    <a:lnTo>
                      <a:pt x="498" y="6"/>
                    </a:lnTo>
                    <a:lnTo>
                      <a:pt x="492" y="4"/>
                    </a:lnTo>
                    <a:lnTo>
                      <a:pt x="490" y="4"/>
                    </a:lnTo>
                    <a:lnTo>
                      <a:pt x="488" y="6"/>
                    </a:lnTo>
                    <a:lnTo>
                      <a:pt x="486" y="8"/>
                    </a:lnTo>
                    <a:lnTo>
                      <a:pt x="482" y="10"/>
                    </a:lnTo>
                    <a:lnTo>
                      <a:pt x="476" y="10"/>
                    </a:lnTo>
                    <a:lnTo>
                      <a:pt x="464" y="6"/>
                    </a:lnTo>
                    <a:lnTo>
                      <a:pt x="464" y="6"/>
                    </a:lnTo>
                    <a:lnTo>
                      <a:pt x="450" y="2"/>
                    </a:lnTo>
                    <a:lnTo>
                      <a:pt x="446" y="2"/>
                    </a:lnTo>
                    <a:lnTo>
                      <a:pt x="440" y="4"/>
                    </a:lnTo>
                    <a:lnTo>
                      <a:pt x="438" y="8"/>
                    </a:lnTo>
                    <a:lnTo>
                      <a:pt x="436" y="12"/>
                    </a:lnTo>
                    <a:lnTo>
                      <a:pt x="436" y="20"/>
                    </a:lnTo>
                    <a:lnTo>
                      <a:pt x="440" y="28"/>
                    </a:lnTo>
                    <a:lnTo>
                      <a:pt x="440" y="28"/>
                    </a:lnTo>
                    <a:lnTo>
                      <a:pt x="444" y="38"/>
                    </a:lnTo>
                    <a:lnTo>
                      <a:pt x="446" y="48"/>
                    </a:lnTo>
                    <a:lnTo>
                      <a:pt x="450" y="68"/>
                    </a:lnTo>
                    <a:lnTo>
                      <a:pt x="454" y="78"/>
                    </a:lnTo>
                    <a:lnTo>
                      <a:pt x="458" y="88"/>
                    </a:lnTo>
                    <a:lnTo>
                      <a:pt x="464" y="98"/>
                    </a:lnTo>
                    <a:lnTo>
                      <a:pt x="472" y="106"/>
                    </a:lnTo>
                    <a:lnTo>
                      <a:pt x="472" y="106"/>
                    </a:lnTo>
                    <a:lnTo>
                      <a:pt x="476" y="110"/>
                    </a:lnTo>
                    <a:lnTo>
                      <a:pt x="478" y="114"/>
                    </a:lnTo>
                    <a:lnTo>
                      <a:pt x="478" y="116"/>
                    </a:lnTo>
                    <a:lnTo>
                      <a:pt x="474" y="118"/>
                    </a:lnTo>
                    <a:lnTo>
                      <a:pt x="468" y="122"/>
                    </a:lnTo>
                    <a:lnTo>
                      <a:pt x="462" y="128"/>
                    </a:lnTo>
                    <a:lnTo>
                      <a:pt x="462" y="128"/>
                    </a:lnTo>
                    <a:lnTo>
                      <a:pt x="458" y="130"/>
                    </a:lnTo>
                    <a:lnTo>
                      <a:pt x="456" y="132"/>
                    </a:lnTo>
                    <a:lnTo>
                      <a:pt x="452" y="130"/>
                    </a:lnTo>
                    <a:lnTo>
                      <a:pt x="446" y="122"/>
                    </a:lnTo>
                    <a:lnTo>
                      <a:pt x="434" y="104"/>
                    </a:lnTo>
                    <a:lnTo>
                      <a:pt x="434" y="104"/>
                    </a:lnTo>
                    <a:lnTo>
                      <a:pt x="430" y="94"/>
                    </a:lnTo>
                    <a:lnTo>
                      <a:pt x="426" y="84"/>
                    </a:lnTo>
                    <a:lnTo>
                      <a:pt x="420" y="68"/>
                    </a:lnTo>
                    <a:lnTo>
                      <a:pt x="418" y="62"/>
                    </a:lnTo>
                    <a:lnTo>
                      <a:pt x="412" y="56"/>
                    </a:lnTo>
                    <a:lnTo>
                      <a:pt x="406" y="50"/>
                    </a:lnTo>
                    <a:lnTo>
                      <a:pt x="396" y="46"/>
                    </a:lnTo>
                    <a:lnTo>
                      <a:pt x="396" y="46"/>
                    </a:lnTo>
                    <a:lnTo>
                      <a:pt x="384" y="42"/>
                    </a:lnTo>
                    <a:lnTo>
                      <a:pt x="382" y="40"/>
                    </a:lnTo>
                    <a:lnTo>
                      <a:pt x="384" y="38"/>
                    </a:lnTo>
                    <a:lnTo>
                      <a:pt x="384" y="36"/>
                    </a:lnTo>
                    <a:lnTo>
                      <a:pt x="384" y="34"/>
                    </a:lnTo>
                    <a:lnTo>
                      <a:pt x="380" y="32"/>
                    </a:lnTo>
                    <a:lnTo>
                      <a:pt x="372" y="30"/>
                    </a:lnTo>
                    <a:lnTo>
                      <a:pt x="372" y="30"/>
                    </a:lnTo>
                    <a:lnTo>
                      <a:pt x="354" y="26"/>
                    </a:lnTo>
                    <a:lnTo>
                      <a:pt x="340" y="26"/>
                    </a:lnTo>
                    <a:lnTo>
                      <a:pt x="338" y="28"/>
                    </a:lnTo>
                    <a:lnTo>
                      <a:pt x="338" y="30"/>
                    </a:lnTo>
                    <a:lnTo>
                      <a:pt x="340" y="32"/>
                    </a:lnTo>
                    <a:lnTo>
                      <a:pt x="346" y="36"/>
                    </a:lnTo>
                    <a:lnTo>
                      <a:pt x="346" y="36"/>
                    </a:lnTo>
                    <a:lnTo>
                      <a:pt x="352" y="40"/>
                    </a:lnTo>
                    <a:lnTo>
                      <a:pt x="356" y="44"/>
                    </a:lnTo>
                    <a:lnTo>
                      <a:pt x="358" y="46"/>
                    </a:lnTo>
                    <a:lnTo>
                      <a:pt x="356" y="48"/>
                    </a:lnTo>
                    <a:lnTo>
                      <a:pt x="356" y="52"/>
                    </a:lnTo>
                    <a:lnTo>
                      <a:pt x="362" y="54"/>
                    </a:lnTo>
                    <a:lnTo>
                      <a:pt x="362" y="54"/>
                    </a:lnTo>
                    <a:lnTo>
                      <a:pt x="372" y="58"/>
                    </a:lnTo>
                    <a:lnTo>
                      <a:pt x="376" y="62"/>
                    </a:lnTo>
                    <a:lnTo>
                      <a:pt x="376" y="64"/>
                    </a:lnTo>
                    <a:lnTo>
                      <a:pt x="372" y="64"/>
                    </a:lnTo>
                    <a:lnTo>
                      <a:pt x="354" y="60"/>
                    </a:lnTo>
                    <a:lnTo>
                      <a:pt x="354" y="60"/>
                    </a:lnTo>
                    <a:lnTo>
                      <a:pt x="344" y="60"/>
                    </a:lnTo>
                    <a:lnTo>
                      <a:pt x="336" y="62"/>
                    </a:lnTo>
                    <a:lnTo>
                      <a:pt x="332" y="66"/>
                    </a:lnTo>
                    <a:lnTo>
                      <a:pt x="330" y="70"/>
                    </a:lnTo>
                    <a:lnTo>
                      <a:pt x="328" y="76"/>
                    </a:lnTo>
                    <a:lnTo>
                      <a:pt x="326" y="78"/>
                    </a:lnTo>
                    <a:lnTo>
                      <a:pt x="322" y="78"/>
                    </a:lnTo>
                    <a:lnTo>
                      <a:pt x="318" y="74"/>
                    </a:lnTo>
                    <a:lnTo>
                      <a:pt x="318" y="74"/>
                    </a:lnTo>
                    <a:lnTo>
                      <a:pt x="314" y="68"/>
                    </a:lnTo>
                    <a:lnTo>
                      <a:pt x="314" y="64"/>
                    </a:lnTo>
                    <a:lnTo>
                      <a:pt x="318" y="56"/>
                    </a:lnTo>
                    <a:lnTo>
                      <a:pt x="318" y="52"/>
                    </a:lnTo>
                    <a:lnTo>
                      <a:pt x="316" y="48"/>
                    </a:lnTo>
                    <a:lnTo>
                      <a:pt x="310" y="44"/>
                    </a:lnTo>
                    <a:lnTo>
                      <a:pt x="296" y="40"/>
                    </a:lnTo>
                    <a:lnTo>
                      <a:pt x="296" y="40"/>
                    </a:lnTo>
                    <a:lnTo>
                      <a:pt x="268" y="34"/>
                    </a:lnTo>
                    <a:lnTo>
                      <a:pt x="250" y="30"/>
                    </a:lnTo>
                    <a:lnTo>
                      <a:pt x="238" y="32"/>
                    </a:lnTo>
                    <a:lnTo>
                      <a:pt x="230" y="36"/>
                    </a:lnTo>
                    <a:lnTo>
                      <a:pt x="230" y="36"/>
                    </a:lnTo>
                    <a:lnTo>
                      <a:pt x="224" y="38"/>
                    </a:lnTo>
                    <a:lnTo>
                      <a:pt x="224" y="42"/>
                    </a:lnTo>
                    <a:lnTo>
                      <a:pt x="226" y="46"/>
                    </a:lnTo>
                    <a:lnTo>
                      <a:pt x="224" y="48"/>
                    </a:lnTo>
                    <a:lnTo>
                      <a:pt x="220" y="50"/>
                    </a:lnTo>
                    <a:lnTo>
                      <a:pt x="198" y="58"/>
                    </a:lnTo>
                    <a:lnTo>
                      <a:pt x="198" y="58"/>
                    </a:lnTo>
                    <a:lnTo>
                      <a:pt x="190" y="60"/>
                    </a:lnTo>
                    <a:lnTo>
                      <a:pt x="186" y="60"/>
                    </a:lnTo>
                    <a:lnTo>
                      <a:pt x="192" y="54"/>
                    </a:lnTo>
                    <a:lnTo>
                      <a:pt x="204" y="44"/>
                    </a:lnTo>
                    <a:lnTo>
                      <a:pt x="206" y="40"/>
                    </a:lnTo>
                    <a:lnTo>
                      <a:pt x="206" y="36"/>
                    </a:lnTo>
                    <a:lnTo>
                      <a:pt x="206" y="36"/>
                    </a:lnTo>
                    <a:lnTo>
                      <a:pt x="206" y="32"/>
                    </a:lnTo>
                    <a:lnTo>
                      <a:pt x="206" y="28"/>
                    </a:lnTo>
                    <a:lnTo>
                      <a:pt x="208" y="20"/>
                    </a:lnTo>
                    <a:lnTo>
                      <a:pt x="208" y="16"/>
                    </a:lnTo>
                    <a:lnTo>
                      <a:pt x="208" y="12"/>
                    </a:lnTo>
                    <a:lnTo>
                      <a:pt x="204" y="8"/>
                    </a:lnTo>
                    <a:lnTo>
                      <a:pt x="196" y="2"/>
                    </a:lnTo>
                    <a:lnTo>
                      <a:pt x="196" y="2"/>
                    </a:lnTo>
                    <a:lnTo>
                      <a:pt x="186" y="0"/>
                    </a:lnTo>
                    <a:lnTo>
                      <a:pt x="176" y="0"/>
                    </a:lnTo>
                    <a:lnTo>
                      <a:pt x="162" y="4"/>
                    </a:lnTo>
                    <a:lnTo>
                      <a:pt x="150" y="8"/>
                    </a:lnTo>
                    <a:lnTo>
                      <a:pt x="122" y="18"/>
                    </a:lnTo>
                    <a:lnTo>
                      <a:pt x="100" y="26"/>
                    </a:lnTo>
                    <a:lnTo>
                      <a:pt x="100" y="26"/>
                    </a:lnTo>
                    <a:lnTo>
                      <a:pt x="82" y="32"/>
                    </a:lnTo>
                    <a:lnTo>
                      <a:pt x="66" y="40"/>
                    </a:lnTo>
                    <a:lnTo>
                      <a:pt x="32" y="60"/>
                    </a:lnTo>
                    <a:lnTo>
                      <a:pt x="32" y="60"/>
                    </a:lnTo>
                    <a:lnTo>
                      <a:pt x="24" y="66"/>
                    </a:lnTo>
                    <a:lnTo>
                      <a:pt x="22" y="70"/>
                    </a:lnTo>
                    <a:lnTo>
                      <a:pt x="22" y="72"/>
                    </a:lnTo>
                    <a:lnTo>
                      <a:pt x="26" y="74"/>
                    </a:lnTo>
                    <a:lnTo>
                      <a:pt x="36" y="78"/>
                    </a:lnTo>
                    <a:lnTo>
                      <a:pt x="40" y="80"/>
                    </a:lnTo>
                    <a:lnTo>
                      <a:pt x="42" y="82"/>
                    </a:lnTo>
                    <a:lnTo>
                      <a:pt x="42" y="82"/>
                    </a:lnTo>
                    <a:lnTo>
                      <a:pt x="42" y="86"/>
                    </a:lnTo>
                    <a:lnTo>
                      <a:pt x="40" y="86"/>
                    </a:lnTo>
                    <a:lnTo>
                      <a:pt x="32" y="90"/>
                    </a:lnTo>
                    <a:lnTo>
                      <a:pt x="20" y="94"/>
                    </a:lnTo>
                    <a:lnTo>
                      <a:pt x="16" y="98"/>
                    </a:lnTo>
                    <a:lnTo>
                      <a:pt x="10" y="104"/>
                    </a:lnTo>
                    <a:lnTo>
                      <a:pt x="10" y="104"/>
                    </a:lnTo>
                    <a:lnTo>
                      <a:pt x="4" y="110"/>
                    </a:lnTo>
                    <a:lnTo>
                      <a:pt x="2" y="116"/>
                    </a:lnTo>
                    <a:lnTo>
                      <a:pt x="0" y="122"/>
                    </a:lnTo>
                    <a:lnTo>
                      <a:pt x="0" y="126"/>
                    </a:lnTo>
                    <a:lnTo>
                      <a:pt x="2" y="130"/>
                    </a:lnTo>
                    <a:lnTo>
                      <a:pt x="6" y="132"/>
                    </a:lnTo>
                    <a:lnTo>
                      <a:pt x="10" y="132"/>
                    </a:lnTo>
                    <a:lnTo>
                      <a:pt x="14" y="130"/>
                    </a:lnTo>
                    <a:lnTo>
                      <a:pt x="14" y="130"/>
                    </a:lnTo>
                    <a:lnTo>
                      <a:pt x="20" y="128"/>
                    </a:lnTo>
                    <a:lnTo>
                      <a:pt x="24" y="126"/>
                    </a:lnTo>
                    <a:lnTo>
                      <a:pt x="26" y="128"/>
                    </a:lnTo>
                    <a:lnTo>
                      <a:pt x="28" y="130"/>
                    </a:lnTo>
                    <a:lnTo>
                      <a:pt x="30" y="138"/>
                    </a:lnTo>
                    <a:lnTo>
                      <a:pt x="34" y="146"/>
                    </a:lnTo>
                    <a:lnTo>
                      <a:pt x="34" y="146"/>
                    </a:lnTo>
                    <a:lnTo>
                      <a:pt x="38" y="150"/>
                    </a:lnTo>
                    <a:lnTo>
                      <a:pt x="44" y="150"/>
                    </a:lnTo>
                    <a:lnTo>
                      <a:pt x="64" y="150"/>
                    </a:lnTo>
                    <a:lnTo>
                      <a:pt x="88" y="144"/>
                    </a:lnTo>
                    <a:lnTo>
                      <a:pt x="104" y="140"/>
                    </a:lnTo>
                    <a:lnTo>
                      <a:pt x="104" y="140"/>
                    </a:lnTo>
                    <a:lnTo>
                      <a:pt x="116" y="140"/>
                    </a:lnTo>
                    <a:lnTo>
                      <a:pt x="120" y="142"/>
                    </a:lnTo>
                    <a:lnTo>
                      <a:pt x="122" y="144"/>
                    </a:lnTo>
                    <a:lnTo>
                      <a:pt x="120" y="146"/>
                    </a:lnTo>
                    <a:lnTo>
                      <a:pt x="114" y="150"/>
                    </a:lnTo>
                    <a:lnTo>
                      <a:pt x="98" y="156"/>
                    </a:lnTo>
                    <a:lnTo>
                      <a:pt x="76" y="160"/>
                    </a:lnTo>
                    <a:lnTo>
                      <a:pt x="76" y="160"/>
                    </a:lnTo>
                    <a:lnTo>
                      <a:pt x="46" y="168"/>
                    </a:lnTo>
                    <a:lnTo>
                      <a:pt x="38" y="170"/>
                    </a:lnTo>
                    <a:lnTo>
                      <a:pt x="34" y="174"/>
                    </a:lnTo>
                    <a:lnTo>
                      <a:pt x="32" y="178"/>
                    </a:lnTo>
                    <a:lnTo>
                      <a:pt x="34" y="182"/>
                    </a:lnTo>
                    <a:lnTo>
                      <a:pt x="38" y="188"/>
                    </a:lnTo>
                    <a:lnTo>
                      <a:pt x="44" y="192"/>
                    </a:lnTo>
                    <a:lnTo>
                      <a:pt x="44" y="192"/>
                    </a:lnTo>
                    <a:lnTo>
                      <a:pt x="56" y="202"/>
                    </a:lnTo>
                    <a:lnTo>
                      <a:pt x="66" y="206"/>
                    </a:lnTo>
                    <a:lnTo>
                      <a:pt x="76" y="206"/>
                    </a:lnTo>
                    <a:lnTo>
                      <a:pt x="94" y="204"/>
                    </a:lnTo>
                    <a:lnTo>
                      <a:pt x="94" y="204"/>
                    </a:lnTo>
                    <a:lnTo>
                      <a:pt x="110" y="204"/>
                    </a:lnTo>
                    <a:lnTo>
                      <a:pt x="120" y="206"/>
                    </a:lnTo>
                    <a:lnTo>
                      <a:pt x="132" y="208"/>
                    </a:lnTo>
                    <a:lnTo>
                      <a:pt x="152" y="208"/>
                    </a:lnTo>
                    <a:lnTo>
                      <a:pt x="152" y="208"/>
                    </a:lnTo>
                    <a:lnTo>
                      <a:pt x="176" y="206"/>
                    </a:lnTo>
                    <a:lnTo>
                      <a:pt x="194" y="202"/>
                    </a:lnTo>
                    <a:lnTo>
                      <a:pt x="210" y="202"/>
                    </a:lnTo>
                    <a:lnTo>
                      <a:pt x="220" y="202"/>
                    </a:lnTo>
                    <a:lnTo>
                      <a:pt x="232" y="204"/>
                    </a:lnTo>
                    <a:lnTo>
                      <a:pt x="232" y="204"/>
                    </a:lnTo>
                    <a:lnTo>
                      <a:pt x="250" y="208"/>
                    </a:lnTo>
                    <a:lnTo>
                      <a:pt x="262" y="210"/>
                    </a:lnTo>
                    <a:lnTo>
                      <a:pt x="268" y="210"/>
                    </a:lnTo>
                    <a:lnTo>
                      <a:pt x="276" y="214"/>
                    </a:lnTo>
                    <a:lnTo>
                      <a:pt x="276" y="214"/>
                    </a:lnTo>
                    <a:lnTo>
                      <a:pt x="290" y="220"/>
                    </a:lnTo>
                    <a:lnTo>
                      <a:pt x="302" y="226"/>
                    </a:lnTo>
                    <a:lnTo>
                      <a:pt x="306" y="228"/>
                    </a:lnTo>
                    <a:lnTo>
                      <a:pt x="306" y="230"/>
                    </a:lnTo>
                    <a:lnTo>
                      <a:pt x="294" y="230"/>
                    </a:lnTo>
                    <a:lnTo>
                      <a:pt x="294" y="230"/>
                    </a:lnTo>
                    <a:lnTo>
                      <a:pt x="280" y="230"/>
                    </a:lnTo>
                    <a:lnTo>
                      <a:pt x="276" y="232"/>
                    </a:lnTo>
                    <a:lnTo>
                      <a:pt x="268" y="232"/>
                    </a:lnTo>
                    <a:lnTo>
                      <a:pt x="246" y="230"/>
                    </a:lnTo>
                    <a:lnTo>
                      <a:pt x="246" y="230"/>
                    </a:lnTo>
                    <a:lnTo>
                      <a:pt x="210" y="228"/>
                    </a:lnTo>
                    <a:lnTo>
                      <a:pt x="168" y="230"/>
                    </a:lnTo>
                    <a:lnTo>
                      <a:pt x="126" y="234"/>
                    </a:lnTo>
                    <a:lnTo>
                      <a:pt x="90" y="240"/>
                    </a:lnTo>
                    <a:lnTo>
                      <a:pt x="90" y="240"/>
                    </a:lnTo>
                    <a:lnTo>
                      <a:pt x="76" y="244"/>
                    </a:lnTo>
                    <a:lnTo>
                      <a:pt x="70" y="250"/>
                    </a:lnTo>
                    <a:lnTo>
                      <a:pt x="70" y="252"/>
                    </a:lnTo>
                    <a:lnTo>
                      <a:pt x="70" y="254"/>
                    </a:lnTo>
                    <a:lnTo>
                      <a:pt x="72" y="262"/>
                    </a:lnTo>
                    <a:lnTo>
                      <a:pt x="78" y="268"/>
                    </a:lnTo>
                    <a:lnTo>
                      <a:pt x="86" y="274"/>
                    </a:lnTo>
                    <a:lnTo>
                      <a:pt x="100" y="290"/>
                    </a:lnTo>
                    <a:lnTo>
                      <a:pt x="100" y="290"/>
                    </a:lnTo>
                    <a:lnTo>
                      <a:pt x="110" y="296"/>
                    </a:lnTo>
                    <a:lnTo>
                      <a:pt x="122" y="300"/>
                    </a:lnTo>
                    <a:lnTo>
                      <a:pt x="138" y="302"/>
                    </a:lnTo>
                    <a:lnTo>
                      <a:pt x="156" y="304"/>
                    </a:lnTo>
                    <a:lnTo>
                      <a:pt x="190" y="304"/>
                    </a:lnTo>
                    <a:lnTo>
                      <a:pt x="214" y="304"/>
                    </a:lnTo>
                    <a:lnTo>
                      <a:pt x="214" y="304"/>
                    </a:lnTo>
                    <a:lnTo>
                      <a:pt x="220" y="306"/>
                    </a:lnTo>
                    <a:lnTo>
                      <a:pt x="222" y="308"/>
                    </a:lnTo>
                    <a:lnTo>
                      <a:pt x="224" y="314"/>
                    </a:lnTo>
                    <a:lnTo>
                      <a:pt x="224" y="320"/>
                    </a:lnTo>
                    <a:lnTo>
                      <a:pt x="222" y="332"/>
                    </a:lnTo>
                    <a:lnTo>
                      <a:pt x="222" y="338"/>
                    </a:lnTo>
                    <a:lnTo>
                      <a:pt x="224" y="342"/>
                    </a:lnTo>
                    <a:lnTo>
                      <a:pt x="224" y="342"/>
                    </a:lnTo>
                    <a:lnTo>
                      <a:pt x="232" y="350"/>
                    </a:lnTo>
                    <a:lnTo>
                      <a:pt x="238" y="356"/>
                    </a:lnTo>
                    <a:lnTo>
                      <a:pt x="246" y="358"/>
                    </a:lnTo>
                    <a:lnTo>
                      <a:pt x="260" y="358"/>
                    </a:lnTo>
                    <a:lnTo>
                      <a:pt x="260" y="358"/>
                    </a:lnTo>
                    <a:lnTo>
                      <a:pt x="282" y="358"/>
                    </a:lnTo>
                    <a:lnTo>
                      <a:pt x="300" y="358"/>
                    </a:lnTo>
                    <a:lnTo>
                      <a:pt x="314" y="358"/>
                    </a:lnTo>
                    <a:lnTo>
                      <a:pt x="324" y="356"/>
                    </a:lnTo>
                    <a:lnTo>
                      <a:pt x="324" y="356"/>
                    </a:lnTo>
                    <a:lnTo>
                      <a:pt x="342" y="352"/>
                    </a:lnTo>
                    <a:lnTo>
                      <a:pt x="370" y="348"/>
                    </a:lnTo>
                    <a:lnTo>
                      <a:pt x="398" y="342"/>
                    </a:lnTo>
                    <a:lnTo>
                      <a:pt x="412" y="338"/>
                    </a:lnTo>
                    <a:lnTo>
                      <a:pt x="420" y="332"/>
                    </a:lnTo>
                    <a:lnTo>
                      <a:pt x="420" y="332"/>
                    </a:lnTo>
                    <a:lnTo>
                      <a:pt x="428" y="328"/>
                    </a:lnTo>
                    <a:lnTo>
                      <a:pt x="436" y="326"/>
                    </a:lnTo>
                    <a:lnTo>
                      <a:pt x="450" y="326"/>
                    </a:lnTo>
                    <a:lnTo>
                      <a:pt x="462" y="324"/>
                    </a:lnTo>
                    <a:lnTo>
                      <a:pt x="470" y="322"/>
                    </a:lnTo>
                    <a:lnTo>
                      <a:pt x="478" y="318"/>
                    </a:lnTo>
                    <a:lnTo>
                      <a:pt x="478" y="318"/>
                    </a:lnTo>
                    <a:lnTo>
                      <a:pt x="486" y="312"/>
                    </a:lnTo>
                    <a:lnTo>
                      <a:pt x="488" y="308"/>
                    </a:lnTo>
                    <a:lnTo>
                      <a:pt x="490" y="304"/>
                    </a:lnTo>
                    <a:lnTo>
                      <a:pt x="490" y="302"/>
                    </a:lnTo>
                    <a:lnTo>
                      <a:pt x="490" y="300"/>
                    </a:lnTo>
                    <a:lnTo>
                      <a:pt x="490" y="296"/>
                    </a:lnTo>
                    <a:lnTo>
                      <a:pt x="494" y="294"/>
                    </a:lnTo>
                    <a:lnTo>
                      <a:pt x="500" y="290"/>
                    </a:lnTo>
                    <a:lnTo>
                      <a:pt x="500" y="290"/>
                    </a:lnTo>
                    <a:lnTo>
                      <a:pt x="506" y="288"/>
                    </a:lnTo>
                    <a:lnTo>
                      <a:pt x="512" y="290"/>
                    </a:lnTo>
                    <a:lnTo>
                      <a:pt x="514" y="292"/>
                    </a:lnTo>
                    <a:lnTo>
                      <a:pt x="516" y="294"/>
                    </a:lnTo>
                    <a:lnTo>
                      <a:pt x="514" y="304"/>
                    </a:lnTo>
                    <a:lnTo>
                      <a:pt x="514" y="304"/>
                    </a:lnTo>
                    <a:lnTo>
                      <a:pt x="514" y="312"/>
                    </a:lnTo>
                    <a:lnTo>
                      <a:pt x="514" y="312"/>
                    </a:lnTo>
                    <a:lnTo>
                      <a:pt x="518" y="312"/>
                    </a:lnTo>
                    <a:lnTo>
                      <a:pt x="530" y="310"/>
                    </a:lnTo>
                    <a:lnTo>
                      <a:pt x="540" y="312"/>
                    </a:lnTo>
                    <a:lnTo>
                      <a:pt x="554" y="314"/>
                    </a:lnTo>
                    <a:lnTo>
                      <a:pt x="554" y="314"/>
                    </a:lnTo>
                    <a:lnTo>
                      <a:pt x="564" y="318"/>
                    </a:lnTo>
                    <a:lnTo>
                      <a:pt x="568" y="320"/>
                    </a:lnTo>
                    <a:lnTo>
                      <a:pt x="568" y="322"/>
                    </a:lnTo>
                    <a:lnTo>
                      <a:pt x="566" y="322"/>
                    </a:lnTo>
                    <a:lnTo>
                      <a:pt x="560" y="324"/>
                    </a:lnTo>
                    <a:lnTo>
                      <a:pt x="562" y="326"/>
                    </a:lnTo>
                    <a:lnTo>
                      <a:pt x="568" y="330"/>
                    </a:lnTo>
                    <a:lnTo>
                      <a:pt x="568" y="330"/>
                    </a:lnTo>
                    <a:lnTo>
                      <a:pt x="576" y="332"/>
                    </a:lnTo>
                    <a:lnTo>
                      <a:pt x="582" y="332"/>
                    </a:lnTo>
                    <a:lnTo>
                      <a:pt x="588" y="330"/>
                    </a:lnTo>
                    <a:lnTo>
                      <a:pt x="592" y="328"/>
                    </a:lnTo>
                    <a:lnTo>
                      <a:pt x="596" y="328"/>
                    </a:lnTo>
                    <a:lnTo>
                      <a:pt x="602" y="328"/>
                    </a:lnTo>
                    <a:lnTo>
                      <a:pt x="612" y="332"/>
                    </a:lnTo>
                    <a:lnTo>
                      <a:pt x="612" y="332"/>
                    </a:lnTo>
                    <a:lnTo>
                      <a:pt x="628" y="336"/>
                    </a:lnTo>
                    <a:lnTo>
                      <a:pt x="636" y="336"/>
                    </a:lnTo>
                    <a:lnTo>
                      <a:pt x="640" y="334"/>
                    </a:lnTo>
                    <a:lnTo>
                      <a:pt x="648" y="336"/>
                    </a:lnTo>
                    <a:lnTo>
                      <a:pt x="648" y="336"/>
                    </a:lnTo>
                    <a:lnTo>
                      <a:pt x="654" y="336"/>
                    </a:lnTo>
                    <a:lnTo>
                      <a:pt x="658" y="336"/>
                    </a:lnTo>
                    <a:lnTo>
                      <a:pt x="668" y="332"/>
                    </a:lnTo>
                    <a:lnTo>
                      <a:pt x="676" y="326"/>
                    </a:lnTo>
                    <a:lnTo>
                      <a:pt x="680" y="324"/>
                    </a:lnTo>
                    <a:lnTo>
                      <a:pt x="686" y="324"/>
                    </a:lnTo>
                    <a:lnTo>
                      <a:pt x="686" y="324"/>
                    </a:lnTo>
                    <a:lnTo>
                      <a:pt x="694" y="322"/>
                    </a:lnTo>
                    <a:lnTo>
                      <a:pt x="700" y="316"/>
                    </a:lnTo>
                    <a:lnTo>
                      <a:pt x="702" y="314"/>
                    </a:lnTo>
                    <a:lnTo>
                      <a:pt x="702" y="310"/>
                    </a:lnTo>
                    <a:lnTo>
                      <a:pt x="700" y="306"/>
                    </a:lnTo>
                    <a:lnTo>
                      <a:pt x="696" y="304"/>
                    </a:lnTo>
                    <a:lnTo>
                      <a:pt x="696" y="304"/>
                    </a:lnTo>
                    <a:lnTo>
                      <a:pt x="692" y="300"/>
                    </a:lnTo>
                    <a:lnTo>
                      <a:pt x="690" y="298"/>
                    </a:lnTo>
                    <a:lnTo>
                      <a:pt x="692" y="294"/>
                    </a:lnTo>
                    <a:lnTo>
                      <a:pt x="694" y="290"/>
                    </a:lnTo>
                    <a:lnTo>
                      <a:pt x="692" y="288"/>
                    </a:lnTo>
                    <a:lnTo>
                      <a:pt x="688" y="286"/>
                    </a:lnTo>
                    <a:lnTo>
                      <a:pt x="688" y="286"/>
                    </a:lnTo>
                    <a:lnTo>
                      <a:pt x="682" y="286"/>
                    </a:lnTo>
                    <a:lnTo>
                      <a:pt x="674" y="288"/>
                    </a:lnTo>
                    <a:lnTo>
                      <a:pt x="660" y="296"/>
                    </a:lnTo>
                    <a:lnTo>
                      <a:pt x="648" y="300"/>
                    </a:lnTo>
                    <a:lnTo>
                      <a:pt x="648" y="300"/>
                    </a:lnTo>
                    <a:lnTo>
                      <a:pt x="650" y="296"/>
                    </a:lnTo>
                    <a:lnTo>
                      <a:pt x="650" y="296"/>
                    </a:lnTo>
                    <a:lnTo>
                      <a:pt x="652" y="290"/>
                    </a:lnTo>
                    <a:lnTo>
                      <a:pt x="650" y="286"/>
                    </a:lnTo>
                    <a:lnTo>
                      <a:pt x="646" y="284"/>
                    </a:lnTo>
                    <a:lnTo>
                      <a:pt x="642" y="280"/>
                    </a:lnTo>
                    <a:lnTo>
                      <a:pt x="632" y="278"/>
                    </a:lnTo>
                    <a:lnTo>
                      <a:pt x="630" y="276"/>
                    </a:lnTo>
                    <a:lnTo>
                      <a:pt x="632" y="274"/>
                    </a:lnTo>
                    <a:lnTo>
                      <a:pt x="632" y="274"/>
                    </a:lnTo>
                    <a:lnTo>
                      <a:pt x="634" y="272"/>
                    </a:lnTo>
                    <a:lnTo>
                      <a:pt x="638" y="272"/>
                    </a:lnTo>
                    <a:lnTo>
                      <a:pt x="650" y="278"/>
                    </a:lnTo>
                    <a:lnTo>
                      <a:pt x="660" y="282"/>
                    </a:lnTo>
                    <a:lnTo>
                      <a:pt x="666" y="282"/>
                    </a:lnTo>
                    <a:lnTo>
                      <a:pt x="670" y="280"/>
                    </a:lnTo>
                    <a:lnTo>
                      <a:pt x="670" y="280"/>
                    </a:lnTo>
                    <a:lnTo>
                      <a:pt x="672" y="278"/>
                    </a:lnTo>
                    <a:lnTo>
                      <a:pt x="672" y="276"/>
                    </a:lnTo>
                    <a:lnTo>
                      <a:pt x="670" y="272"/>
                    </a:lnTo>
                    <a:lnTo>
                      <a:pt x="668" y="272"/>
                    </a:lnTo>
                    <a:lnTo>
                      <a:pt x="668" y="270"/>
                    </a:lnTo>
                    <a:lnTo>
                      <a:pt x="670" y="266"/>
                    </a:lnTo>
                    <a:lnTo>
                      <a:pt x="674" y="264"/>
                    </a:lnTo>
                    <a:lnTo>
                      <a:pt x="674" y="26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4" name="Freeform 6115">
                <a:extLst>
                  <a:ext uri="{FF2B5EF4-FFF2-40B4-BE49-F238E27FC236}">
                    <a16:creationId xmlns:a16="http://schemas.microsoft.com/office/drawing/2014/main" id="{8208B4FD-952C-4115-A2ED-345328405052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76730" y="1203643"/>
                <a:ext cx="165100" cy="125730"/>
              </a:xfrm>
              <a:custGeom>
                <a:avLst/>
                <a:gdLst/>
                <a:ahLst/>
                <a:cxnLst>
                  <a:cxn ang="0">
                    <a:pos x="256" y="98"/>
                  </a:cxn>
                  <a:cxn ang="0">
                    <a:pos x="250" y="90"/>
                  </a:cxn>
                  <a:cxn ang="0">
                    <a:pos x="242" y="92"/>
                  </a:cxn>
                  <a:cxn ang="0">
                    <a:pos x="234" y="94"/>
                  </a:cxn>
                  <a:cxn ang="0">
                    <a:pos x="222" y="84"/>
                  </a:cxn>
                  <a:cxn ang="0">
                    <a:pos x="216" y="74"/>
                  </a:cxn>
                  <a:cxn ang="0">
                    <a:pos x="192" y="60"/>
                  </a:cxn>
                  <a:cxn ang="0">
                    <a:pos x="188" y="56"/>
                  </a:cxn>
                  <a:cxn ang="0">
                    <a:pos x="196" y="52"/>
                  </a:cxn>
                  <a:cxn ang="0">
                    <a:pos x="208" y="48"/>
                  </a:cxn>
                  <a:cxn ang="0">
                    <a:pos x="226" y="42"/>
                  </a:cxn>
                  <a:cxn ang="0">
                    <a:pos x="222" y="38"/>
                  </a:cxn>
                  <a:cxn ang="0">
                    <a:pos x="216" y="32"/>
                  </a:cxn>
                  <a:cxn ang="0">
                    <a:pos x="222" y="24"/>
                  </a:cxn>
                  <a:cxn ang="0">
                    <a:pos x="230" y="20"/>
                  </a:cxn>
                  <a:cxn ang="0">
                    <a:pos x="230" y="10"/>
                  </a:cxn>
                  <a:cxn ang="0">
                    <a:pos x="218" y="4"/>
                  </a:cxn>
                  <a:cxn ang="0">
                    <a:pos x="194" y="4"/>
                  </a:cxn>
                  <a:cxn ang="0">
                    <a:pos x="180" y="8"/>
                  </a:cxn>
                  <a:cxn ang="0">
                    <a:pos x="152" y="12"/>
                  </a:cxn>
                  <a:cxn ang="0">
                    <a:pos x="130" y="6"/>
                  </a:cxn>
                  <a:cxn ang="0">
                    <a:pos x="110" y="0"/>
                  </a:cxn>
                  <a:cxn ang="0">
                    <a:pos x="86" y="4"/>
                  </a:cxn>
                  <a:cxn ang="0">
                    <a:pos x="64" y="14"/>
                  </a:cxn>
                  <a:cxn ang="0">
                    <a:pos x="50" y="24"/>
                  </a:cxn>
                  <a:cxn ang="0">
                    <a:pos x="48" y="34"/>
                  </a:cxn>
                  <a:cxn ang="0">
                    <a:pos x="62" y="44"/>
                  </a:cxn>
                  <a:cxn ang="0">
                    <a:pos x="70" y="48"/>
                  </a:cxn>
                  <a:cxn ang="0">
                    <a:pos x="88" y="58"/>
                  </a:cxn>
                  <a:cxn ang="0">
                    <a:pos x="96" y="68"/>
                  </a:cxn>
                  <a:cxn ang="0">
                    <a:pos x="92" y="78"/>
                  </a:cxn>
                  <a:cxn ang="0">
                    <a:pos x="78" y="88"/>
                  </a:cxn>
                  <a:cxn ang="0">
                    <a:pos x="74" y="88"/>
                  </a:cxn>
                  <a:cxn ang="0">
                    <a:pos x="58" y="86"/>
                  </a:cxn>
                  <a:cxn ang="0">
                    <a:pos x="38" y="74"/>
                  </a:cxn>
                  <a:cxn ang="0">
                    <a:pos x="20" y="64"/>
                  </a:cxn>
                  <a:cxn ang="0">
                    <a:pos x="10" y="64"/>
                  </a:cxn>
                  <a:cxn ang="0">
                    <a:pos x="2" y="72"/>
                  </a:cxn>
                  <a:cxn ang="0">
                    <a:pos x="0" y="78"/>
                  </a:cxn>
                  <a:cxn ang="0">
                    <a:pos x="6" y="94"/>
                  </a:cxn>
                  <a:cxn ang="0">
                    <a:pos x="26" y="110"/>
                  </a:cxn>
                  <a:cxn ang="0">
                    <a:pos x="56" y="124"/>
                  </a:cxn>
                  <a:cxn ang="0">
                    <a:pos x="74" y="132"/>
                  </a:cxn>
                  <a:cxn ang="0">
                    <a:pos x="104" y="148"/>
                  </a:cxn>
                  <a:cxn ang="0">
                    <a:pos x="124" y="168"/>
                  </a:cxn>
                  <a:cxn ang="0">
                    <a:pos x="150" y="194"/>
                  </a:cxn>
                  <a:cxn ang="0">
                    <a:pos x="162" y="198"/>
                  </a:cxn>
                  <a:cxn ang="0">
                    <a:pos x="176" y="194"/>
                  </a:cxn>
                  <a:cxn ang="0">
                    <a:pos x="180" y="184"/>
                  </a:cxn>
                  <a:cxn ang="0">
                    <a:pos x="182" y="174"/>
                  </a:cxn>
                  <a:cxn ang="0">
                    <a:pos x="192" y="170"/>
                  </a:cxn>
                  <a:cxn ang="0">
                    <a:pos x="200" y="172"/>
                  </a:cxn>
                  <a:cxn ang="0">
                    <a:pos x="220" y="170"/>
                  </a:cxn>
                  <a:cxn ang="0">
                    <a:pos x="238" y="162"/>
                  </a:cxn>
                  <a:cxn ang="0">
                    <a:pos x="250" y="148"/>
                  </a:cxn>
                  <a:cxn ang="0">
                    <a:pos x="252" y="138"/>
                  </a:cxn>
                  <a:cxn ang="0">
                    <a:pos x="252" y="124"/>
                  </a:cxn>
                  <a:cxn ang="0">
                    <a:pos x="258" y="114"/>
                  </a:cxn>
                  <a:cxn ang="0">
                    <a:pos x="258" y="106"/>
                  </a:cxn>
                  <a:cxn ang="0">
                    <a:pos x="256" y="98"/>
                  </a:cxn>
                </a:cxnLst>
                <a:rect l="0" t="0" r="r" b="b"/>
                <a:pathLst>
                  <a:path w="260" h="198">
                    <a:moveTo>
                      <a:pt x="256" y="98"/>
                    </a:moveTo>
                    <a:lnTo>
                      <a:pt x="256" y="98"/>
                    </a:lnTo>
                    <a:lnTo>
                      <a:pt x="254" y="92"/>
                    </a:lnTo>
                    <a:lnTo>
                      <a:pt x="250" y="90"/>
                    </a:lnTo>
                    <a:lnTo>
                      <a:pt x="246" y="90"/>
                    </a:lnTo>
                    <a:lnTo>
                      <a:pt x="242" y="92"/>
                    </a:lnTo>
                    <a:lnTo>
                      <a:pt x="238" y="94"/>
                    </a:lnTo>
                    <a:lnTo>
                      <a:pt x="234" y="94"/>
                    </a:lnTo>
                    <a:lnTo>
                      <a:pt x="228" y="90"/>
                    </a:lnTo>
                    <a:lnTo>
                      <a:pt x="222" y="84"/>
                    </a:lnTo>
                    <a:lnTo>
                      <a:pt x="222" y="84"/>
                    </a:lnTo>
                    <a:lnTo>
                      <a:pt x="216" y="74"/>
                    </a:lnTo>
                    <a:lnTo>
                      <a:pt x="208" y="68"/>
                    </a:lnTo>
                    <a:lnTo>
                      <a:pt x="192" y="60"/>
                    </a:lnTo>
                    <a:lnTo>
                      <a:pt x="190" y="58"/>
                    </a:lnTo>
                    <a:lnTo>
                      <a:pt x="188" y="56"/>
                    </a:lnTo>
                    <a:lnTo>
                      <a:pt x="190" y="54"/>
                    </a:lnTo>
                    <a:lnTo>
                      <a:pt x="196" y="52"/>
                    </a:lnTo>
                    <a:lnTo>
                      <a:pt x="208" y="48"/>
                    </a:lnTo>
                    <a:lnTo>
                      <a:pt x="208" y="48"/>
                    </a:lnTo>
                    <a:lnTo>
                      <a:pt x="220" y="46"/>
                    </a:lnTo>
                    <a:lnTo>
                      <a:pt x="226" y="42"/>
                    </a:lnTo>
                    <a:lnTo>
                      <a:pt x="226" y="40"/>
                    </a:lnTo>
                    <a:lnTo>
                      <a:pt x="222" y="38"/>
                    </a:lnTo>
                    <a:lnTo>
                      <a:pt x="218" y="34"/>
                    </a:lnTo>
                    <a:lnTo>
                      <a:pt x="216" y="32"/>
                    </a:lnTo>
                    <a:lnTo>
                      <a:pt x="216" y="28"/>
                    </a:lnTo>
                    <a:lnTo>
                      <a:pt x="222" y="24"/>
                    </a:lnTo>
                    <a:lnTo>
                      <a:pt x="222" y="24"/>
                    </a:lnTo>
                    <a:lnTo>
                      <a:pt x="230" y="20"/>
                    </a:lnTo>
                    <a:lnTo>
                      <a:pt x="232" y="16"/>
                    </a:lnTo>
                    <a:lnTo>
                      <a:pt x="230" y="10"/>
                    </a:lnTo>
                    <a:lnTo>
                      <a:pt x="226" y="6"/>
                    </a:lnTo>
                    <a:lnTo>
                      <a:pt x="218" y="4"/>
                    </a:lnTo>
                    <a:lnTo>
                      <a:pt x="208" y="4"/>
                    </a:lnTo>
                    <a:lnTo>
                      <a:pt x="194" y="4"/>
                    </a:lnTo>
                    <a:lnTo>
                      <a:pt x="180" y="8"/>
                    </a:lnTo>
                    <a:lnTo>
                      <a:pt x="180" y="8"/>
                    </a:lnTo>
                    <a:lnTo>
                      <a:pt x="164" y="12"/>
                    </a:lnTo>
                    <a:lnTo>
                      <a:pt x="152" y="12"/>
                    </a:lnTo>
                    <a:lnTo>
                      <a:pt x="140" y="10"/>
                    </a:lnTo>
                    <a:lnTo>
                      <a:pt x="130" y="6"/>
                    </a:lnTo>
                    <a:lnTo>
                      <a:pt x="120" y="4"/>
                    </a:lnTo>
                    <a:lnTo>
                      <a:pt x="110" y="0"/>
                    </a:lnTo>
                    <a:lnTo>
                      <a:pt x="98" y="0"/>
                    </a:lnTo>
                    <a:lnTo>
                      <a:pt x="86" y="4"/>
                    </a:lnTo>
                    <a:lnTo>
                      <a:pt x="86" y="4"/>
                    </a:lnTo>
                    <a:lnTo>
                      <a:pt x="64" y="14"/>
                    </a:lnTo>
                    <a:lnTo>
                      <a:pt x="56" y="20"/>
                    </a:lnTo>
                    <a:lnTo>
                      <a:pt x="50" y="24"/>
                    </a:lnTo>
                    <a:lnTo>
                      <a:pt x="46" y="28"/>
                    </a:lnTo>
                    <a:lnTo>
                      <a:pt x="48" y="34"/>
                    </a:lnTo>
                    <a:lnTo>
                      <a:pt x="52" y="38"/>
                    </a:lnTo>
                    <a:lnTo>
                      <a:pt x="62" y="44"/>
                    </a:lnTo>
                    <a:lnTo>
                      <a:pt x="70" y="48"/>
                    </a:lnTo>
                    <a:lnTo>
                      <a:pt x="70" y="48"/>
                    </a:lnTo>
                    <a:lnTo>
                      <a:pt x="82" y="52"/>
                    </a:lnTo>
                    <a:lnTo>
                      <a:pt x="88" y="58"/>
                    </a:lnTo>
                    <a:lnTo>
                      <a:pt x="94" y="62"/>
                    </a:lnTo>
                    <a:lnTo>
                      <a:pt x="96" y="68"/>
                    </a:lnTo>
                    <a:lnTo>
                      <a:pt x="94" y="74"/>
                    </a:lnTo>
                    <a:lnTo>
                      <a:pt x="92" y="78"/>
                    </a:lnTo>
                    <a:lnTo>
                      <a:pt x="86" y="84"/>
                    </a:lnTo>
                    <a:lnTo>
                      <a:pt x="78" y="88"/>
                    </a:lnTo>
                    <a:lnTo>
                      <a:pt x="78" y="88"/>
                    </a:lnTo>
                    <a:lnTo>
                      <a:pt x="74" y="88"/>
                    </a:lnTo>
                    <a:lnTo>
                      <a:pt x="68" y="90"/>
                    </a:lnTo>
                    <a:lnTo>
                      <a:pt x="58" y="86"/>
                    </a:lnTo>
                    <a:lnTo>
                      <a:pt x="48" y="80"/>
                    </a:lnTo>
                    <a:lnTo>
                      <a:pt x="38" y="74"/>
                    </a:lnTo>
                    <a:lnTo>
                      <a:pt x="28" y="68"/>
                    </a:lnTo>
                    <a:lnTo>
                      <a:pt x="20" y="64"/>
                    </a:lnTo>
                    <a:lnTo>
                      <a:pt x="16" y="64"/>
                    </a:lnTo>
                    <a:lnTo>
                      <a:pt x="10" y="64"/>
                    </a:lnTo>
                    <a:lnTo>
                      <a:pt x="6" y="66"/>
                    </a:lnTo>
                    <a:lnTo>
                      <a:pt x="2" y="72"/>
                    </a:lnTo>
                    <a:lnTo>
                      <a:pt x="2" y="72"/>
                    </a:lnTo>
                    <a:lnTo>
                      <a:pt x="0" y="78"/>
                    </a:lnTo>
                    <a:lnTo>
                      <a:pt x="0" y="86"/>
                    </a:lnTo>
                    <a:lnTo>
                      <a:pt x="6" y="94"/>
                    </a:lnTo>
                    <a:lnTo>
                      <a:pt x="14" y="102"/>
                    </a:lnTo>
                    <a:lnTo>
                      <a:pt x="26" y="110"/>
                    </a:lnTo>
                    <a:lnTo>
                      <a:pt x="40" y="118"/>
                    </a:lnTo>
                    <a:lnTo>
                      <a:pt x="56" y="124"/>
                    </a:lnTo>
                    <a:lnTo>
                      <a:pt x="74" y="132"/>
                    </a:lnTo>
                    <a:lnTo>
                      <a:pt x="74" y="132"/>
                    </a:lnTo>
                    <a:lnTo>
                      <a:pt x="90" y="138"/>
                    </a:lnTo>
                    <a:lnTo>
                      <a:pt x="104" y="148"/>
                    </a:lnTo>
                    <a:lnTo>
                      <a:pt x="116" y="158"/>
                    </a:lnTo>
                    <a:lnTo>
                      <a:pt x="124" y="168"/>
                    </a:lnTo>
                    <a:lnTo>
                      <a:pt x="142" y="188"/>
                    </a:lnTo>
                    <a:lnTo>
                      <a:pt x="150" y="194"/>
                    </a:lnTo>
                    <a:lnTo>
                      <a:pt x="162" y="198"/>
                    </a:lnTo>
                    <a:lnTo>
                      <a:pt x="162" y="198"/>
                    </a:lnTo>
                    <a:lnTo>
                      <a:pt x="170" y="198"/>
                    </a:lnTo>
                    <a:lnTo>
                      <a:pt x="176" y="194"/>
                    </a:lnTo>
                    <a:lnTo>
                      <a:pt x="178" y="190"/>
                    </a:lnTo>
                    <a:lnTo>
                      <a:pt x="180" y="184"/>
                    </a:lnTo>
                    <a:lnTo>
                      <a:pt x="182" y="178"/>
                    </a:lnTo>
                    <a:lnTo>
                      <a:pt x="182" y="174"/>
                    </a:lnTo>
                    <a:lnTo>
                      <a:pt x="186" y="170"/>
                    </a:lnTo>
                    <a:lnTo>
                      <a:pt x="192" y="170"/>
                    </a:lnTo>
                    <a:lnTo>
                      <a:pt x="192" y="170"/>
                    </a:lnTo>
                    <a:lnTo>
                      <a:pt x="200" y="172"/>
                    </a:lnTo>
                    <a:lnTo>
                      <a:pt x="210" y="172"/>
                    </a:lnTo>
                    <a:lnTo>
                      <a:pt x="220" y="170"/>
                    </a:lnTo>
                    <a:lnTo>
                      <a:pt x="230" y="166"/>
                    </a:lnTo>
                    <a:lnTo>
                      <a:pt x="238" y="162"/>
                    </a:lnTo>
                    <a:lnTo>
                      <a:pt x="246" y="156"/>
                    </a:lnTo>
                    <a:lnTo>
                      <a:pt x="250" y="148"/>
                    </a:lnTo>
                    <a:lnTo>
                      <a:pt x="252" y="138"/>
                    </a:lnTo>
                    <a:lnTo>
                      <a:pt x="252" y="138"/>
                    </a:lnTo>
                    <a:lnTo>
                      <a:pt x="252" y="130"/>
                    </a:lnTo>
                    <a:lnTo>
                      <a:pt x="252" y="124"/>
                    </a:lnTo>
                    <a:lnTo>
                      <a:pt x="256" y="118"/>
                    </a:lnTo>
                    <a:lnTo>
                      <a:pt x="258" y="114"/>
                    </a:lnTo>
                    <a:lnTo>
                      <a:pt x="260" y="112"/>
                    </a:lnTo>
                    <a:lnTo>
                      <a:pt x="258" y="106"/>
                    </a:lnTo>
                    <a:lnTo>
                      <a:pt x="256" y="98"/>
                    </a:lnTo>
                    <a:lnTo>
                      <a:pt x="256" y="98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5" name="Freeform 6116">
                <a:extLst>
                  <a:ext uri="{FF2B5EF4-FFF2-40B4-BE49-F238E27FC236}">
                    <a16:creationId xmlns:a16="http://schemas.microsoft.com/office/drawing/2014/main" id="{7B35B91B-8550-4ECA-878B-57D7C8D69C5C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750060" y="1098233"/>
                <a:ext cx="34290" cy="8890"/>
              </a:xfrm>
              <a:custGeom>
                <a:avLst/>
                <a:gdLst/>
                <a:ahLst/>
                <a:cxnLst>
                  <a:cxn ang="0">
                    <a:pos x="2" y="14"/>
                  </a:cxn>
                  <a:cxn ang="0">
                    <a:pos x="2" y="14"/>
                  </a:cxn>
                  <a:cxn ang="0">
                    <a:pos x="8" y="14"/>
                  </a:cxn>
                  <a:cxn ang="0">
                    <a:pos x="16" y="14"/>
                  </a:cxn>
                  <a:cxn ang="0">
                    <a:pos x="36" y="10"/>
                  </a:cxn>
                  <a:cxn ang="0">
                    <a:pos x="50" y="4"/>
                  </a:cxn>
                  <a:cxn ang="0">
                    <a:pos x="54" y="2"/>
                  </a:cxn>
                  <a:cxn ang="0">
                    <a:pos x="54" y="2"/>
                  </a:cxn>
                  <a:cxn ang="0">
                    <a:pos x="54" y="0"/>
                  </a:cxn>
                  <a:cxn ang="0">
                    <a:pos x="54" y="0"/>
                  </a:cxn>
                  <a:cxn ang="0">
                    <a:pos x="48" y="0"/>
                  </a:cxn>
                  <a:cxn ang="0">
                    <a:pos x="38" y="0"/>
                  </a:cxn>
                  <a:cxn ang="0">
                    <a:pos x="18" y="4"/>
                  </a:cxn>
                  <a:cxn ang="0">
                    <a:pos x="2" y="10"/>
                  </a:cxn>
                  <a:cxn ang="0">
                    <a:pos x="0" y="12"/>
                  </a:cxn>
                  <a:cxn ang="0">
                    <a:pos x="2" y="14"/>
                  </a:cxn>
                  <a:cxn ang="0">
                    <a:pos x="2" y="14"/>
                  </a:cxn>
                </a:cxnLst>
                <a:rect l="0" t="0" r="r" b="b"/>
                <a:pathLst>
                  <a:path w="54" h="14">
                    <a:moveTo>
                      <a:pt x="2" y="14"/>
                    </a:moveTo>
                    <a:lnTo>
                      <a:pt x="2" y="14"/>
                    </a:lnTo>
                    <a:lnTo>
                      <a:pt x="8" y="14"/>
                    </a:lnTo>
                    <a:lnTo>
                      <a:pt x="16" y="14"/>
                    </a:lnTo>
                    <a:lnTo>
                      <a:pt x="36" y="10"/>
                    </a:lnTo>
                    <a:lnTo>
                      <a:pt x="50" y="4"/>
                    </a:lnTo>
                    <a:lnTo>
                      <a:pt x="54" y="2"/>
                    </a:lnTo>
                    <a:lnTo>
                      <a:pt x="54" y="2"/>
                    </a:lnTo>
                    <a:lnTo>
                      <a:pt x="54" y="0"/>
                    </a:lnTo>
                    <a:lnTo>
                      <a:pt x="54" y="0"/>
                    </a:lnTo>
                    <a:lnTo>
                      <a:pt x="48" y="0"/>
                    </a:lnTo>
                    <a:lnTo>
                      <a:pt x="38" y="0"/>
                    </a:lnTo>
                    <a:lnTo>
                      <a:pt x="18" y="4"/>
                    </a:lnTo>
                    <a:lnTo>
                      <a:pt x="2" y="10"/>
                    </a:lnTo>
                    <a:lnTo>
                      <a:pt x="0" y="12"/>
                    </a:lnTo>
                    <a:lnTo>
                      <a:pt x="2" y="14"/>
                    </a:lnTo>
                    <a:lnTo>
                      <a:pt x="2" y="14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6" name="Freeform 6117">
                <a:extLst>
                  <a:ext uri="{FF2B5EF4-FFF2-40B4-BE49-F238E27FC236}">
                    <a16:creationId xmlns:a16="http://schemas.microsoft.com/office/drawing/2014/main" id="{6634932E-04AE-4EF8-B91A-1883F9AF22AE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1854200" y="1394143"/>
                <a:ext cx="114300" cy="66040"/>
              </a:xfrm>
              <a:custGeom>
                <a:avLst/>
                <a:gdLst/>
                <a:ahLst/>
                <a:cxnLst>
                  <a:cxn ang="0">
                    <a:pos x="42" y="32"/>
                  </a:cxn>
                  <a:cxn ang="0">
                    <a:pos x="42" y="32"/>
                  </a:cxn>
                  <a:cxn ang="0">
                    <a:pos x="32" y="42"/>
                  </a:cxn>
                  <a:cxn ang="0">
                    <a:pos x="24" y="50"/>
                  </a:cxn>
                  <a:cxn ang="0">
                    <a:pos x="14" y="52"/>
                  </a:cxn>
                  <a:cxn ang="0">
                    <a:pos x="8" y="54"/>
                  </a:cxn>
                  <a:cxn ang="0">
                    <a:pos x="2" y="56"/>
                  </a:cxn>
                  <a:cxn ang="0">
                    <a:pos x="0" y="58"/>
                  </a:cxn>
                  <a:cxn ang="0">
                    <a:pos x="2" y="62"/>
                  </a:cxn>
                  <a:cxn ang="0">
                    <a:pos x="10" y="68"/>
                  </a:cxn>
                  <a:cxn ang="0">
                    <a:pos x="10" y="68"/>
                  </a:cxn>
                  <a:cxn ang="0">
                    <a:pos x="20" y="74"/>
                  </a:cxn>
                  <a:cxn ang="0">
                    <a:pos x="34" y="78"/>
                  </a:cxn>
                  <a:cxn ang="0">
                    <a:pos x="72" y="86"/>
                  </a:cxn>
                  <a:cxn ang="0">
                    <a:pos x="72" y="86"/>
                  </a:cxn>
                  <a:cxn ang="0">
                    <a:pos x="84" y="88"/>
                  </a:cxn>
                  <a:cxn ang="0">
                    <a:pos x="94" y="92"/>
                  </a:cxn>
                  <a:cxn ang="0">
                    <a:pos x="112" y="100"/>
                  </a:cxn>
                  <a:cxn ang="0">
                    <a:pos x="120" y="102"/>
                  </a:cxn>
                  <a:cxn ang="0">
                    <a:pos x="128" y="104"/>
                  </a:cxn>
                  <a:cxn ang="0">
                    <a:pos x="136" y="102"/>
                  </a:cxn>
                  <a:cxn ang="0">
                    <a:pos x="142" y="96"/>
                  </a:cxn>
                  <a:cxn ang="0">
                    <a:pos x="142" y="96"/>
                  </a:cxn>
                  <a:cxn ang="0">
                    <a:pos x="150" y="90"/>
                  </a:cxn>
                  <a:cxn ang="0">
                    <a:pos x="156" y="88"/>
                  </a:cxn>
                  <a:cxn ang="0">
                    <a:pos x="164" y="86"/>
                  </a:cxn>
                  <a:cxn ang="0">
                    <a:pos x="170" y="86"/>
                  </a:cxn>
                  <a:cxn ang="0">
                    <a:pos x="174" y="84"/>
                  </a:cxn>
                  <a:cxn ang="0">
                    <a:pos x="178" y="78"/>
                  </a:cxn>
                  <a:cxn ang="0">
                    <a:pos x="178" y="78"/>
                  </a:cxn>
                  <a:cxn ang="0">
                    <a:pos x="180" y="74"/>
                  </a:cxn>
                  <a:cxn ang="0">
                    <a:pos x="180" y="72"/>
                  </a:cxn>
                  <a:cxn ang="0">
                    <a:pos x="174" y="72"/>
                  </a:cxn>
                  <a:cxn ang="0">
                    <a:pos x="170" y="72"/>
                  </a:cxn>
                  <a:cxn ang="0">
                    <a:pos x="164" y="70"/>
                  </a:cxn>
                  <a:cxn ang="0">
                    <a:pos x="158" y="66"/>
                  </a:cxn>
                  <a:cxn ang="0">
                    <a:pos x="152" y="58"/>
                  </a:cxn>
                  <a:cxn ang="0">
                    <a:pos x="152" y="58"/>
                  </a:cxn>
                  <a:cxn ang="0">
                    <a:pos x="148" y="50"/>
                  </a:cxn>
                  <a:cxn ang="0">
                    <a:pos x="144" y="44"/>
                  </a:cxn>
                  <a:cxn ang="0">
                    <a:pos x="140" y="42"/>
                  </a:cxn>
                  <a:cxn ang="0">
                    <a:pos x="136" y="42"/>
                  </a:cxn>
                  <a:cxn ang="0">
                    <a:pos x="124" y="36"/>
                  </a:cxn>
                  <a:cxn ang="0">
                    <a:pos x="116" y="30"/>
                  </a:cxn>
                  <a:cxn ang="0">
                    <a:pos x="106" y="20"/>
                  </a:cxn>
                  <a:cxn ang="0">
                    <a:pos x="106" y="20"/>
                  </a:cxn>
                  <a:cxn ang="0">
                    <a:pos x="94" y="10"/>
                  </a:cxn>
                  <a:cxn ang="0">
                    <a:pos x="86" y="2"/>
                  </a:cxn>
                  <a:cxn ang="0">
                    <a:pos x="78" y="0"/>
                  </a:cxn>
                  <a:cxn ang="0">
                    <a:pos x="70" y="0"/>
                  </a:cxn>
                  <a:cxn ang="0">
                    <a:pos x="64" y="4"/>
                  </a:cxn>
                  <a:cxn ang="0">
                    <a:pos x="56" y="10"/>
                  </a:cxn>
                  <a:cxn ang="0">
                    <a:pos x="42" y="32"/>
                  </a:cxn>
                  <a:cxn ang="0">
                    <a:pos x="42" y="32"/>
                  </a:cxn>
                </a:cxnLst>
                <a:rect l="0" t="0" r="r" b="b"/>
                <a:pathLst>
                  <a:path w="180" h="104">
                    <a:moveTo>
                      <a:pt x="42" y="32"/>
                    </a:moveTo>
                    <a:lnTo>
                      <a:pt x="42" y="32"/>
                    </a:lnTo>
                    <a:lnTo>
                      <a:pt x="32" y="42"/>
                    </a:lnTo>
                    <a:lnTo>
                      <a:pt x="24" y="50"/>
                    </a:lnTo>
                    <a:lnTo>
                      <a:pt x="14" y="52"/>
                    </a:lnTo>
                    <a:lnTo>
                      <a:pt x="8" y="54"/>
                    </a:lnTo>
                    <a:lnTo>
                      <a:pt x="2" y="56"/>
                    </a:lnTo>
                    <a:lnTo>
                      <a:pt x="0" y="58"/>
                    </a:lnTo>
                    <a:lnTo>
                      <a:pt x="2" y="62"/>
                    </a:lnTo>
                    <a:lnTo>
                      <a:pt x="10" y="68"/>
                    </a:lnTo>
                    <a:lnTo>
                      <a:pt x="10" y="68"/>
                    </a:lnTo>
                    <a:lnTo>
                      <a:pt x="20" y="74"/>
                    </a:lnTo>
                    <a:lnTo>
                      <a:pt x="34" y="78"/>
                    </a:lnTo>
                    <a:lnTo>
                      <a:pt x="72" y="86"/>
                    </a:lnTo>
                    <a:lnTo>
                      <a:pt x="72" y="86"/>
                    </a:lnTo>
                    <a:lnTo>
                      <a:pt x="84" y="88"/>
                    </a:lnTo>
                    <a:lnTo>
                      <a:pt x="94" y="92"/>
                    </a:lnTo>
                    <a:lnTo>
                      <a:pt x="112" y="100"/>
                    </a:lnTo>
                    <a:lnTo>
                      <a:pt x="120" y="102"/>
                    </a:lnTo>
                    <a:lnTo>
                      <a:pt x="128" y="104"/>
                    </a:lnTo>
                    <a:lnTo>
                      <a:pt x="136" y="102"/>
                    </a:lnTo>
                    <a:lnTo>
                      <a:pt x="142" y="96"/>
                    </a:lnTo>
                    <a:lnTo>
                      <a:pt x="142" y="96"/>
                    </a:lnTo>
                    <a:lnTo>
                      <a:pt x="150" y="90"/>
                    </a:lnTo>
                    <a:lnTo>
                      <a:pt x="156" y="88"/>
                    </a:lnTo>
                    <a:lnTo>
                      <a:pt x="164" y="86"/>
                    </a:lnTo>
                    <a:lnTo>
                      <a:pt x="170" y="86"/>
                    </a:lnTo>
                    <a:lnTo>
                      <a:pt x="174" y="84"/>
                    </a:lnTo>
                    <a:lnTo>
                      <a:pt x="178" y="78"/>
                    </a:lnTo>
                    <a:lnTo>
                      <a:pt x="178" y="78"/>
                    </a:lnTo>
                    <a:lnTo>
                      <a:pt x="180" y="74"/>
                    </a:lnTo>
                    <a:lnTo>
                      <a:pt x="180" y="72"/>
                    </a:lnTo>
                    <a:lnTo>
                      <a:pt x="174" y="72"/>
                    </a:lnTo>
                    <a:lnTo>
                      <a:pt x="170" y="72"/>
                    </a:lnTo>
                    <a:lnTo>
                      <a:pt x="164" y="70"/>
                    </a:lnTo>
                    <a:lnTo>
                      <a:pt x="158" y="66"/>
                    </a:lnTo>
                    <a:lnTo>
                      <a:pt x="152" y="58"/>
                    </a:lnTo>
                    <a:lnTo>
                      <a:pt x="152" y="58"/>
                    </a:lnTo>
                    <a:lnTo>
                      <a:pt x="148" y="50"/>
                    </a:lnTo>
                    <a:lnTo>
                      <a:pt x="144" y="44"/>
                    </a:lnTo>
                    <a:lnTo>
                      <a:pt x="140" y="42"/>
                    </a:lnTo>
                    <a:lnTo>
                      <a:pt x="136" y="42"/>
                    </a:lnTo>
                    <a:lnTo>
                      <a:pt x="124" y="36"/>
                    </a:lnTo>
                    <a:lnTo>
                      <a:pt x="116" y="30"/>
                    </a:lnTo>
                    <a:lnTo>
                      <a:pt x="106" y="20"/>
                    </a:lnTo>
                    <a:lnTo>
                      <a:pt x="106" y="20"/>
                    </a:lnTo>
                    <a:lnTo>
                      <a:pt x="94" y="10"/>
                    </a:lnTo>
                    <a:lnTo>
                      <a:pt x="86" y="2"/>
                    </a:lnTo>
                    <a:lnTo>
                      <a:pt x="78" y="0"/>
                    </a:lnTo>
                    <a:lnTo>
                      <a:pt x="70" y="0"/>
                    </a:lnTo>
                    <a:lnTo>
                      <a:pt x="64" y="4"/>
                    </a:lnTo>
                    <a:lnTo>
                      <a:pt x="56" y="10"/>
                    </a:lnTo>
                    <a:lnTo>
                      <a:pt x="42" y="32"/>
                    </a:lnTo>
                    <a:lnTo>
                      <a:pt x="42" y="32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87" name="Freeform 6118">
                <a:extLst>
                  <a:ext uri="{FF2B5EF4-FFF2-40B4-BE49-F238E27FC236}">
                    <a16:creationId xmlns:a16="http://schemas.microsoft.com/office/drawing/2014/main" id="{139A6041-20D3-46D2-BF47-323801247DB0}"/>
                  </a:ext>
                </a:extLst>
              </p:cNvPr>
              <p:cNvSpPr>
                <a:spLocks/>
              </p:cNvSpPr>
              <p:nvPr/>
            </p:nvSpPr>
            <p:spPr bwMode="auto">
              <a:xfrm>
                <a:off x="2529839" y="699453"/>
                <a:ext cx="1550670" cy="1127760"/>
              </a:xfrm>
              <a:custGeom>
                <a:avLst/>
                <a:gdLst/>
                <a:ahLst/>
                <a:cxnLst>
                  <a:cxn ang="0">
                    <a:pos x="220" y="296"/>
                  </a:cxn>
                  <a:cxn ang="0">
                    <a:pos x="150" y="400"/>
                  </a:cxn>
                  <a:cxn ang="0">
                    <a:pos x="96" y="502"/>
                  </a:cxn>
                  <a:cxn ang="0">
                    <a:pos x="62" y="558"/>
                  </a:cxn>
                  <a:cxn ang="0">
                    <a:pos x="228" y="618"/>
                  </a:cxn>
                  <a:cxn ang="0">
                    <a:pos x="350" y="620"/>
                  </a:cxn>
                  <a:cxn ang="0">
                    <a:pos x="584" y="666"/>
                  </a:cxn>
                  <a:cxn ang="0">
                    <a:pos x="674" y="786"/>
                  </a:cxn>
                  <a:cxn ang="0">
                    <a:pos x="706" y="902"/>
                  </a:cxn>
                  <a:cxn ang="0">
                    <a:pos x="744" y="990"/>
                  </a:cxn>
                  <a:cxn ang="0">
                    <a:pos x="836" y="1010"/>
                  </a:cxn>
                  <a:cxn ang="0">
                    <a:pos x="750" y="1050"/>
                  </a:cxn>
                  <a:cxn ang="0">
                    <a:pos x="890" y="1110"/>
                  </a:cxn>
                  <a:cxn ang="0">
                    <a:pos x="788" y="1212"/>
                  </a:cxn>
                  <a:cxn ang="0">
                    <a:pos x="782" y="1328"/>
                  </a:cxn>
                  <a:cxn ang="0">
                    <a:pos x="834" y="1452"/>
                  </a:cxn>
                  <a:cxn ang="0">
                    <a:pos x="922" y="1474"/>
                  </a:cxn>
                  <a:cxn ang="0">
                    <a:pos x="860" y="1502"/>
                  </a:cxn>
                  <a:cxn ang="0">
                    <a:pos x="908" y="1598"/>
                  </a:cxn>
                  <a:cxn ang="0">
                    <a:pos x="966" y="1678"/>
                  </a:cxn>
                  <a:cxn ang="0">
                    <a:pos x="1032" y="1712"/>
                  </a:cxn>
                  <a:cxn ang="0">
                    <a:pos x="1090" y="1738"/>
                  </a:cxn>
                  <a:cxn ang="0">
                    <a:pos x="1196" y="1768"/>
                  </a:cxn>
                  <a:cxn ang="0">
                    <a:pos x="1232" y="1622"/>
                  </a:cxn>
                  <a:cxn ang="0">
                    <a:pos x="1262" y="1566"/>
                  </a:cxn>
                  <a:cxn ang="0">
                    <a:pos x="1262" y="1486"/>
                  </a:cxn>
                  <a:cxn ang="0">
                    <a:pos x="1332" y="1420"/>
                  </a:cxn>
                  <a:cxn ang="0">
                    <a:pos x="1402" y="1376"/>
                  </a:cxn>
                  <a:cxn ang="0">
                    <a:pos x="1412" y="1372"/>
                  </a:cxn>
                  <a:cxn ang="0">
                    <a:pos x="1468" y="1372"/>
                  </a:cxn>
                  <a:cxn ang="0">
                    <a:pos x="1628" y="1238"/>
                  </a:cxn>
                  <a:cxn ang="0">
                    <a:pos x="1748" y="1208"/>
                  </a:cxn>
                  <a:cxn ang="0">
                    <a:pos x="2012" y="1102"/>
                  </a:cxn>
                  <a:cxn ang="0">
                    <a:pos x="1846" y="1076"/>
                  </a:cxn>
                  <a:cxn ang="0">
                    <a:pos x="1800" y="1058"/>
                  </a:cxn>
                  <a:cxn ang="0">
                    <a:pos x="1842" y="970"/>
                  </a:cxn>
                  <a:cxn ang="0">
                    <a:pos x="2060" y="1056"/>
                  </a:cxn>
                  <a:cxn ang="0">
                    <a:pos x="2054" y="956"/>
                  </a:cxn>
                  <a:cxn ang="0">
                    <a:pos x="1916" y="858"/>
                  </a:cxn>
                  <a:cxn ang="0">
                    <a:pos x="2100" y="830"/>
                  </a:cxn>
                  <a:cxn ang="0">
                    <a:pos x="2142" y="768"/>
                  </a:cxn>
                  <a:cxn ang="0">
                    <a:pos x="2154" y="698"/>
                  </a:cxn>
                  <a:cxn ang="0">
                    <a:pos x="2066" y="608"/>
                  </a:cxn>
                  <a:cxn ang="0">
                    <a:pos x="2144" y="562"/>
                  </a:cxn>
                  <a:cxn ang="0">
                    <a:pos x="2144" y="504"/>
                  </a:cxn>
                  <a:cxn ang="0">
                    <a:pos x="2096" y="408"/>
                  </a:cxn>
                  <a:cxn ang="0">
                    <a:pos x="2228" y="310"/>
                  </a:cxn>
                  <a:cxn ang="0">
                    <a:pos x="2278" y="276"/>
                  </a:cxn>
                  <a:cxn ang="0">
                    <a:pos x="2298" y="244"/>
                  </a:cxn>
                  <a:cxn ang="0">
                    <a:pos x="2322" y="150"/>
                  </a:cxn>
                  <a:cxn ang="0">
                    <a:pos x="2050" y="210"/>
                  </a:cxn>
                  <a:cxn ang="0">
                    <a:pos x="1962" y="152"/>
                  </a:cxn>
                  <a:cxn ang="0">
                    <a:pos x="1616" y="174"/>
                  </a:cxn>
                  <a:cxn ang="0">
                    <a:pos x="2034" y="78"/>
                  </a:cxn>
                  <a:cxn ang="0">
                    <a:pos x="1724" y="52"/>
                  </a:cxn>
                  <a:cxn ang="0">
                    <a:pos x="1618" y="2"/>
                  </a:cxn>
                  <a:cxn ang="0">
                    <a:pos x="1402" y="44"/>
                  </a:cxn>
                  <a:cxn ang="0">
                    <a:pos x="1048" y="56"/>
                  </a:cxn>
                  <a:cxn ang="0">
                    <a:pos x="1110" y="74"/>
                  </a:cxn>
                  <a:cxn ang="0">
                    <a:pos x="1108" y="158"/>
                  </a:cxn>
                  <a:cxn ang="0">
                    <a:pos x="900" y="148"/>
                  </a:cxn>
                  <a:cxn ang="0">
                    <a:pos x="756" y="114"/>
                  </a:cxn>
                </a:cxnLst>
                <a:rect l="0" t="0" r="r" b="b"/>
                <a:pathLst>
                  <a:path w="2442" h="1776">
                    <a:moveTo>
                      <a:pt x="470" y="176"/>
                    </a:moveTo>
                    <a:lnTo>
                      <a:pt x="470" y="176"/>
                    </a:lnTo>
                    <a:lnTo>
                      <a:pt x="476" y="186"/>
                    </a:lnTo>
                    <a:lnTo>
                      <a:pt x="478" y="194"/>
                    </a:lnTo>
                    <a:lnTo>
                      <a:pt x="480" y="202"/>
                    </a:lnTo>
                    <a:lnTo>
                      <a:pt x="478" y="210"/>
                    </a:lnTo>
                    <a:lnTo>
                      <a:pt x="474" y="216"/>
                    </a:lnTo>
                    <a:lnTo>
                      <a:pt x="466" y="218"/>
                    </a:lnTo>
                    <a:lnTo>
                      <a:pt x="458" y="220"/>
                    </a:lnTo>
                    <a:lnTo>
                      <a:pt x="446" y="218"/>
                    </a:lnTo>
                    <a:lnTo>
                      <a:pt x="446" y="218"/>
                    </a:lnTo>
                    <a:lnTo>
                      <a:pt x="426" y="212"/>
                    </a:lnTo>
                    <a:lnTo>
                      <a:pt x="406" y="210"/>
                    </a:lnTo>
                    <a:lnTo>
                      <a:pt x="386" y="210"/>
                    </a:lnTo>
                    <a:lnTo>
                      <a:pt x="368" y="212"/>
                    </a:lnTo>
                    <a:lnTo>
                      <a:pt x="350" y="216"/>
                    </a:lnTo>
                    <a:lnTo>
                      <a:pt x="334" y="222"/>
                    </a:lnTo>
                    <a:lnTo>
                      <a:pt x="318" y="230"/>
                    </a:lnTo>
                    <a:lnTo>
                      <a:pt x="304" y="238"/>
                    </a:lnTo>
                    <a:lnTo>
                      <a:pt x="304" y="238"/>
                    </a:lnTo>
                    <a:lnTo>
                      <a:pt x="272" y="256"/>
                    </a:lnTo>
                    <a:lnTo>
                      <a:pt x="244" y="270"/>
                    </a:lnTo>
                    <a:lnTo>
                      <a:pt x="232" y="276"/>
                    </a:lnTo>
                    <a:lnTo>
                      <a:pt x="222" y="284"/>
                    </a:lnTo>
                    <a:lnTo>
                      <a:pt x="218" y="290"/>
                    </a:lnTo>
                    <a:lnTo>
                      <a:pt x="218" y="292"/>
                    </a:lnTo>
                    <a:lnTo>
                      <a:pt x="220" y="296"/>
                    </a:lnTo>
                    <a:lnTo>
                      <a:pt x="220" y="296"/>
                    </a:lnTo>
                    <a:lnTo>
                      <a:pt x="226" y="300"/>
                    </a:lnTo>
                    <a:lnTo>
                      <a:pt x="234" y="304"/>
                    </a:lnTo>
                    <a:lnTo>
                      <a:pt x="244" y="308"/>
                    </a:lnTo>
                    <a:lnTo>
                      <a:pt x="256" y="308"/>
                    </a:lnTo>
                    <a:lnTo>
                      <a:pt x="280" y="308"/>
                    </a:lnTo>
                    <a:lnTo>
                      <a:pt x="302" y="306"/>
                    </a:lnTo>
                    <a:lnTo>
                      <a:pt x="302" y="306"/>
                    </a:lnTo>
                    <a:lnTo>
                      <a:pt x="310" y="306"/>
                    </a:lnTo>
                    <a:lnTo>
                      <a:pt x="316" y="310"/>
                    </a:lnTo>
                    <a:lnTo>
                      <a:pt x="318" y="318"/>
                    </a:lnTo>
                    <a:lnTo>
                      <a:pt x="320" y="326"/>
                    </a:lnTo>
                    <a:lnTo>
                      <a:pt x="318" y="338"/>
                    </a:lnTo>
                    <a:lnTo>
                      <a:pt x="314" y="348"/>
                    </a:lnTo>
                    <a:lnTo>
                      <a:pt x="308" y="360"/>
                    </a:lnTo>
                    <a:lnTo>
                      <a:pt x="300" y="370"/>
                    </a:lnTo>
                    <a:lnTo>
                      <a:pt x="300" y="370"/>
                    </a:lnTo>
                    <a:lnTo>
                      <a:pt x="290" y="380"/>
                    </a:lnTo>
                    <a:lnTo>
                      <a:pt x="280" y="384"/>
                    </a:lnTo>
                    <a:lnTo>
                      <a:pt x="268" y="386"/>
                    </a:lnTo>
                    <a:lnTo>
                      <a:pt x="254" y="386"/>
                    </a:lnTo>
                    <a:lnTo>
                      <a:pt x="224" y="382"/>
                    </a:lnTo>
                    <a:lnTo>
                      <a:pt x="206" y="382"/>
                    </a:lnTo>
                    <a:lnTo>
                      <a:pt x="188" y="384"/>
                    </a:lnTo>
                    <a:lnTo>
                      <a:pt x="188" y="384"/>
                    </a:lnTo>
                    <a:lnTo>
                      <a:pt x="172" y="388"/>
                    </a:lnTo>
                    <a:lnTo>
                      <a:pt x="162" y="392"/>
                    </a:lnTo>
                    <a:lnTo>
                      <a:pt x="154" y="396"/>
                    </a:lnTo>
                    <a:lnTo>
                      <a:pt x="150" y="400"/>
                    </a:lnTo>
                    <a:lnTo>
                      <a:pt x="142" y="404"/>
                    </a:lnTo>
                    <a:lnTo>
                      <a:pt x="130" y="408"/>
                    </a:lnTo>
                    <a:lnTo>
                      <a:pt x="112" y="412"/>
                    </a:lnTo>
                    <a:lnTo>
                      <a:pt x="84" y="418"/>
                    </a:lnTo>
                    <a:lnTo>
                      <a:pt x="84" y="418"/>
                    </a:lnTo>
                    <a:lnTo>
                      <a:pt x="54" y="422"/>
                    </a:lnTo>
                    <a:lnTo>
                      <a:pt x="32" y="428"/>
                    </a:lnTo>
                    <a:lnTo>
                      <a:pt x="16" y="434"/>
                    </a:lnTo>
                    <a:lnTo>
                      <a:pt x="4" y="440"/>
                    </a:lnTo>
                    <a:lnTo>
                      <a:pt x="0" y="448"/>
                    </a:lnTo>
                    <a:lnTo>
                      <a:pt x="0" y="456"/>
                    </a:lnTo>
                    <a:lnTo>
                      <a:pt x="4" y="464"/>
                    </a:lnTo>
                    <a:lnTo>
                      <a:pt x="12" y="472"/>
                    </a:lnTo>
                    <a:lnTo>
                      <a:pt x="12" y="472"/>
                    </a:lnTo>
                    <a:lnTo>
                      <a:pt x="20" y="478"/>
                    </a:lnTo>
                    <a:lnTo>
                      <a:pt x="28" y="482"/>
                    </a:lnTo>
                    <a:lnTo>
                      <a:pt x="38" y="484"/>
                    </a:lnTo>
                    <a:lnTo>
                      <a:pt x="48" y="484"/>
                    </a:lnTo>
                    <a:lnTo>
                      <a:pt x="52" y="486"/>
                    </a:lnTo>
                    <a:lnTo>
                      <a:pt x="56" y="490"/>
                    </a:lnTo>
                    <a:lnTo>
                      <a:pt x="56" y="490"/>
                    </a:lnTo>
                    <a:lnTo>
                      <a:pt x="62" y="494"/>
                    </a:lnTo>
                    <a:lnTo>
                      <a:pt x="68" y="496"/>
                    </a:lnTo>
                    <a:lnTo>
                      <a:pt x="78" y="496"/>
                    </a:lnTo>
                    <a:lnTo>
                      <a:pt x="88" y="496"/>
                    </a:lnTo>
                    <a:lnTo>
                      <a:pt x="92" y="498"/>
                    </a:lnTo>
                    <a:lnTo>
                      <a:pt x="96" y="502"/>
                    </a:lnTo>
                    <a:lnTo>
                      <a:pt x="96" y="502"/>
                    </a:lnTo>
                    <a:lnTo>
                      <a:pt x="102" y="506"/>
                    </a:lnTo>
                    <a:lnTo>
                      <a:pt x="108" y="510"/>
                    </a:lnTo>
                    <a:lnTo>
                      <a:pt x="116" y="514"/>
                    </a:lnTo>
                    <a:lnTo>
                      <a:pt x="124" y="514"/>
                    </a:lnTo>
                    <a:lnTo>
                      <a:pt x="144" y="516"/>
                    </a:lnTo>
                    <a:lnTo>
                      <a:pt x="174" y="516"/>
                    </a:lnTo>
                    <a:lnTo>
                      <a:pt x="174" y="516"/>
                    </a:lnTo>
                    <a:lnTo>
                      <a:pt x="192" y="516"/>
                    </a:lnTo>
                    <a:lnTo>
                      <a:pt x="208" y="514"/>
                    </a:lnTo>
                    <a:lnTo>
                      <a:pt x="238" y="508"/>
                    </a:lnTo>
                    <a:lnTo>
                      <a:pt x="250" y="506"/>
                    </a:lnTo>
                    <a:lnTo>
                      <a:pt x="260" y="506"/>
                    </a:lnTo>
                    <a:lnTo>
                      <a:pt x="268" y="506"/>
                    </a:lnTo>
                    <a:lnTo>
                      <a:pt x="272" y="512"/>
                    </a:lnTo>
                    <a:lnTo>
                      <a:pt x="272" y="512"/>
                    </a:lnTo>
                    <a:lnTo>
                      <a:pt x="272" y="516"/>
                    </a:lnTo>
                    <a:lnTo>
                      <a:pt x="268" y="520"/>
                    </a:lnTo>
                    <a:lnTo>
                      <a:pt x="260" y="524"/>
                    </a:lnTo>
                    <a:lnTo>
                      <a:pt x="248" y="524"/>
                    </a:lnTo>
                    <a:lnTo>
                      <a:pt x="174" y="528"/>
                    </a:lnTo>
                    <a:lnTo>
                      <a:pt x="174" y="528"/>
                    </a:lnTo>
                    <a:lnTo>
                      <a:pt x="128" y="534"/>
                    </a:lnTo>
                    <a:lnTo>
                      <a:pt x="106" y="538"/>
                    </a:lnTo>
                    <a:lnTo>
                      <a:pt x="86" y="542"/>
                    </a:lnTo>
                    <a:lnTo>
                      <a:pt x="72" y="546"/>
                    </a:lnTo>
                    <a:lnTo>
                      <a:pt x="62" y="552"/>
                    </a:lnTo>
                    <a:lnTo>
                      <a:pt x="60" y="554"/>
                    </a:lnTo>
                    <a:lnTo>
                      <a:pt x="62" y="558"/>
                    </a:lnTo>
                    <a:lnTo>
                      <a:pt x="64" y="562"/>
                    </a:lnTo>
                    <a:lnTo>
                      <a:pt x="68" y="564"/>
                    </a:lnTo>
                    <a:lnTo>
                      <a:pt x="68" y="564"/>
                    </a:lnTo>
                    <a:lnTo>
                      <a:pt x="84" y="570"/>
                    </a:lnTo>
                    <a:lnTo>
                      <a:pt x="102" y="574"/>
                    </a:lnTo>
                    <a:lnTo>
                      <a:pt x="140" y="580"/>
                    </a:lnTo>
                    <a:lnTo>
                      <a:pt x="154" y="584"/>
                    </a:lnTo>
                    <a:lnTo>
                      <a:pt x="162" y="586"/>
                    </a:lnTo>
                    <a:lnTo>
                      <a:pt x="162" y="588"/>
                    </a:lnTo>
                    <a:lnTo>
                      <a:pt x="160" y="590"/>
                    </a:lnTo>
                    <a:lnTo>
                      <a:pt x="148" y="594"/>
                    </a:lnTo>
                    <a:lnTo>
                      <a:pt x="148" y="594"/>
                    </a:lnTo>
                    <a:lnTo>
                      <a:pt x="136" y="598"/>
                    </a:lnTo>
                    <a:lnTo>
                      <a:pt x="132" y="602"/>
                    </a:lnTo>
                    <a:lnTo>
                      <a:pt x="132" y="604"/>
                    </a:lnTo>
                    <a:lnTo>
                      <a:pt x="132" y="606"/>
                    </a:lnTo>
                    <a:lnTo>
                      <a:pt x="136" y="608"/>
                    </a:lnTo>
                    <a:lnTo>
                      <a:pt x="146" y="614"/>
                    </a:lnTo>
                    <a:lnTo>
                      <a:pt x="182" y="624"/>
                    </a:lnTo>
                    <a:lnTo>
                      <a:pt x="224" y="636"/>
                    </a:lnTo>
                    <a:lnTo>
                      <a:pt x="224" y="636"/>
                    </a:lnTo>
                    <a:lnTo>
                      <a:pt x="242" y="642"/>
                    </a:lnTo>
                    <a:lnTo>
                      <a:pt x="248" y="642"/>
                    </a:lnTo>
                    <a:lnTo>
                      <a:pt x="248" y="642"/>
                    </a:lnTo>
                    <a:lnTo>
                      <a:pt x="248" y="640"/>
                    </a:lnTo>
                    <a:lnTo>
                      <a:pt x="242" y="634"/>
                    </a:lnTo>
                    <a:lnTo>
                      <a:pt x="230" y="622"/>
                    </a:lnTo>
                    <a:lnTo>
                      <a:pt x="228" y="618"/>
                    </a:lnTo>
                    <a:lnTo>
                      <a:pt x="228" y="616"/>
                    </a:lnTo>
                    <a:lnTo>
                      <a:pt x="232" y="614"/>
                    </a:lnTo>
                    <a:lnTo>
                      <a:pt x="232" y="614"/>
                    </a:lnTo>
                    <a:lnTo>
                      <a:pt x="238" y="612"/>
                    </a:lnTo>
                    <a:lnTo>
                      <a:pt x="242" y="614"/>
                    </a:lnTo>
                    <a:lnTo>
                      <a:pt x="246" y="620"/>
                    </a:lnTo>
                    <a:lnTo>
                      <a:pt x="250" y="622"/>
                    </a:lnTo>
                    <a:lnTo>
                      <a:pt x="254" y="622"/>
                    </a:lnTo>
                    <a:lnTo>
                      <a:pt x="262" y="622"/>
                    </a:lnTo>
                    <a:lnTo>
                      <a:pt x="272" y="618"/>
                    </a:lnTo>
                    <a:lnTo>
                      <a:pt x="272" y="618"/>
                    </a:lnTo>
                    <a:lnTo>
                      <a:pt x="282" y="614"/>
                    </a:lnTo>
                    <a:lnTo>
                      <a:pt x="286" y="614"/>
                    </a:lnTo>
                    <a:lnTo>
                      <a:pt x="286" y="616"/>
                    </a:lnTo>
                    <a:lnTo>
                      <a:pt x="286" y="618"/>
                    </a:lnTo>
                    <a:lnTo>
                      <a:pt x="284" y="622"/>
                    </a:lnTo>
                    <a:lnTo>
                      <a:pt x="286" y="626"/>
                    </a:lnTo>
                    <a:lnTo>
                      <a:pt x="290" y="630"/>
                    </a:lnTo>
                    <a:lnTo>
                      <a:pt x="300" y="630"/>
                    </a:lnTo>
                    <a:lnTo>
                      <a:pt x="300" y="630"/>
                    </a:lnTo>
                    <a:lnTo>
                      <a:pt x="312" y="630"/>
                    </a:lnTo>
                    <a:lnTo>
                      <a:pt x="320" y="626"/>
                    </a:lnTo>
                    <a:lnTo>
                      <a:pt x="326" y="622"/>
                    </a:lnTo>
                    <a:lnTo>
                      <a:pt x="330" y="618"/>
                    </a:lnTo>
                    <a:lnTo>
                      <a:pt x="334" y="616"/>
                    </a:lnTo>
                    <a:lnTo>
                      <a:pt x="338" y="614"/>
                    </a:lnTo>
                    <a:lnTo>
                      <a:pt x="344" y="614"/>
                    </a:lnTo>
                    <a:lnTo>
                      <a:pt x="350" y="620"/>
                    </a:lnTo>
                    <a:lnTo>
                      <a:pt x="350" y="620"/>
                    </a:lnTo>
                    <a:lnTo>
                      <a:pt x="358" y="624"/>
                    </a:lnTo>
                    <a:lnTo>
                      <a:pt x="364" y="624"/>
                    </a:lnTo>
                    <a:lnTo>
                      <a:pt x="368" y="622"/>
                    </a:lnTo>
                    <a:lnTo>
                      <a:pt x="370" y="618"/>
                    </a:lnTo>
                    <a:lnTo>
                      <a:pt x="374" y="614"/>
                    </a:lnTo>
                    <a:lnTo>
                      <a:pt x="380" y="610"/>
                    </a:lnTo>
                    <a:lnTo>
                      <a:pt x="386" y="610"/>
                    </a:lnTo>
                    <a:lnTo>
                      <a:pt x="396" y="612"/>
                    </a:lnTo>
                    <a:lnTo>
                      <a:pt x="396" y="612"/>
                    </a:lnTo>
                    <a:lnTo>
                      <a:pt x="408" y="616"/>
                    </a:lnTo>
                    <a:lnTo>
                      <a:pt x="420" y="618"/>
                    </a:lnTo>
                    <a:lnTo>
                      <a:pt x="446" y="618"/>
                    </a:lnTo>
                    <a:lnTo>
                      <a:pt x="468" y="620"/>
                    </a:lnTo>
                    <a:lnTo>
                      <a:pt x="476" y="622"/>
                    </a:lnTo>
                    <a:lnTo>
                      <a:pt x="484" y="628"/>
                    </a:lnTo>
                    <a:lnTo>
                      <a:pt x="484" y="628"/>
                    </a:lnTo>
                    <a:lnTo>
                      <a:pt x="488" y="632"/>
                    </a:lnTo>
                    <a:lnTo>
                      <a:pt x="492" y="634"/>
                    </a:lnTo>
                    <a:lnTo>
                      <a:pt x="500" y="634"/>
                    </a:lnTo>
                    <a:lnTo>
                      <a:pt x="506" y="634"/>
                    </a:lnTo>
                    <a:lnTo>
                      <a:pt x="512" y="634"/>
                    </a:lnTo>
                    <a:lnTo>
                      <a:pt x="522" y="638"/>
                    </a:lnTo>
                    <a:lnTo>
                      <a:pt x="534" y="642"/>
                    </a:lnTo>
                    <a:lnTo>
                      <a:pt x="534" y="642"/>
                    </a:lnTo>
                    <a:lnTo>
                      <a:pt x="560" y="654"/>
                    </a:lnTo>
                    <a:lnTo>
                      <a:pt x="578" y="664"/>
                    </a:lnTo>
                    <a:lnTo>
                      <a:pt x="584" y="666"/>
                    </a:lnTo>
                    <a:lnTo>
                      <a:pt x="584" y="670"/>
                    </a:lnTo>
                    <a:lnTo>
                      <a:pt x="584" y="674"/>
                    </a:lnTo>
                    <a:lnTo>
                      <a:pt x="578" y="680"/>
                    </a:lnTo>
                    <a:lnTo>
                      <a:pt x="578" y="680"/>
                    </a:lnTo>
                    <a:lnTo>
                      <a:pt x="576" y="684"/>
                    </a:lnTo>
                    <a:lnTo>
                      <a:pt x="576" y="688"/>
                    </a:lnTo>
                    <a:lnTo>
                      <a:pt x="578" y="692"/>
                    </a:lnTo>
                    <a:lnTo>
                      <a:pt x="582" y="696"/>
                    </a:lnTo>
                    <a:lnTo>
                      <a:pt x="596" y="704"/>
                    </a:lnTo>
                    <a:lnTo>
                      <a:pt x="612" y="714"/>
                    </a:lnTo>
                    <a:lnTo>
                      <a:pt x="642" y="734"/>
                    </a:lnTo>
                    <a:lnTo>
                      <a:pt x="652" y="742"/>
                    </a:lnTo>
                    <a:lnTo>
                      <a:pt x="654" y="746"/>
                    </a:lnTo>
                    <a:lnTo>
                      <a:pt x="654" y="750"/>
                    </a:lnTo>
                    <a:lnTo>
                      <a:pt x="654" y="750"/>
                    </a:lnTo>
                    <a:lnTo>
                      <a:pt x="650" y="756"/>
                    </a:lnTo>
                    <a:lnTo>
                      <a:pt x="644" y="764"/>
                    </a:lnTo>
                    <a:lnTo>
                      <a:pt x="632" y="776"/>
                    </a:lnTo>
                    <a:lnTo>
                      <a:pt x="628" y="780"/>
                    </a:lnTo>
                    <a:lnTo>
                      <a:pt x="628" y="782"/>
                    </a:lnTo>
                    <a:lnTo>
                      <a:pt x="632" y="784"/>
                    </a:lnTo>
                    <a:lnTo>
                      <a:pt x="642" y="780"/>
                    </a:lnTo>
                    <a:lnTo>
                      <a:pt x="642" y="780"/>
                    </a:lnTo>
                    <a:lnTo>
                      <a:pt x="660" y="776"/>
                    </a:lnTo>
                    <a:lnTo>
                      <a:pt x="666" y="776"/>
                    </a:lnTo>
                    <a:lnTo>
                      <a:pt x="668" y="776"/>
                    </a:lnTo>
                    <a:lnTo>
                      <a:pt x="670" y="782"/>
                    </a:lnTo>
                    <a:lnTo>
                      <a:pt x="674" y="786"/>
                    </a:lnTo>
                    <a:lnTo>
                      <a:pt x="678" y="790"/>
                    </a:lnTo>
                    <a:lnTo>
                      <a:pt x="678" y="790"/>
                    </a:lnTo>
                    <a:lnTo>
                      <a:pt x="684" y="794"/>
                    </a:lnTo>
                    <a:lnTo>
                      <a:pt x="686" y="798"/>
                    </a:lnTo>
                    <a:lnTo>
                      <a:pt x="684" y="802"/>
                    </a:lnTo>
                    <a:lnTo>
                      <a:pt x="682" y="806"/>
                    </a:lnTo>
                    <a:lnTo>
                      <a:pt x="680" y="810"/>
                    </a:lnTo>
                    <a:lnTo>
                      <a:pt x="680" y="814"/>
                    </a:lnTo>
                    <a:lnTo>
                      <a:pt x="686" y="818"/>
                    </a:lnTo>
                    <a:lnTo>
                      <a:pt x="696" y="824"/>
                    </a:lnTo>
                    <a:lnTo>
                      <a:pt x="696" y="824"/>
                    </a:lnTo>
                    <a:lnTo>
                      <a:pt x="704" y="828"/>
                    </a:lnTo>
                    <a:lnTo>
                      <a:pt x="708" y="834"/>
                    </a:lnTo>
                    <a:lnTo>
                      <a:pt x="706" y="838"/>
                    </a:lnTo>
                    <a:lnTo>
                      <a:pt x="702" y="844"/>
                    </a:lnTo>
                    <a:lnTo>
                      <a:pt x="700" y="850"/>
                    </a:lnTo>
                    <a:lnTo>
                      <a:pt x="698" y="854"/>
                    </a:lnTo>
                    <a:lnTo>
                      <a:pt x="702" y="858"/>
                    </a:lnTo>
                    <a:lnTo>
                      <a:pt x="710" y="862"/>
                    </a:lnTo>
                    <a:lnTo>
                      <a:pt x="710" y="862"/>
                    </a:lnTo>
                    <a:lnTo>
                      <a:pt x="720" y="864"/>
                    </a:lnTo>
                    <a:lnTo>
                      <a:pt x="726" y="870"/>
                    </a:lnTo>
                    <a:lnTo>
                      <a:pt x="730" y="876"/>
                    </a:lnTo>
                    <a:lnTo>
                      <a:pt x="730" y="882"/>
                    </a:lnTo>
                    <a:lnTo>
                      <a:pt x="728" y="888"/>
                    </a:lnTo>
                    <a:lnTo>
                      <a:pt x="722" y="894"/>
                    </a:lnTo>
                    <a:lnTo>
                      <a:pt x="716" y="898"/>
                    </a:lnTo>
                    <a:lnTo>
                      <a:pt x="706" y="902"/>
                    </a:lnTo>
                    <a:lnTo>
                      <a:pt x="706" y="902"/>
                    </a:lnTo>
                    <a:lnTo>
                      <a:pt x="698" y="904"/>
                    </a:lnTo>
                    <a:lnTo>
                      <a:pt x="694" y="906"/>
                    </a:lnTo>
                    <a:lnTo>
                      <a:pt x="690" y="910"/>
                    </a:lnTo>
                    <a:lnTo>
                      <a:pt x="690" y="916"/>
                    </a:lnTo>
                    <a:lnTo>
                      <a:pt x="690" y="922"/>
                    </a:lnTo>
                    <a:lnTo>
                      <a:pt x="694" y="928"/>
                    </a:lnTo>
                    <a:lnTo>
                      <a:pt x="704" y="942"/>
                    </a:lnTo>
                    <a:lnTo>
                      <a:pt x="704" y="942"/>
                    </a:lnTo>
                    <a:lnTo>
                      <a:pt x="708" y="948"/>
                    </a:lnTo>
                    <a:lnTo>
                      <a:pt x="708" y="952"/>
                    </a:lnTo>
                    <a:lnTo>
                      <a:pt x="704" y="956"/>
                    </a:lnTo>
                    <a:lnTo>
                      <a:pt x="698" y="956"/>
                    </a:lnTo>
                    <a:lnTo>
                      <a:pt x="686" y="960"/>
                    </a:lnTo>
                    <a:lnTo>
                      <a:pt x="682" y="960"/>
                    </a:lnTo>
                    <a:lnTo>
                      <a:pt x="684" y="964"/>
                    </a:lnTo>
                    <a:lnTo>
                      <a:pt x="684" y="964"/>
                    </a:lnTo>
                    <a:lnTo>
                      <a:pt x="690" y="972"/>
                    </a:lnTo>
                    <a:lnTo>
                      <a:pt x="696" y="980"/>
                    </a:lnTo>
                    <a:lnTo>
                      <a:pt x="698" y="984"/>
                    </a:lnTo>
                    <a:lnTo>
                      <a:pt x="702" y="986"/>
                    </a:lnTo>
                    <a:lnTo>
                      <a:pt x="706" y="986"/>
                    </a:lnTo>
                    <a:lnTo>
                      <a:pt x="710" y="984"/>
                    </a:lnTo>
                    <a:lnTo>
                      <a:pt x="710" y="984"/>
                    </a:lnTo>
                    <a:lnTo>
                      <a:pt x="716" y="984"/>
                    </a:lnTo>
                    <a:lnTo>
                      <a:pt x="722" y="984"/>
                    </a:lnTo>
                    <a:lnTo>
                      <a:pt x="738" y="988"/>
                    </a:lnTo>
                    <a:lnTo>
                      <a:pt x="744" y="990"/>
                    </a:lnTo>
                    <a:lnTo>
                      <a:pt x="752" y="988"/>
                    </a:lnTo>
                    <a:lnTo>
                      <a:pt x="758" y="984"/>
                    </a:lnTo>
                    <a:lnTo>
                      <a:pt x="764" y="974"/>
                    </a:lnTo>
                    <a:lnTo>
                      <a:pt x="764" y="974"/>
                    </a:lnTo>
                    <a:lnTo>
                      <a:pt x="768" y="970"/>
                    </a:lnTo>
                    <a:lnTo>
                      <a:pt x="770" y="966"/>
                    </a:lnTo>
                    <a:lnTo>
                      <a:pt x="780" y="960"/>
                    </a:lnTo>
                    <a:lnTo>
                      <a:pt x="790" y="960"/>
                    </a:lnTo>
                    <a:lnTo>
                      <a:pt x="800" y="960"/>
                    </a:lnTo>
                    <a:lnTo>
                      <a:pt x="808" y="962"/>
                    </a:lnTo>
                    <a:lnTo>
                      <a:pt x="816" y="966"/>
                    </a:lnTo>
                    <a:lnTo>
                      <a:pt x="818" y="970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8" y="972"/>
                    </a:lnTo>
                    <a:lnTo>
                      <a:pt x="812" y="978"/>
                    </a:lnTo>
                    <a:lnTo>
                      <a:pt x="810" y="980"/>
                    </a:lnTo>
                    <a:lnTo>
                      <a:pt x="812" y="982"/>
                    </a:lnTo>
                    <a:lnTo>
                      <a:pt x="818" y="982"/>
                    </a:lnTo>
                    <a:lnTo>
                      <a:pt x="822" y="984"/>
                    </a:lnTo>
                    <a:lnTo>
                      <a:pt x="828" y="986"/>
                    </a:lnTo>
                    <a:lnTo>
                      <a:pt x="828" y="990"/>
                    </a:lnTo>
                    <a:lnTo>
                      <a:pt x="826" y="994"/>
                    </a:lnTo>
                    <a:lnTo>
                      <a:pt x="826" y="994"/>
                    </a:lnTo>
                    <a:lnTo>
                      <a:pt x="824" y="998"/>
                    </a:lnTo>
                    <a:lnTo>
                      <a:pt x="824" y="1000"/>
                    </a:lnTo>
                    <a:lnTo>
                      <a:pt x="828" y="1006"/>
                    </a:lnTo>
                    <a:lnTo>
                      <a:pt x="836" y="1010"/>
                    </a:lnTo>
                    <a:lnTo>
                      <a:pt x="846" y="1014"/>
                    </a:lnTo>
                    <a:lnTo>
                      <a:pt x="866" y="1020"/>
                    </a:lnTo>
                    <a:lnTo>
                      <a:pt x="872" y="1022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74" y="1024"/>
                    </a:lnTo>
                    <a:lnTo>
                      <a:pt x="868" y="1034"/>
                    </a:lnTo>
                    <a:lnTo>
                      <a:pt x="866" y="1040"/>
                    </a:lnTo>
                    <a:lnTo>
                      <a:pt x="868" y="1044"/>
                    </a:lnTo>
                    <a:lnTo>
                      <a:pt x="874" y="1050"/>
                    </a:lnTo>
                    <a:lnTo>
                      <a:pt x="874" y="1050"/>
                    </a:lnTo>
                    <a:lnTo>
                      <a:pt x="874" y="1052"/>
                    </a:lnTo>
                    <a:lnTo>
                      <a:pt x="872" y="1054"/>
                    </a:lnTo>
                    <a:lnTo>
                      <a:pt x="862" y="1052"/>
                    </a:lnTo>
                    <a:lnTo>
                      <a:pt x="848" y="1048"/>
                    </a:lnTo>
                    <a:lnTo>
                      <a:pt x="832" y="1040"/>
                    </a:lnTo>
                    <a:lnTo>
                      <a:pt x="832" y="1040"/>
                    </a:lnTo>
                    <a:lnTo>
                      <a:pt x="822" y="1036"/>
                    </a:lnTo>
                    <a:lnTo>
                      <a:pt x="810" y="1032"/>
                    </a:lnTo>
                    <a:lnTo>
                      <a:pt x="784" y="1028"/>
                    </a:lnTo>
                    <a:lnTo>
                      <a:pt x="758" y="1028"/>
                    </a:lnTo>
                    <a:lnTo>
                      <a:pt x="748" y="1030"/>
                    </a:lnTo>
                    <a:lnTo>
                      <a:pt x="742" y="1032"/>
                    </a:lnTo>
                    <a:lnTo>
                      <a:pt x="742" y="1032"/>
                    </a:lnTo>
                    <a:lnTo>
                      <a:pt x="738" y="1036"/>
                    </a:lnTo>
                    <a:lnTo>
                      <a:pt x="740" y="1042"/>
                    </a:lnTo>
                    <a:lnTo>
                      <a:pt x="744" y="1046"/>
                    </a:lnTo>
                    <a:lnTo>
                      <a:pt x="750" y="1050"/>
                    </a:lnTo>
                    <a:lnTo>
                      <a:pt x="764" y="1056"/>
                    </a:lnTo>
                    <a:lnTo>
                      <a:pt x="782" y="1060"/>
                    </a:lnTo>
                    <a:lnTo>
                      <a:pt x="782" y="1060"/>
                    </a:lnTo>
                    <a:lnTo>
                      <a:pt x="796" y="1060"/>
                    </a:lnTo>
                    <a:lnTo>
                      <a:pt x="804" y="1064"/>
                    </a:lnTo>
                    <a:lnTo>
                      <a:pt x="810" y="1068"/>
                    </a:lnTo>
                    <a:lnTo>
                      <a:pt x="816" y="1072"/>
                    </a:lnTo>
                    <a:lnTo>
                      <a:pt x="820" y="1078"/>
                    </a:lnTo>
                    <a:lnTo>
                      <a:pt x="824" y="1082"/>
                    </a:lnTo>
                    <a:lnTo>
                      <a:pt x="832" y="1086"/>
                    </a:lnTo>
                    <a:lnTo>
                      <a:pt x="844" y="1088"/>
                    </a:lnTo>
                    <a:lnTo>
                      <a:pt x="844" y="1088"/>
                    </a:lnTo>
                    <a:lnTo>
                      <a:pt x="856" y="1090"/>
                    </a:lnTo>
                    <a:lnTo>
                      <a:pt x="864" y="1092"/>
                    </a:lnTo>
                    <a:lnTo>
                      <a:pt x="868" y="1096"/>
                    </a:lnTo>
                    <a:lnTo>
                      <a:pt x="870" y="1098"/>
                    </a:lnTo>
                    <a:lnTo>
                      <a:pt x="866" y="1108"/>
                    </a:lnTo>
                    <a:lnTo>
                      <a:pt x="866" y="1112"/>
                    </a:lnTo>
                    <a:lnTo>
                      <a:pt x="868" y="1118"/>
                    </a:lnTo>
                    <a:lnTo>
                      <a:pt x="868" y="1118"/>
                    </a:lnTo>
                    <a:lnTo>
                      <a:pt x="872" y="1122"/>
                    </a:lnTo>
                    <a:lnTo>
                      <a:pt x="876" y="1120"/>
                    </a:lnTo>
                    <a:lnTo>
                      <a:pt x="880" y="1118"/>
                    </a:lnTo>
                    <a:lnTo>
                      <a:pt x="882" y="1114"/>
                    </a:lnTo>
                    <a:lnTo>
                      <a:pt x="888" y="1106"/>
                    </a:lnTo>
                    <a:lnTo>
                      <a:pt x="888" y="1106"/>
                    </a:lnTo>
                    <a:lnTo>
                      <a:pt x="890" y="1110"/>
                    </a:lnTo>
                    <a:lnTo>
                      <a:pt x="890" y="1110"/>
                    </a:lnTo>
                    <a:lnTo>
                      <a:pt x="888" y="1116"/>
                    </a:lnTo>
                    <a:lnTo>
                      <a:pt x="888" y="1122"/>
                    </a:lnTo>
                    <a:lnTo>
                      <a:pt x="882" y="1134"/>
                    </a:lnTo>
                    <a:lnTo>
                      <a:pt x="876" y="1148"/>
                    </a:lnTo>
                    <a:lnTo>
                      <a:pt x="872" y="1164"/>
                    </a:lnTo>
                    <a:lnTo>
                      <a:pt x="872" y="1164"/>
                    </a:lnTo>
                    <a:lnTo>
                      <a:pt x="870" y="1170"/>
                    </a:lnTo>
                    <a:lnTo>
                      <a:pt x="872" y="1176"/>
                    </a:lnTo>
                    <a:lnTo>
                      <a:pt x="876" y="1182"/>
                    </a:lnTo>
                    <a:lnTo>
                      <a:pt x="876" y="1184"/>
                    </a:lnTo>
                    <a:lnTo>
                      <a:pt x="876" y="1186"/>
                    </a:lnTo>
                    <a:lnTo>
                      <a:pt x="866" y="1192"/>
                    </a:lnTo>
                    <a:lnTo>
                      <a:pt x="866" y="1192"/>
                    </a:lnTo>
                    <a:lnTo>
                      <a:pt x="858" y="1194"/>
                    </a:lnTo>
                    <a:lnTo>
                      <a:pt x="850" y="1196"/>
                    </a:lnTo>
                    <a:lnTo>
                      <a:pt x="838" y="1192"/>
                    </a:lnTo>
                    <a:lnTo>
                      <a:pt x="828" y="1190"/>
                    </a:lnTo>
                    <a:lnTo>
                      <a:pt x="822" y="1190"/>
                    </a:lnTo>
                    <a:lnTo>
                      <a:pt x="818" y="1194"/>
                    </a:lnTo>
                    <a:lnTo>
                      <a:pt x="818" y="1194"/>
                    </a:lnTo>
                    <a:lnTo>
                      <a:pt x="812" y="1196"/>
                    </a:lnTo>
                    <a:lnTo>
                      <a:pt x="806" y="1198"/>
                    </a:lnTo>
                    <a:lnTo>
                      <a:pt x="796" y="1202"/>
                    </a:lnTo>
                    <a:lnTo>
                      <a:pt x="788" y="1204"/>
                    </a:lnTo>
                    <a:lnTo>
                      <a:pt x="786" y="1206"/>
                    </a:lnTo>
                    <a:lnTo>
                      <a:pt x="788" y="1210"/>
                    </a:lnTo>
                    <a:lnTo>
                      <a:pt x="788" y="1210"/>
                    </a:lnTo>
                    <a:lnTo>
                      <a:pt x="788" y="1212"/>
                    </a:lnTo>
                    <a:lnTo>
                      <a:pt x="788" y="1214"/>
                    </a:lnTo>
                    <a:lnTo>
                      <a:pt x="784" y="1214"/>
                    </a:lnTo>
                    <a:lnTo>
                      <a:pt x="784" y="1216"/>
                    </a:lnTo>
                    <a:lnTo>
                      <a:pt x="784" y="1216"/>
                    </a:lnTo>
                    <a:lnTo>
                      <a:pt x="790" y="1222"/>
                    </a:lnTo>
                    <a:lnTo>
                      <a:pt x="790" y="1222"/>
                    </a:lnTo>
                    <a:lnTo>
                      <a:pt x="794" y="1226"/>
                    </a:lnTo>
                    <a:lnTo>
                      <a:pt x="794" y="1228"/>
                    </a:lnTo>
                    <a:lnTo>
                      <a:pt x="792" y="1232"/>
                    </a:lnTo>
                    <a:lnTo>
                      <a:pt x="788" y="1234"/>
                    </a:lnTo>
                    <a:lnTo>
                      <a:pt x="778" y="1240"/>
                    </a:lnTo>
                    <a:lnTo>
                      <a:pt x="774" y="1242"/>
                    </a:lnTo>
                    <a:lnTo>
                      <a:pt x="774" y="1246"/>
                    </a:lnTo>
                    <a:lnTo>
                      <a:pt x="774" y="1246"/>
                    </a:lnTo>
                    <a:lnTo>
                      <a:pt x="774" y="1252"/>
                    </a:lnTo>
                    <a:lnTo>
                      <a:pt x="772" y="1260"/>
                    </a:lnTo>
                    <a:lnTo>
                      <a:pt x="762" y="1284"/>
                    </a:lnTo>
                    <a:lnTo>
                      <a:pt x="762" y="1284"/>
                    </a:lnTo>
                    <a:lnTo>
                      <a:pt x="762" y="1292"/>
                    </a:lnTo>
                    <a:lnTo>
                      <a:pt x="762" y="1296"/>
                    </a:lnTo>
                    <a:lnTo>
                      <a:pt x="766" y="1300"/>
                    </a:lnTo>
                    <a:lnTo>
                      <a:pt x="772" y="1302"/>
                    </a:lnTo>
                    <a:lnTo>
                      <a:pt x="788" y="1306"/>
                    </a:lnTo>
                    <a:lnTo>
                      <a:pt x="810" y="1306"/>
                    </a:lnTo>
                    <a:lnTo>
                      <a:pt x="810" y="1306"/>
                    </a:lnTo>
                    <a:lnTo>
                      <a:pt x="800" y="1312"/>
                    </a:lnTo>
                    <a:lnTo>
                      <a:pt x="790" y="1320"/>
                    </a:lnTo>
                    <a:lnTo>
                      <a:pt x="782" y="1328"/>
                    </a:lnTo>
                    <a:lnTo>
                      <a:pt x="776" y="1338"/>
                    </a:lnTo>
                    <a:lnTo>
                      <a:pt x="772" y="1346"/>
                    </a:lnTo>
                    <a:lnTo>
                      <a:pt x="772" y="1354"/>
                    </a:lnTo>
                    <a:lnTo>
                      <a:pt x="774" y="1362"/>
                    </a:lnTo>
                    <a:lnTo>
                      <a:pt x="780" y="1368"/>
                    </a:lnTo>
                    <a:lnTo>
                      <a:pt x="780" y="1368"/>
                    </a:lnTo>
                    <a:lnTo>
                      <a:pt x="786" y="1374"/>
                    </a:lnTo>
                    <a:lnTo>
                      <a:pt x="790" y="1378"/>
                    </a:lnTo>
                    <a:lnTo>
                      <a:pt x="792" y="1384"/>
                    </a:lnTo>
                    <a:lnTo>
                      <a:pt x="792" y="1390"/>
                    </a:lnTo>
                    <a:lnTo>
                      <a:pt x="792" y="1392"/>
                    </a:lnTo>
                    <a:lnTo>
                      <a:pt x="796" y="1392"/>
                    </a:lnTo>
                    <a:lnTo>
                      <a:pt x="796" y="1392"/>
                    </a:lnTo>
                    <a:lnTo>
                      <a:pt x="806" y="1394"/>
                    </a:lnTo>
                    <a:lnTo>
                      <a:pt x="812" y="1400"/>
                    </a:lnTo>
                    <a:lnTo>
                      <a:pt x="818" y="1406"/>
                    </a:lnTo>
                    <a:lnTo>
                      <a:pt x="818" y="1410"/>
                    </a:lnTo>
                    <a:lnTo>
                      <a:pt x="818" y="1414"/>
                    </a:lnTo>
                    <a:lnTo>
                      <a:pt x="818" y="1414"/>
                    </a:lnTo>
                    <a:lnTo>
                      <a:pt x="818" y="1420"/>
                    </a:lnTo>
                    <a:lnTo>
                      <a:pt x="818" y="1422"/>
                    </a:lnTo>
                    <a:lnTo>
                      <a:pt x="824" y="1426"/>
                    </a:lnTo>
                    <a:lnTo>
                      <a:pt x="828" y="1430"/>
                    </a:lnTo>
                    <a:lnTo>
                      <a:pt x="830" y="1434"/>
                    </a:lnTo>
                    <a:lnTo>
                      <a:pt x="830" y="1440"/>
                    </a:lnTo>
                    <a:lnTo>
                      <a:pt x="830" y="1440"/>
                    </a:lnTo>
                    <a:lnTo>
                      <a:pt x="830" y="1450"/>
                    </a:lnTo>
                    <a:lnTo>
                      <a:pt x="834" y="1452"/>
                    </a:lnTo>
                    <a:lnTo>
                      <a:pt x="836" y="1454"/>
                    </a:lnTo>
                    <a:lnTo>
                      <a:pt x="836" y="1462"/>
                    </a:lnTo>
                    <a:lnTo>
                      <a:pt x="836" y="1462"/>
                    </a:lnTo>
                    <a:lnTo>
                      <a:pt x="836" y="1476"/>
                    </a:lnTo>
                    <a:lnTo>
                      <a:pt x="836" y="1482"/>
                    </a:lnTo>
                    <a:lnTo>
                      <a:pt x="840" y="1488"/>
                    </a:lnTo>
                    <a:lnTo>
                      <a:pt x="842" y="1490"/>
                    </a:lnTo>
                    <a:lnTo>
                      <a:pt x="848" y="1488"/>
                    </a:lnTo>
                    <a:lnTo>
                      <a:pt x="852" y="1482"/>
                    </a:lnTo>
                    <a:lnTo>
                      <a:pt x="860" y="1470"/>
                    </a:lnTo>
                    <a:lnTo>
                      <a:pt x="860" y="1470"/>
                    </a:lnTo>
                    <a:lnTo>
                      <a:pt x="870" y="1454"/>
                    </a:lnTo>
                    <a:lnTo>
                      <a:pt x="872" y="1454"/>
                    </a:lnTo>
                    <a:lnTo>
                      <a:pt x="874" y="1456"/>
                    </a:lnTo>
                    <a:lnTo>
                      <a:pt x="876" y="1462"/>
                    </a:lnTo>
                    <a:lnTo>
                      <a:pt x="878" y="1462"/>
                    </a:lnTo>
                    <a:lnTo>
                      <a:pt x="882" y="1460"/>
                    </a:lnTo>
                    <a:lnTo>
                      <a:pt x="882" y="1460"/>
                    </a:lnTo>
                    <a:lnTo>
                      <a:pt x="888" y="1456"/>
                    </a:lnTo>
                    <a:lnTo>
                      <a:pt x="894" y="1454"/>
                    </a:lnTo>
                    <a:lnTo>
                      <a:pt x="900" y="1452"/>
                    </a:lnTo>
                    <a:lnTo>
                      <a:pt x="906" y="1454"/>
                    </a:lnTo>
                    <a:lnTo>
                      <a:pt x="912" y="1456"/>
                    </a:lnTo>
                    <a:lnTo>
                      <a:pt x="916" y="1458"/>
                    </a:lnTo>
                    <a:lnTo>
                      <a:pt x="918" y="1464"/>
                    </a:lnTo>
                    <a:lnTo>
                      <a:pt x="920" y="1470"/>
                    </a:lnTo>
                    <a:lnTo>
                      <a:pt x="920" y="1470"/>
                    </a:lnTo>
                    <a:lnTo>
                      <a:pt x="922" y="1474"/>
                    </a:lnTo>
                    <a:lnTo>
                      <a:pt x="920" y="1474"/>
                    </a:lnTo>
                    <a:lnTo>
                      <a:pt x="912" y="1470"/>
                    </a:lnTo>
                    <a:lnTo>
                      <a:pt x="902" y="1464"/>
                    </a:lnTo>
                    <a:lnTo>
                      <a:pt x="896" y="1462"/>
                    </a:lnTo>
                    <a:lnTo>
                      <a:pt x="890" y="1464"/>
                    </a:lnTo>
                    <a:lnTo>
                      <a:pt x="890" y="1464"/>
                    </a:lnTo>
                    <a:lnTo>
                      <a:pt x="888" y="1466"/>
                    </a:lnTo>
                    <a:lnTo>
                      <a:pt x="888" y="1468"/>
                    </a:lnTo>
                    <a:lnTo>
                      <a:pt x="894" y="1474"/>
                    </a:lnTo>
                    <a:lnTo>
                      <a:pt x="898" y="1474"/>
                    </a:lnTo>
                    <a:lnTo>
                      <a:pt x="898" y="1476"/>
                    </a:lnTo>
                    <a:lnTo>
                      <a:pt x="896" y="1478"/>
                    </a:lnTo>
                    <a:lnTo>
                      <a:pt x="890" y="1478"/>
                    </a:lnTo>
                    <a:lnTo>
                      <a:pt x="890" y="1478"/>
                    </a:lnTo>
                    <a:lnTo>
                      <a:pt x="884" y="1480"/>
                    </a:lnTo>
                    <a:lnTo>
                      <a:pt x="880" y="1480"/>
                    </a:lnTo>
                    <a:lnTo>
                      <a:pt x="880" y="1484"/>
                    </a:lnTo>
                    <a:lnTo>
                      <a:pt x="880" y="1486"/>
                    </a:lnTo>
                    <a:lnTo>
                      <a:pt x="880" y="1488"/>
                    </a:lnTo>
                    <a:lnTo>
                      <a:pt x="880" y="1490"/>
                    </a:lnTo>
                    <a:lnTo>
                      <a:pt x="876" y="1492"/>
                    </a:lnTo>
                    <a:lnTo>
                      <a:pt x="868" y="1492"/>
                    </a:lnTo>
                    <a:lnTo>
                      <a:pt x="868" y="1492"/>
                    </a:lnTo>
                    <a:lnTo>
                      <a:pt x="856" y="1494"/>
                    </a:lnTo>
                    <a:lnTo>
                      <a:pt x="856" y="1496"/>
                    </a:lnTo>
                    <a:lnTo>
                      <a:pt x="856" y="1496"/>
                    </a:lnTo>
                    <a:lnTo>
                      <a:pt x="860" y="1500"/>
                    </a:lnTo>
                    <a:lnTo>
                      <a:pt x="860" y="1502"/>
                    </a:lnTo>
                    <a:lnTo>
                      <a:pt x="858" y="1504"/>
                    </a:lnTo>
                    <a:lnTo>
                      <a:pt x="858" y="1504"/>
                    </a:lnTo>
                    <a:lnTo>
                      <a:pt x="854" y="1506"/>
                    </a:lnTo>
                    <a:lnTo>
                      <a:pt x="854" y="1506"/>
                    </a:lnTo>
                    <a:lnTo>
                      <a:pt x="856" y="1510"/>
                    </a:lnTo>
                    <a:lnTo>
                      <a:pt x="860" y="1514"/>
                    </a:lnTo>
                    <a:lnTo>
                      <a:pt x="862" y="1516"/>
                    </a:lnTo>
                    <a:lnTo>
                      <a:pt x="860" y="1518"/>
                    </a:lnTo>
                    <a:lnTo>
                      <a:pt x="860" y="1518"/>
                    </a:lnTo>
                    <a:lnTo>
                      <a:pt x="860" y="1522"/>
                    </a:lnTo>
                    <a:lnTo>
                      <a:pt x="860" y="1526"/>
                    </a:lnTo>
                    <a:lnTo>
                      <a:pt x="862" y="1534"/>
                    </a:lnTo>
                    <a:lnTo>
                      <a:pt x="874" y="1554"/>
                    </a:lnTo>
                    <a:lnTo>
                      <a:pt x="874" y="1554"/>
                    </a:lnTo>
                    <a:lnTo>
                      <a:pt x="878" y="1558"/>
                    </a:lnTo>
                    <a:lnTo>
                      <a:pt x="882" y="1560"/>
                    </a:lnTo>
                    <a:lnTo>
                      <a:pt x="890" y="1562"/>
                    </a:lnTo>
                    <a:lnTo>
                      <a:pt x="898" y="1562"/>
                    </a:lnTo>
                    <a:lnTo>
                      <a:pt x="898" y="1564"/>
                    </a:lnTo>
                    <a:lnTo>
                      <a:pt x="898" y="1568"/>
                    </a:lnTo>
                    <a:lnTo>
                      <a:pt x="898" y="1568"/>
                    </a:lnTo>
                    <a:lnTo>
                      <a:pt x="896" y="1572"/>
                    </a:lnTo>
                    <a:lnTo>
                      <a:pt x="898" y="1576"/>
                    </a:lnTo>
                    <a:lnTo>
                      <a:pt x="902" y="1582"/>
                    </a:lnTo>
                    <a:lnTo>
                      <a:pt x="906" y="1590"/>
                    </a:lnTo>
                    <a:lnTo>
                      <a:pt x="908" y="1594"/>
                    </a:lnTo>
                    <a:lnTo>
                      <a:pt x="908" y="1598"/>
                    </a:lnTo>
                    <a:lnTo>
                      <a:pt x="908" y="1598"/>
                    </a:lnTo>
                    <a:lnTo>
                      <a:pt x="908" y="1606"/>
                    </a:lnTo>
                    <a:lnTo>
                      <a:pt x="910" y="1610"/>
                    </a:lnTo>
                    <a:lnTo>
                      <a:pt x="914" y="1614"/>
                    </a:lnTo>
                    <a:lnTo>
                      <a:pt x="926" y="1618"/>
                    </a:lnTo>
                    <a:lnTo>
                      <a:pt x="926" y="1618"/>
                    </a:lnTo>
                    <a:lnTo>
                      <a:pt x="932" y="1622"/>
                    </a:lnTo>
                    <a:lnTo>
                      <a:pt x="934" y="1626"/>
                    </a:lnTo>
                    <a:lnTo>
                      <a:pt x="936" y="1630"/>
                    </a:lnTo>
                    <a:lnTo>
                      <a:pt x="934" y="1634"/>
                    </a:lnTo>
                    <a:lnTo>
                      <a:pt x="934" y="1640"/>
                    </a:lnTo>
                    <a:lnTo>
                      <a:pt x="934" y="1640"/>
                    </a:lnTo>
                    <a:lnTo>
                      <a:pt x="938" y="1640"/>
                    </a:lnTo>
                    <a:lnTo>
                      <a:pt x="938" y="1640"/>
                    </a:lnTo>
                    <a:lnTo>
                      <a:pt x="942" y="1640"/>
                    </a:lnTo>
                    <a:lnTo>
                      <a:pt x="944" y="1640"/>
                    </a:lnTo>
                    <a:lnTo>
                      <a:pt x="946" y="1648"/>
                    </a:lnTo>
                    <a:lnTo>
                      <a:pt x="946" y="1654"/>
                    </a:lnTo>
                    <a:lnTo>
                      <a:pt x="948" y="1656"/>
                    </a:lnTo>
                    <a:lnTo>
                      <a:pt x="950" y="1656"/>
                    </a:lnTo>
                    <a:lnTo>
                      <a:pt x="950" y="1656"/>
                    </a:lnTo>
                    <a:lnTo>
                      <a:pt x="956" y="1656"/>
                    </a:lnTo>
                    <a:lnTo>
                      <a:pt x="958" y="1656"/>
                    </a:lnTo>
                    <a:lnTo>
                      <a:pt x="958" y="1662"/>
                    </a:lnTo>
                    <a:lnTo>
                      <a:pt x="954" y="1672"/>
                    </a:lnTo>
                    <a:lnTo>
                      <a:pt x="954" y="1672"/>
                    </a:lnTo>
                    <a:lnTo>
                      <a:pt x="952" y="1676"/>
                    </a:lnTo>
                    <a:lnTo>
                      <a:pt x="956" y="1678"/>
                    </a:lnTo>
                    <a:lnTo>
                      <a:pt x="966" y="1678"/>
                    </a:lnTo>
                    <a:lnTo>
                      <a:pt x="978" y="1678"/>
                    </a:lnTo>
                    <a:lnTo>
                      <a:pt x="980" y="1680"/>
                    </a:lnTo>
                    <a:lnTo>
                      <a:pt x="980" y="1684"/>
                    </a:lnTo>
                    <a:lnTo>
                      <a:pt x="980" y="1684"/>
                    </a:lnTo>
                    <a:lnTo>
                      <a:pt x="978" y="1690"/>
                    </a:lnTo>
                    <a:lnTo>
                      <a:pt x="978" y="1692"/>
                    </a:lnTo>
                    <a:lnTo>
                      <a:pt x="980" y="1694"/>
                    </a:lnTo>
                    <a:lnTo>
                      <a:pt x="982" y="1694"/>
                    </a:lnTo>
                    <a:lnTo>
                      <a:pt x="990" y="1694"/>
                    </a:lnTo>
                    <a:lnTo>
                      <a:pt x="994" y="1696"/>
                    </a:lnTo>
                    <a:lnTo>
                      <a:pt x="996" y="1698"/>
                    </a:lnTo>
                    <a:lnTo>
                      <a:pt x="996" y="1698"/>
                    </a:lnTo>
                    <a:lnTo>
                      <a:pt x="998" y="1700"/>
                    </a:lnTo>
                    <a:lnTo>
                      <a:pt x="996" y="1702"/>
                    </a:lnTo>
                    <a:lnTo>
                      <a:pt x="994" y="1704"/>
                    </a:lnTo>
                    <a:lnTo>
                      <a:pt x="990" y="1706"/>
                    </a:lnTo>
                    <a:lnTo>
                      <a:pt x="990" y="1708"/>
                    </a:lnTo>
                    <a:lnTo>
                      <a:pt x="990" y="1712"/>
                    </a:lnTo>
                    <a:lnTo>
                      <a:pt x="990" y="1712"/>
                    </a:lnTo>
                    <a:lnTo>
                      <a:pt x="992" y="1722"/>
                    </a:lnTo>
                    <a:lnTo>
                      <a:pt x="996" y="1724"/>
                    </a:lnTo>
                    <a:lnTo>
                      <a:pt x="1000" y="1726"/>
                    </a:lnTo>
                    <a:lnTo>
                      <a:pt x="1004" y="1726"/>
                    </a:lnTo>
                    <a:lnTo>
                      <a:pt x="1010" y="1726"/>
                    </a:lnTo>
                    <a:lnTo>
                      <a:pt x="1016" y="1722"/>
                    </a:lnTo>
                    <a:lnTo>
                      <a:pt x="1024" y="1718"/>
                    </a:lnTo>
                    <a:lnTo>
                      <a:pt x="1024" y="1718"/>
                    </a:lnTo>
                    <a:lnTo>
                      <a:pt x="1032" y="1712"/>
                    </a:lnTo>
                    <a:lnTo>
                      <a:pt x="1038" y="1712"/>
                    </a:lnTo>
                    <a:lnTo>
                      <a:pt x="1040" y="1712"/>
                    </a:lnTo>
                    <a:lnTo>
                      <a:pt x="1044" y="1714"/>
                    </a:lnTo>
                    <a:lnTo>
                      <a:pt x="1048" y="1716"/>
                    </a:lnTo>
                    <a:lnTo>
                      <a:pt x="1050" y="1716"/>
                    </a:lnTo>
                    <a:lnTo>
                      <a:pt x="1054" y="1714"/>
                    </a:lnTo>
                    <a:lnTo>
                      <a:pt x="1054" y="1714"/>
                    </a:lnTo>
                    <a:lnTo>
                      <a:pt x="1064" y="1708"/>
                    </a:lnTo>
                    <a:lnTo>
                      <a:pt x="1072" y="1704"/>
                    </a:lnTo>
                    <a:lnTo>
                      <a:pt x="1080" y="1700"/>
                    </a:lnTo>
                    <a:lnTo>
                      <a:pt x="1080" y="1696"/>
                    </a:lnTo>
                    <a:lnTo>
                      <a:pt x="1080" y="1692"/>
                    </a:lnTo>
                    <a:lnTo>
                      <a:pt x="1080" y="1692"/>
                    </a:lnTo>
                    <a:lnTo>
                      <a:pt x="1080" y="1688"/>
                    </a:lnTo>
                    <a:lnTo>
                      <a:pt x="1082" y="1686"/>
                    </a:lnTo>
                    <a:lnTo>
                      <a:pt x="1084" y="1688"/>
                    </a:lnTo>
                    <a:lnTo>
                      <a:pt x="1086" y="1690"/>
                    </a:lnTo>
                    <a:lnTo>
                      <a:pt x="1088" y="1694"/>
                    </a:lnTo>
                    <a:lnTo>
                      <a:pt x="1090" y="1698"/>
                    </a:lnTo>
                    <a:lnTo>
                      <a:pt x="1090" y="1704"/>
                    </a:lnTo>
                    <a:lnTo>
                      <a:pt x="1086" y="1710"/>
                    </a:lnTo>
                    <a:lnTo>
                      <a:pt x="1086" y="1710"/>
                    </a:lnTo>
                    <a:lnTo>
                      <a:pt x="1078" y="1718"/>
                    </a:lnTo>
                    <a:lnTo>
                      <a:pt x="1076" y="1726"/>
                    </a:lnTo>
                    <a:lnTo>
                      <a:pt x="1076" y="1728"/>
                    </a:lnTo>
                    <a:lnTo>
                      <a:pt x="1078" y="1732"/>
                    </a:lnTo>
                    <a:lnTo>
                      <a:pt x="1090" y="1738"/>
                    </a:lnTo>
                    <a:lnTo>
                      <a:pt x="1090" y="1738"/>
                    </a:lnTo>
                    <a:lnTo>
                      <a:pt x="1098" y="1740"/>
                    </a:lnTo>
                    <a:lnTo>
                      <a:pt x="1106" y="1740"/>
                    </a:lnTo>
                    <a:lnTo>
                      <a:pt x="1120" y="1738"/>
                    </a:lnTo>
                    <a:lnTo>
                      <a:pt x="1124" y="1738"/>
                    </a:lnTo>
                    <a:lnTo>
                      <a:pt x="1126" y="1740"/>
                    </a:lnTo>
                    <a:lnTo>
                      <a:pt x="1126" y="1744"/>
                    </a:lnTo>
                    <a:lnTo>
                      <a:pt x="1120" y="1752"/>
                    </a:lnTo>
                    <a:lnTo>
                      <a:pt x="1120" y="1752"/>
                    </a:lnTo>
                    <a:lnTo>
                      <a:pt x="1116" y="1758"/>
                    </a:lnTo>
                    <a:lnTo>
                      <a:pt x="1116" y="1762"/>
                    </a:lnTo>
                    <a:lnTo>
                      <a:pt x="1118" y="1766"/>
                    </a:lnTo>
                    <a:lnTo>
                      <a:pt x="1122" y="1768"/>
                    </a:lnTo>
                    <a:lnTo>
                      <a:pt x="1126" y="1770"/>
                    </a:lnTo>
                    <a:lnTo>
                      <a:pt x="1132" y="1770"/>
                    </a:lnTo>
                    <a:lnTo>
                      <a:pt x="1136" y="1768"/>
                    </a:lnTo>
                    <a:lnTo>
                      <a:pt x="1140" y="1766"/>
                    </a:lnTo>
                    <a:lnTo>
                      <a:pt x="1140" y="1766"/>
                    </a:lnTo>
                    <a:lnTo>
                      <a:pt x="1150" y="1760"/>
                    </a:lnTo>
                    <a:lnTo>
                      <a:pt x="1154" y="1758"/>
                    </a:lnTo>
                    <a:lnTo>
                      <a:pt x="1156" y="1758"/>
                    </a:lnTo>
                    <a:lnTo>
                      <a:pt x="1162" y="1762"/>
                    </a:lnTo>
                    <a:lnTo>
                      <a:pt x="1170" y="1770"/>
                    </a:lnTo>
                    <a:lnTo>
                      <a:pt x="1170" y="1770"/>
                    </a:lnTo>
                    <a:lnTo>
                      <a:pt x="1182" y="1776"/>
                    </a:lnTo>
                    <a:lnTo>
                      <a:pt x="1186" y="1776"/>
                    </a:lnTo>
                    <a:lnTo>
                      <a:pt x="1190" y="1776"/>
                    </a:lnTo>
                    <a:lnTo>
                      <a:pt x="1194" y="1774"/>
                    </a:lnTo>
                    <a:lnTo>
                      <a:pt x="1196" y="1768"/>
                    </a:lnTo>
                    <a:lnTo>
                      <a:pt x="1198" y="1764"/>
                    </a:lnTo>
                    <a:lnTo>
                      <a:pt x="1200" y="1756"/>
                    </a:lnTo>
                    <a:lnTo>
                      <a:pt x="1200" y="1756"/>
                    </a:lnTo>
                    <a:lnTo>
                      <a:pt x="1200" y="1750"/>
                    </a:lnTo>
                    <a:lnTo>
                      <a:pt x="1198" y="1746"/>
                    </a:lnTo>
                    <a:lnTo>
                      <a:pt x="1194" y="1746"/>
                    </a:lnTo>
                    <a:lnTo>
                      <a:pt x="1192" y="1746"/>
                    </a:lnTo>
                    <a:lnTo>
                      <a:pt x="1186" y="1746"/>
                    </a:lnTo>
                    <a:lnTo>
                      <a:pt x="1186" y="1746"/>
                    </a:lnTo>
                    <a:lnTo>
                      <a:pt x="1186" y="1744"/>
                    </a:lnTo>
                    <a:lnTo>
                      <a:pt x="1186" y="1744"/>
                    </a:lnTo>
                    <a:lnTo>
                      <a:pt x="1190" y="1740"/>
                    </a:lnTo>
                    <a:lnTo>
                      <a:pt x="1194" y="1738"/>
                    </a:lnTo>
                    <a:lnTo>
                      <a:pt x="1204" y="1734"/>
                    </a:lnTo>
                    <a:lnTo>
                      <a:pt x="1208" y="1732"/>
                    </a:lnTo>
                    <a:lnTo>
                      <a:pt x="1210" y="1728"/>
                    </a:lnTo>
                    <a:lnTo>
                      <a:pt x="1212" y="1724"/>
                    </a:lnTo>
                    <a:lnTo>
                      <a:pt x="1212" y="1718"/>
                    </a:lnTo>
                    <a:lnTo>
                      <a:pt x="1212" y="1718"/>
                    </a:lnTo>
                    <a:lnTo>
                      <a:pt x="1210" y="1712"/>
                    </a:lnTo>
                    <a:lnTo>
                      <a:pt x="1214" y="1702"/>
                    </a:lnTo>
                    <a:lnTo>
                      <a:pt x="1224" y="1676"/>
                    </a:lnTo>
                    <a:lnTo>
                      <a:pt x="1234" y="1652"/>
                    </a:lnTo>
                    <a:lnTo>
                      <a:pt x="1236" y="1640"/>
                    </a:lnTo>
                    <a:lnTo>
                      <a:pt x="1236" y="1630"/>
                    </a:lnTo>
                    <a:lnTo>
                      <a:pt x="1236" y="1630"/>
                    </a:lnTo>
                    <a:lnTo>
                      <a:pt x="1234" y="1624"/>
                    </a:lnTo>
                    <a:lnTo>
                      <a:pt x="1232" y="1622"/>
                    </a:lnTo>
                    <a:lnTo>
                      <a:pt x="1230" y="1622"/>
                    </a:lnTo>
                    <a:lnTo>
                      <a:pt x="1228" y="1622"/>
                    </a:lnTo>
                    <a:lnTo>
                      <a:pt x="1226" y="1622"/>
                    </a:lnTo>
                    <a:lnTo>
                      <a:pt x="1222" y="1622"/>
                    </a:lnTo>
                    <a:lnTo>
                      <a:pt x="1220" y="1620"/>
                    </a:lnTo>
                    <a:lnTo>
                      <a:pt x="1214" y="1616"/>
                    </a:lnTo>
                    <a:lnTo>
                      <a:pt x="1214" y="1616"/>
                    </a:lnTo>
                    <a:lnTo>
                      <a:pt x="1212" y="1610"/>
                    </a:lnTo>
                    <a:lnTo>
                      <a:pt x="1212" y="1610"/>
                    </a:lnTo>
                    <a:lnTo>
                      <a:pt x="1222" y="1612"/>
                    </a:lnTo>
                    <a:lnTo>
                      <a:pt x="1232" y="1614"/>
                    </a:lnTo>
                    <a:lnTo>
                      <a:pt x="1236" y="1614"/>
                    </a:lnTo>
                    <a:lnTo>
                      <a:pt x="1236" y="1610"/>
                    </a:lnTo>
                    <a:lnTo>
                      <a:pt x="1236" y="1610"/>
                    </a:lnTo>
                    <a:lnTo>
                      <a:pt x="1234" y="1604"/>
                    </a:lnTo>
                    <a:lnTo>
                      <a:pt x="1232" y="1602"/>
                    </a:lnTo>
                    <a:lnTo>
                      <a:pt x="1226" y="1600"/>
                    </a:lnTo>
                    <a:lnTo>
                      <a:pt x="1220" y="1598"/>
                    </a:lnTo>
                    <a:lnTo>
                      <a:pt x="1220" y="1596"/>
                    </a:lnTo>
                    <a:lnTo>
                      <a:pt x="1222" y="1592"/>
                    </a:lnTo>
                    <a:lnTo>
                      <a:pt x="1222" y="1592"/>
                    </a:lnTo>
                    <a:lnTo>
                      <a:pt x="1226" y="1590"/>
                    </a:lnTo>
                    <a:lnTo>
                      <a:pt x="1230" y="1588"/>
                    </a:lnTo>
                    <a:lnTo>
                      <a:pt x="1244" y="1584"/>
                    </a:lnTo>
                    <a:lnTo>
                      <a:pt x="1250" y="1582"/>
                    </a:lnTo>
                    <a:lnTo>
                      <a:pt x="1256" y="1580"/>
                    </a:lnTo>
                    <a:lnTo>
                      <a:pt x="1260" y="1574"/>
                    </a:lnTo>
                    <a:lnTo>
                      <a:pt x="1262" y="1566"/>
                    </a:lnTo>
                    <a:lnTo>
                      <a:pt x="1262" y="1566"/>
                    </a:lnTo>
                    <a:lnTo>
                      <a:pt x="1264" y="1560"/>
                    </a:lnTo>
                    <a:lnTo>
                      <a:pt x="1266" y="1558"/>
                    </a:lnTo>
                    <a:lnTo>
                      <a:pt x="1268" y="1558"/>
                    </a:lnTo>
                    <a:lnTo>
                      <a:pt x="1272" y="1560"/>
                    </a:lnTo>
                    <a:lnTo>
                      <a:pt x="1278" y="1562"/>
                    </a:lnTo>
                    <a:lnTo>
                      <a:pt x="1280" y="1560"/>
                    </a:lnTo>
                    <a:lnTo>
                      <a:pt x="1280" y="1556"/>
                    </a:lnTo>
                    <a:lnTo>
                      <a:pt x="1280" y="1556"/>
                    </a:lnTo>
                    <a:lnTo>
                      <a:pt x="1282" y="1550"/>
                    </a:lnTo>
                    <a:lnTo>
                      <a:pt x="1284" y="1546"/>
                    </a:lnTo>
                    <a:lnTo>
                      <a:pt x="1294" y="1538"/>
                    </a:lnTo>
                    <a:lnTo>
                      <a:pt x="1300" y="1530"/>
                    </a:lnTo>
                    <a:lnTo>
                      <a:pt x="1302" y="1526"/>
                    </a:lnTo>
                    <a:lnTo>
                      <a:pt x="1302" y="1520"/>
                    </a:lnTo>
                    <a:lnTo>
                      <a:pt x="1302" y="1520"/>
                    </a:lnTo>
                    <a:lnTo>
                      <a:pt x="1300" y="1510"/>
                    </a:lnTo>
                    <a:lnTo>
                      <a:pt x="1300" y="1502"/>
                    </a:lnTo>
                    <a:lnTo>
                      <a:pt x="1300" y="1500"/>
                    </a:lnTo>
                    <a:lnTo>
                      <a:pt x="1298" y="1500"/>
                    </a:lnTo>
                    <a:lnTo>
                      <a:pt x="1286" y="1498"/>
                    </a:lnTo>
                    <a:lnTo>
                      <a:pt x="1286" y="1498"/>
                    </a:lnTo>
                    <a:lnTo>
                      <a:pt x="1278" y="1498"/>
                    </a:lnTo>
                    <a:lnTo>
                      <a:pt x="1270" y="1496"/>
                    </a:lnTo>
                    <a:lnTo>
                      <a:pt x="1266" y="1492"/>
                    </a:lnTo>
                    <a:lnTo>
                      <a:pt x="1262" y="1490"/>
                    </a:lnTo>
                    <a:lnTo>
                      <a:pt x="1260" y="1486"/>
                    </a:lnTo>
                    <a:lnTo>
                      <a:pt x="1262" y="1486"/>
                    </a:lnTo>
                    <a:lnTo>
                      <a:pt x="1264" y="1484"/>
                    </a:lnTo>
                    <a:lnTo>
                      <a:pt x="1270" y="1486"/>
                    </a:lnTo>
                    <a:lnTo>
                      <a:pt x="1270" y="1486"/>
                    </a:lnTo>
                    <a:lnTo>
                      <a:pt x="1276" y="1486"/>
                    </a:lnTo>
                    <a:lnTo>
                      <a:pt x="1280" y="1486"/>
                    </a:lnTo>
                    <a:lnTo>
                      <a:pt x="1288" y="1484"/>
                    </a:lnTo>
                    <a:lnTo>
                      <a:pt x="1294" y="1482"/>
                    </a:lnTo>
                    <a:lnTo>
                      <a:pt x="1300" y="1482"/>
                    </a:lnTo>
                    <a:lnTo>
                      <a:pt x="1300" y="1482"/>
                    </a:lnTo>
                    <a:lnTo>
                      <a:pt x="1308" y="1482"/>
                    </a:lnTo>
                    <a:lnTo>
                      <a:pt x="1308" y="1482"/>
                    </a:lnTo>
                    <a:lnTo>
                      <a:pt x="1308" y="1478"/>
                    </a:lnTo>
                    <a:lnTo>
                      <a:pt x="1302" y="1470"/>
                    </a:lnTo>
                    <a:lnTo>
                      <a:pt x="1290" y="1454"/>
                    </a:lnTo>
                    <a:lnTo>
                      <a:pt x="1290" y="1454"/>
                    </a:lnTo>
                    <a:lnTo>
                      <a:pt x="1282" y="1448"/>
                    </a:lnTo>
                    <a:lnTo>
                      <a:pt x="1280" y="1442"/>
                    </a:lnTo>
                    <a:lnTo>
                      <a:pt x="1280" y="1438"/>
                    </a:lnTo>
                    <a:lnTo>
                      <a:pt x="1284" y="1434"/>
                    </a:lnTo>
                    <a:lnTo>
                      <a:pt x="1288" y="1434"/>
                    </a:lnTo>
                    <a:lnTo>
                      <a:pt x="1296" y="1434"/>
                    </a:lnTo>
                    <a:lnTo>
                      <a:pt x="1310" y="1438"/>
                    </a:lnTo>
                    <a:lnTo>
                      <a:pt x="1310" y="1438"/>
                    </a:lnTo>
                    <a:lnTo>
                      <a:pt x="1316" y="1438"/>
                    </a:lnTo>
                    <a:lnTo>
                      <a:pt x="1320" y="1436"/>
                    </a:lnTo>
                    <a:lnTo>
                      <a:pt x="1324" y="1434"/>
                    </a:lnTo>
                    <a:lnTo>
                      <a:pt x="1326" y="1430"/>
                    </a:lnTo>
                    <a:lnTo>
                      <a:pt x="1332" y="1420"/>
                    </a:lnTo>
                    <a:lnTo>
                      <a:pt x="1334" y="1418"/>
                    </a:lnTo>
                    <a:lnTo>
                      <a:pt x="1338" y="1418"/>
                    </a:lnTo>
                    <a:lnTo>
                      <a:pt x="1338" y="1418"/>
                    </a:lnTo>
                    <a:lnTo>
                      <a:pt x="1344" y="1420"/>
                    </a:lnTo>
                    <a:lnTo>
                      <a:pt x="1346" y="1418"/>
                    </a:lnTo>
                    <a:lnTo>
                      <a:pt x="1344" y="1414"/>
                    </a:lnTo>
                    <a:lnTo>
                      <a:pt x="1334" y="1408"/>
                    </a:lnTo>
                    <a:lnTo>
                      <a:pt x="1334" y="1408"/>
                    </a:lnTo>
                    <a:lnTo>
                      <a:pt x="1326" y="1404"/>
                    </a:lnTo>
                    <a:lnTo>
                      <a:pt x="1324" y="1404"/>
                    </a:lnTo>
                    <a:lnTo>
                      <a:pt x="1326" y="1402"/>
                    </a:lnTo>
                    <a:lnTo>
                      <a:pt x="1330" y="1402"/>
                    </a:lnTo>
                    <a:lnTo>
                      <a:pt x="1338" y="1400"/>
                    </a:lnTo>
                    <a:lnTo>
                      <a:pt x="1338" y="1400"/>
                    </a:lnTo>
                    <a:lnTo>
                      <a:pt x="1344" y="1398"/>
                    </a:lnTo>
                    <a:lnTo>
                      <a:pt x="1352" y="1398"/>
                    </a:lnTo>
                    <a:lnTo>
                      <a:pt x="1360" y="1400"/>
                    </a:lnTo>
                    <a:lnTo>
                      <a:pt x="1370" y="1398"/>
                    </a:lnTo>
                    <a:lnTo>
                      <a:pt x="1370" y="1398"/>
                    </a:lnTo>
                    <a:lnTo>
                      <a:pt x="1380" y="1396"/>
                    </a:lnTo>
                    <a:lnTo>
                      <a:pt x="1388" y="1396"/>
                    </a:lnTo>
                    <a:lnTo>
                      <a:pt x="1394" y="1396"/>
                    </a:lnTo>
                    <a:lnTo>
                      <a:pt x="1398" y="1390"/>
                    </a:lnTo>
                    <a:lnTo>
                      <a:pt x="1398" y="1390"/>
                    </a:lnTo>
                    <a:lnTo>
                      <a:pt x="1400" y="1386"/>
                    </a:lnTo>
                    <a:lnTo>
                      <a:pt x="1398" y="1384"/>
                    </a:lnTo>
                    <a:lnTo>
                      <a:pt x="1396" y="1380"/>
                    </a:lnTo>
                    <a:lnTo>
                      <a:pt x="1402" y="1376"/>
                    </a:lnTo>
                    <a:lnTo>
                      <a:pt x="1402" y="1376"/>
                    </a:lnTo>
                    <a:lnTo>
                      <a:pt x="1404" y="1372"/>
                    </a:lnTo>
                    <a:lnTo>
                      <a:pt x="1404" y="1368"/>
                    </a:lnTo>
                    <a:lnTo>
                      <a:pt x="1404" y="1364"/>
                    </a:lnTo>
                    <a:lnTo>
                      <a:pt x="1410" y="1360"/>
                    </a:lnTo>
                    <a:lnTo>
                      <a:pt x="1410" y="1360"/>
                    </a:lnTo>
                    <a:lnTo>
                      <a:pt x="1414" y="1356"/>
                    </a:lnTo>
                    <a:lnTo>
                      <a:pt x="1416" y="1354"/>
                    </a:lnTo>
                    <a:lnTo>
                      <a:pt x="1414" y="1352"/>
                    </a:lnTo>
                    <a:lnTo>
                      <a:pt x="1412" y="1350"/>
                    </a:lnTo>
                    <a:lnTo>
                      <a:pt x="1406" y="1346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06" y="1344"/>
                    </a:lnTo>
                    <a:lnTo>
                      <a:pt x="1410" y="1342"/>
                    </a:lnTo>
                    <a:lnTo>
                      <a:pt x="1414" y="1344"/>
                    </a:lnTo>
                    <a:lnTo>
                      <a:pt x="1420" y="1344"/>
                    </a:lnTo>
                    <a:lnTo>
                      <a:pt x="1430" y="1344"/>
                    </a:lnTo>
                    <a:lnTo>
                      <a:pt x="1430" y="1344"/>
                    </a:lnTo>
                    <a:lnTo>
                      <a:pt x="1436" y="1344"/>
                    </a:lnTo>
                    <a:lnTo>
                      <a:pt x="1434" y="1348"/>
                    </a:lnTo>
                    <a:lnTo>
                      <a:pt x="1428" y="1352"/>
                    </a:lnTo>
                    <a:lnTo>
                      <a:pt x="1424" y="1358"/>
                    </a:lnTo>
                    <a:lnTo>
                      <a:pt x="1424" y="1358"/>
                    </a:lnTo>
                    <a:lnTo>
                      <a:pt x="1422" y="1362"/>
                    </a:lnTo>
                    <a:lnTo>
                      <a:pt x="1418" y="1364"/>
                    </a:lnTo>
                    <a:lnTo>
                      <a:pt x="1414" y="1368"/>
                    </a:lnTo>
                    <a:lnTo>
                      <a:pt x="1412" y="1372"/>
                    </a:lnTo>
                    <a:lnTo>
                      <a:pt x="1412" y="1372"/>
                    </a:lnTo>
                    <a:lnTo>
                      <a:pt x="1410" y="1378"/>
                    </a:lnTo>
                    <a:lnTo>
                      <a:pt x="1408" y="1386"/>
                    </a:lnTo>
                    <a:lnTo>
                      <a:pt x="1406" y="1392"/>
                    </a:lnTo>
                    <a:lnTo>
                      <a:pt x="1406" y="1394"/>
                    </a:lnTo>
                    <a:lnTo>
                      <a:pt x="1408" y="1396"/>
                    </a:lnTo>
                    <a:lnTo>
                      <a:pt x="1408" y="1396"/>
                    </a:lnTo>
                    <a:lnTo>
                      <a:pt x="1414" y="1398"/>
                    </a:lnTo>
                    <a:lnTo>
                      <a:pt x="1420" y="1398"/>
                    </a:lnTo>
                    <a:lnTo>
                      <a:pt x="1426" y="1396"/>
                    </a:lnTo>
                    <a:lnTo>
                      <a:pt x="1432" y="1390"/>
                    </a:lnTo>
                    <a:lnTo>
                      <a:pt x="1432" y="1390"/>
                    </a:lnTo>
                    <a:lnTo>
                      <a:pt x="1440" y="1380"/>
                    </a:lnTo>
                    <a:lnTo>
                      <a:pt x="1444" y="1380"/>
                    </a:lnTo>
                    <a:lnTo>
                      <a:pt x="1448" y="1384"/>
                    </a:lnTo>
                    <a:lnTo>
                      <a:pt x="1448" y="1384"/>
                    </a:lnTo>
                    <a:lnTo>
                      <a:pt x="1452" y="1386"/>
                    </a:lnTo>
                    <a:lnTo>
                      <a:pt x="1454" y="1384"/>
                    </a:lnTo>
                    <a:lnTo>
                      <a:pt x="1454" y="1382"/>
                    </a:lnTo>
                    <a:lnTo>
                      <a:pt x="1452" y="1378"/>
                    </a:lnTo>
                    <a:lnTo>
                      <a:pt x="1452" y="1378"/>
                    </a:lnTo>
                    <a:lnTo>
                      <a:pt x="1452" y="1376"/>
                    </a:lnTo>
                    <a:lnTo>
                      <a:pt x="1452" y="1374"/>
                    </a:lnTo>
                    <a:lnTo>
                      <a:pt x="1456" y="1372"/>
                    </a:lnTo>
                    <a:lnTo>
                      <a:pt x="1462" y="1370"/>
                    </a:lnTo>
                    <a:lnTo>
                      <a:pt x="1466" y="1370"/>
                    </a:lnTo>
                    <a:lnTo>
                      <a:pt x="1468" y="1372"/>
                    </a:lnTo>
                    <a:lnTo>
                      <a:pt x="1468" y="1372"/>
                    </a:lnTo>
                    <a:lnTo>
                      <a:pt x="1472" y="1372"/>
                    </a:lnTo>
                    <a:lnTo>
                      <a:pt x="1476" y="1372"/>
                    </a:lnTo>
                    <a:lnTo>
                      <a:pt x="1484" y="1370"/>
                    </a:lnTo>
                    <a:lnTo>
                      <a:pt x="1498" y="1362"/>
                    </a:lnTo>
                    <a:lnTo>
                      <a:pt x="1498" y="1362"/>
                    </a:lnTo>
                    <a:lnTo>
                      <a:pt x="1502" y="1360"/>
                    </a:lnTo>
                    <a:lnTo>
                      <a:pt x="1502" y="1354"/>
                    </a:lnTo>
                    <a:lnTo>
                      <a:pt x="1502" y="1350"/>
                    </a:lnTo>
                    <a:lnTo>
                      <a:pt x="1502" y="1350"/>
                    </a:lnTo>
                    <a:lnTo>
                      <a:pt x="1504" y="1350"/>
                    </a:lnTo>
                    <a:lnTo>
                      <a:pt x="1504" y="1350"/>
                    </a:lnTo>
                    <a:lnTo>
                      <a:pt x="1508" y="1350"/>
                    </a:lnTo>
                    <a:lnTo>
                      <a:pt x="1510" y="1352"/>
                    </a:lnTo>
                    <a:lnTo>
                      <a:pt x="1510" y="1354"/>
                    </a:lnTo>
                    <a:lnTo>
                      <a:pt x="1512" y="1354"/>
                    </a:lnTo>
                    <a:lnTo>
                      <a:pt x="1512" y="1354"/>
                    </a:lnTo>
                    <a:lnTo>
                      <a:pt x="1520" y="1350"/>
                    </a:lnTo>
                    <a:lnTo>
                      <a:pt x="1532" y="1344"/>
                    </a:lnTo>
                    <a:lnTo>
                      <a:pt x="1558" y="1324"/>
                    </a:lnTo>
                    <a:lnTo>
                      <a:pt x="1570" y="1314"/>
                    </a:lnTo>
                    <a:lnTo>
                      <a:pt x="1580" y="1302"/>
                    </a:lnTo>
                    <a:lnTo>
                      <a:pt x="1588" y="1290"/>
                    </a:lnTo>
                    <a:lnTo>
                      <a:pt x="1592" y="1280"/>
                    </a:lnTo>
                    <a:lnTo>
                      <a:pt x="1592" y="1280"/>
                    </a:lnTo>
                    <a:lnTo>
                      <a:pt x="1600" y="1264"/>
                    </a:lnTo>
                    <a:lnTo>
                      <a:pt x="1610" y="1250"/>
                    </a:lnTo>
                    <a:lnTo>
                      <a:pt x="1622" y="1242"/>
                    </a:lnTo>
                    <a:lnTo>
                      <a:pt x="1628" y="1238"/>
                    </a:lnTo>
                    <a:lnTo>
                      <a:pt x="1634" y="1238"/>
                    </a:lnTo>
                    <a:lnTo>
                      <a:pt x="1634" y="1238"/>
                    </a:lnTo>
                    <a:lnTo>
                      <a:pt x="1642" y="1236"/>
                    </a:lnTo>
                    <a:lnTo>
                      <a:pt x="1646" y="1234"/>
                    </a:lnTo>
                    <a:lnTo>
                      <a:pt x="1648" y="1232"/>
                    </a:lnTo>
                    <a:lnTo>
                      <a:pt x="1648" y="1228"/>
                    </a:lnTo>
                    <a:lnTo>
                      <a:pt x="1646" y="1222"/>
                    </a:lnTo>
                    <a:lnTo>
                      <a:pt x="1640" y="1214"/>
                    </a:lnTo>
                    <a:lnTo>
                      <a:pt x="1632" y="1204"/>
                    </a:lnTo>
                    <a:lnTo>
                      <a:pt x="1632" y="1204"/>
                    </a:lnTo>
                    <a:lnTo>
                      <a:pt x="1626" y="1198"/>
                    </a:lnTo>
                    <a:lnTo>
                      <a:pt x="1624" y="1194"/>
                    </a:lnTo>
                    <a:lnTo>
                      <a:pt x="1636" y="1200"/>
                    </a:lnTo>
                    <a:lnTo>
                      <a:pt x="1670" y="1222"/>
                    </a:lnTo>
                    <a:lnTo>
                      <a:pt x="1670" y="1222"/>
                    </a:lnTo>
                    <a:lnTo>
                      <a:pt x="1684" y="1226"/>
                    </a:lnTo>
                    <a:lnTo>
                      <a:pt x="1694" y="1228"/>
                    </a:lnTo>
                    <a:lnTo>
                      <a:pt x="1702" y="1228"/>
                    </a:lnTo>
                    <a:lnTo>
                      <a:pt x="1710" y="1226"/>
                    </a:lnTo>
                    <a:lnTo>
                      <a:pt x="1718" y="1224"/>
                    </a:lnTo>
                    <a:lnTo>
                      <a:pt x="1724" y="1218"/>
                    </a:lnTo>
                    <a:lnTo>
                      <a:pt x="1730" y="1212"/>
                    </a:lnTo>
                    <a:lnTo>
                      <a:pt x="1730" y="1212"/>
                    </a:lnTo>
                    <a:lnTo>
                      <a:pt x="1732" y="1206"/>
                    </a:lnTo>
                    <a:lnTo>
                      <a:pt x="1734" y="1204"/>
                    </a:lnTo>
                    <a:lnTo>
                      <a:pt x="1738" y="1204"/>
                    </a:lnTo>
                    <a:lnTo>
                      <a:pt x="1742" y="1206"/>
                    </a:lnTo>
                    <a:lnTo>
                      <a:pt x="1748" y="1208"/>
                    </a:lnTo>
                    <a:lnTo>
                      <a:pt x="1756" y="1208"/>
                    </a:lnTo>
                    <a:lnTo>
                      <a:pt x="1766" y="1208"/>
                    </a:lnTo>
                    <a:lnTo>
                      <a:pt x="1782" y="1202"/>
                    </a:lnTo>
                    <a:lnTo>
                      <a:pt x="1782" y="1202"/>
                    </a:lnTo>
                    <a:lnTo>
                      <a:pt x="1800" y="1196"/>
                    </a:lnTo>
                    <a:lnTo>
                      <a:pt x="1818" y="1190"/>
                    </a:lnTo>
                    <a:lnTo>
                      <a:pt x="1856" y="1184"/>
                    </a:lnTo>
                    <a:lnTo>
                      <a:pt x="1886" y="1178"/>
                    </a:lnTo>
                    <a:lnTo>
                      <a:pt x="1898" y="1172"/>
                    </a:lnTo>
                    <a:lnTo>
                      <a:pt x="1906" y="1166"/>
                    </a:lnTo>
                    <a:lnTo>
                      <a:pt x="1906" y="1166"/>
                    </a:lnTo>
                    <a:lnTo>
                      <a:pt x="1920" y="1154"/>
                    </a:lnTo>
                    <a:lnTo>
                      <a:pt x="1934" y="1142"/>
                    </a:lnTo>
                    <a:lnTo>
                      <a:pt x="1950" y="1132"/>
                    </a:lnTo>
                    <a:lnTo>
                      <a:pt x="1960" y="1128"/>
                    </a:lnTo>
                    <a:lnTo>
                      <a:pt x="1970" y="1128"/>
                    </a:lnTo>
                    <a:lnTo>
                      <a:pt x="1970" y="1128"/>
                    </a:lnTo>
                    <a:lnTo>
                      <a:pt x="1978" y="1126"/>
                    </a:lnTo>
                    <a:lnTo>
                      <a:pt x="1982" y="1122"/>
                    </a:lnTo>
                    <a:lnTo>
                      <a:pt x="1982" y="1120"/>
                    </a:lnTo>
                    <a:lnTo>
                      <a:pt x="1982" y="1116"/>
                    </a:lnTo>
                    <a:lnTo>
                      <a:pt x="1982" y="1112"/>
                    </a:lnTo>
                    <a:lnTo>
                      <a:pt x="1982" y="1108"/>
                    </a:lnTo>
                    <a:lnTo>
                      <a:pt x="1986" y="1106"/>
                    </a:lnTo>
                    <a:lnTo>
                      <a:pt x="1994" y="1106"/>
                    </a:lnTo>
                    <a:lnTo>
                      <a:pt x="1994" y="1106"/>
                    </a:lnTo>
                    <a:lnTo>
                      <a:pt x="2008" y="1104"/>
                    </a:lnTo>
                    <a:lnTo>
                      <a:pt x="2012" y="1102"/>
                    </a:lnTo>
                    <a:lnTo>
                      <a:pt x="2012" y="1102"/>
                    </a:lnTo>
                    <a:lnTo>
                      <a:pt x="2016" y="1096"/>
                    </a:lnTo>
                    <a:lnTo>
                      <a:pt x="2022" y="1092"/>
                    </a:lnTo>
                    <a:lnTo>
                      <a:pt x="2030" y="1088"/>
                    </a:lnTo>
                    <a:lnTo>
                      <a:pt x="2030" y="1088"/>
                    </a:lnTo>
                    <a:lnTo>
                      <a:pt x="2046" y="1080"/>
                    </a:lnTo>
                    <a:lnTo>
                      <a:pt x="2046" y="1078"/>
                    </a:lnTo>
                    <a:lnTo>
                      <a:pt x="2044" y="1076"/>
                    </a:lnTo>
                    <a:lnTo>
                      <a:pt x="2028" y="1076"/>
                    </a:lnTo>
                    <a:lnTo>
                      <a:pt x="2000" y="1080"/>
                    </a:lnTo>
                    <a:lnTo>
                      <a:pt x="2000" y="1080"/>
                    </a:lnTo>
                    <a:lnTo>
                      <a:pt x="1984" y="1080"/>
                    </a:lnTo>
                    <a:lnTo>
                      <a:pt x="1970" y="1076"/>
                    </a:lnTo>
                    <a:lnTo>
                      <a:pt x="1956" y="1070"/>
                    </a:lnTo>
                    <a:lnTo>
                      <a:pt x="1944" y="1064"/>
                    </a:lnTo>
                    <a:lnTo>
                      <a:pt x="1932" y="1058"/>
                    </a:lnTo>
                    <a:lnTo>
                      <a:pt x="1920" y="1056"/>
                    </a:lnTo>
                    <a:lnTo>
                      <a:pt x="1914" y="1056"/>
                    </a:lnTo>
                    <a:lnTo>
                      <a:pt x="1906" y="1058"/>
                    </a:lnTo>
                    <a:lnTo>
                      <a:pt x="1900" y="1060"/>
                    </a:lnTo>
                    <a:lnTo>
                      <a:pt x="1892" y="1064"/>
                    </a:lnTo>
                    <a:lnTo>
                      <a:pt x="1892" y="1064"/>
                    </a:lnTo>
                    <a:lnTo>
                      <a:pt x="1884" y="1068"/>
                    </a:lnTo>
                    <a:lnTo>
                      <a:pt x="1878" y="1070"/>
                    </a:lnTo>
                    <a:lnTo>
                      <a:pt x="1866" y="1070"/>
                    </a:lnTo>
                    <a:lnTo>
                      <a:pt x="1860" y="1070"/>
                    </a:lnTo>
                    <a:lnTo>
                      <a:pt x="1854" y="1072"/>
                    </a:lnTo>
                    <a:lnTo>
                      <a:pt x="1846" y="1076"/>
                    </a:lnTo>
                    <a:lnTo>
                      <a:pt x="1838" y="1082"/>
                    </a:lnTo>
                    <a:lnTo>
                      <a:pt x="1838" y="1082"/>
                    </a:lnTo>
                    <a:lnTo>
                      <a:pt x="1834" y="1086"/>
                    </a:lnTo>
                    <a:lnTo>
                      <a:pt x="1828" y="1090"/>
                    </a:lnTo>
                    <a:lnTo>
                      <a:pt x="1824" y="1090"/>
                    </a:lnTo>
                    <a:lnTo>
                      <a:pt x="1820" y="1090"/>
                    </a:lnTo>
                    <a:lnTo>
                      <a:pt x="1818" y="1088"/>
                    </a:lnTo>
                    <a:lnTo>
                      <a:pt x="1820" y="1084"/>
                    </a:lnTo>
                    <a:lnTo>
                      <a:pt x="1824" y="1078"/>
                    </a:lnTo>
                    <a:lnTo>
                      <a:pt x="1832" y="1070"/>
                    </a:lnTo>
                    <a:lnTo>
                      <a:pt x="1832" y="1070"/>
                    </a:lnTo>
                    <a:lnTo>
                      <a:pt x="1840" y="1064"/>
                    </a:lnTo>
                    <a:lnTo>
                      <a:pt x="1848" y="1062"/>
                    </a:lnTo>
                    <a:lnTo>
                      <a:pt x="1852" y="1062"/>
                    </a:lnTo>
                    <a:lnTo>
                      <a:pt x="1856" y="1062"/>
                    </a:lnTo>
                    <a:lnTo>
                      <a:pt x="1864" y="1064"/>
                    </a:lnTo>
                    <a:lnTo>
                      <a:pt x="1866" y="1064"/>
                    </a:lnTo>
                    <a:lnTo>
                      <a:pt x="1870" y="1062"/>
                    </a:lnTo>
                    <a:lnTo>
                      <a:pt x="1870" y="1062"/>
                    </a:lnTo>
                    <a:lnTo>
                      <a:pt x="1876" y="1058"/>
                    </a:lnTo>
                    <a:lnTo>
                      <a:pt x="1878" y="1056"/>
                    </a:lnTo>
                    <a:lnTo>
                      <a:pt x="1878" y="1054"/>
                    </a:lnTo>
                    <a:lnTo>
                      <a:pt x="1874" y="1052"/>
                    </a:lnTo>
                    <a:lnTo>
                      <a:pt x="1868" y="1052"/>
                    </a:lnTo>
                    <a:lnTo>
                      <a:pt x="1844" y="1054"/>
                    </a:lnTo>
                    <a:lnTo>
                      <a:pt x="1844" y="1054"/>
                    </a:lnTo>
                    <a:lnTo>
                      <a:pt x="1816" y="1058"/>
                    </a:lnTo>
                    <a:lnTo>
                      <a:pt x="1800" y="1058"/>
                    </a:lnTo>
                    <a:lnTo>
                      <a:pt x="1798" y="1056"/>
                    </a:lnTo>
                    <a:lnTo>
                      <a:pt x="1796" y="1052"/>
                    </a:lnTo>
                    <a:lnTo>
                      <a:pt x="1798" y="1046"/>
                    </a:lnTo>
                    <a:lnTo>
                      <a:pt x="1804" y="1038"/>
                    </a:lnTo>
                    <a:lnTo>
                      <a:pt x="1804" y="1038"/>
                    </a:lnTo>
                    <a:lnTo>
                      <a:pt x="1814" y="1022"/>
                    </a:lnTo>
                    <a:lnTo>
                      <a:pt x="1818" y="1014"/>
                    </a:lnTo>
                    <a:lnTo>
                      <a:pt x="1820" y="1012"/>
                    </a:lnTo>
                    <a:lnTo>
                      <a:pt x="1822" y="1010"/>
                    </a:lnTo>
                    <a:lnTo>
                      <a:pt x="1828" y="1016"/>
                    </a:lnTo>
                    <a:lnTo>
                      <a:pt x="1828" y="1016"/>
                    </a:lnTo>
                    <a:lnTo>
                      <a:pt x="1836" y="1022"/>
                    </a:lnTo>
                    <a:lnTo>
                      <a:pt x="1840" y="1022"/>
                    </a:lnTo>
                    <a:lnTo>
                      <a:pt x="1844" y="1022"/>
                    </a:lnTo>
                    <a:lnTo>
                      <a:pt x="1882" y="1010"/>
                    </a:lnTo>
                    <a:lnTo>
                      <a:pt x="1882" y="1010"/>
                    </a:lnTo>
                    <a:lnTo>
                      <a:pt x="1896" y="1006"/>
                    </a:lnTo>
                    <a:lnTo>
                      <a:pt x="1904" y="1000"/>
                    </a:lnTo>
                    <a:lnTo>
                      <a:pt x="1908" y="996"/>
                    </a:lnTo>
                    <a:lnTo>
                      <a:pt x="1910" y="992"/>
                    </a:lnTo>
                    <a:lnTo>
                      <a:pt x="1906" y="986"/>
                    </a:lnTo>
                    <a:lnTo>
                      <a:pt x="1898" y="984"/>
                    </a:lnTo>
                    <a:lnTo>
                      <a:pt x="1888" y="980"/>
                    </a:lnTo>
                    <a:lnTo>
                      <a:pt x="1874" y="978"/>
                    </a:lnTo>
                    <a:lnTo>
                      <a:pt x="1874" y="978"/>
                    </a:lnTo>
                    <a:lnTo>
                      <a:pt x="1850" y="974"/>
                    </a:lnTo>
                    <a:lnTo>
                      <a:pt x="1844" y="972"/>
                    </a:lnTo>
                    <a:lnTo>
                      <a:pt x="1842" y="970"/>
                    </a:lnTo>
                    <a:lnTo>
                      <a:pt x="1844" y="968"/>
                    </a:lnTo>
                    <a:lnTo>
                      <a:pt x="1850" y="966"/>
                    </a:lnTo>
                    <a:lnTo>
                      <a:pt x="1870" y="966"/>
                    </a:lnTo>
                    <a:lnTo>
                      <a:pt x="1870" y="966"/>
                    </a:lnTo>
                    <a:lnTo>
                      <a:pt x="1892" y="970"/>
                    </a:lnTo>
                    <a:lnTo>
                      <a:pt x="1906" y="976"/>
                    </a:lnTo>
                    <a:lnTo>
                      <a:pt x="1918" y="980"/>
                    </a:lnTo>
                    <a:lnTo>
                      <a:pt x="1932" y="986"/>
                    </a:lnTo>
                    <a:lnTo>
                      <a:pt x="1932" y="986"/>
                    </a:lnTo>
                    <a:lnTo>
                      <a:pt x="1946" y="992"/>
                    </a:lnTo>
                    <a:lnTo>
                      <a:pt x="1954" y="998"/>
                    </a:lnTo>
                    <a:lnTo>
                      <a:pt x="1958" y="1008"/>
                    </a:lnTo>
                    <a:lnTo>
                      <a:pt x="1960" y="1022"/>
                    </a:lnTo>
                    <a:lnTo>
                      <a:pt x="1960" y="1022"/>
                    </a:lnTo>
                    <a:lnTo>
                      <a:pt x="1964" y="1030"/>
                    </a:lnTo>
                    <a:lnTo>
                      <a:pt x="1970" y="1038"/>
                    </a:lnTo>
                    <a:lnTo>
                      <a:pt x="1978" y="1044"/>
                    </a:lnTo>
                    <a:lnTo>
                      <a:pt x="1988" y="1050"/>
                    </a:lnTo>
                    <a:lnTo>
                      <a:pt x="1998" y="1052"/>
                    </a:lnTo>
                    <a:lnTo>
                      <a:pt x="2008" y="1054"/>
                    </a:lnTo>
                    <a:lnTo>
                      <a:pt x="2016" y="1054"/>
                    </a:lnTo>
                    <a:lnTo>
                      <a:pt x="2022" y="1052"/>
                    </a:lnTo>
                    <a:lnTo>
                      <a:pt x="2022" y="1052"/>
                    </a:lnTo>
                    <a:lnTo>
                      <a:pt x="2030" y="1048"/>
                    </a:lnTo>
                    <a:lnTo>
                      <a:pt x="2036" y="1050"/>
                    </a:lnTo>
                    <a:lnTo>
                      <a:pt x="2046" y="1052"/>
                    </a:lnTo>
                    <a:lnTo>
                      <a:pt x="2060" y="1056"/>
                    </a:lnTo>
                    <a:lnTo>
                      <a:pt x="2060" y="1056"/>
                    </a:lnTo>
                    <a:lnTo>
                      <a:pt x="2068" y="1054"/>
                    </a:lnTo>
                    <a:lnTo>
                      <a:pt x="2070" y="1050"/>
                    </a:lnTo>
                    <a:lnTo>
                      <a:pt x="2072" y="1042"/>
                    </a:lnTo>
                    <a:lnTo>
                      <a:pt x="2070" y="1032"/>
                    </a:lnTo>
                    <a:lnTo>
                      <a:pt x="2066" y="1008"/>
                    </a:lnTo>
                    <a:lnTo>
                      <a:pt x="2064" y="996"/>
                    </a:lnTo>
                    <a:lnTo>
                      <a:pt x="2064" y="984"/>
                    </a:lnTo>
                    <a:lnTo>
                      <a:pt x="2064" y="984"/>
                    </a:lnTo>
                    <a:lnTo>
                      <a:pt x="2062" y="976"/>
                    </a:lnTo>
                    <a:lnTo>
                      <a:pt x="2062" y="974"/>
                    </a:lnTo>
                    <a:lnTo>
                      <a:pt x="2060" y="974"/>
                    </a:lnTo>
                    <a:lnTo>
                      <a:pt x="2056" y="976"/>
                    </a:lnTo>
                    <a:lnTo>
                      <a:pt x="2050" y="980"/>
                    </a:lnTo>
                    <a:lnTo>
                      <a:pt x="2044" y="986"/>
                    </a:lnTo>
                    <a:lnTo>
                      <a:pt x="2038" y="990"/>
                    </a:lnTo>
                    <a:lnTo>
                      <a:pt x="2032" y="990"/>
                    </a:lnTo>
                    <a:lnTo>
                      <a:pt x="2030" y="988"/>
                    </a:lnTo>
                    <a:lnTo>
                      <a:pt x="2030" y="986"/>
                    </a:lnTo>
                    <a:lnTo>
                      <a:pt x="2030" y="986"/>
                    </a:lnTo>
                    <a:lnTo>
                      <a:pt x="2028" y="976"/>
                    </a:lnTo>
                    <a:lnTo>
                      <a:pt x="2028" y="974"/>
                    </a:lnTo>
                    <a:lnTo>
                      <a:pt x="2032" y="974"/>
                    </a:lnTo>
                    <a:lnTo>
                      <a:pt x="2038" y="972"/>
                    </a:lnTo>
                    <a:lnTo>
                      <a:pt x="2044" y="968"/>
                    </a:lnTo>
                    <a:lnTo>
                      <a:pt x="2050" y="962"/>
                    </a:lnTo>
                    <a:lnTo>
                      <a:pt x="2050" y="962"/>
                    </a:lnTo>
                    <a:lnTo>
                      <a:pt x="2054" y="956"/>
                    </a:lnTo>
                    <a:lnTo>
                      <a:pt x="2054" y="956"/>
                    </a:lnTo>
                    <a:lnTo>
                      <a:pt x="2054" y="954"/>
                    </a:lnTo>
                    <a:lnTo>
                      <a:pt x="2044" y="958"/>
                    </a:lnTo>
                    <a:lnTo>
                      <a:pt x="2032" y="962"/>
                    </a:lnTo>
                    <a:lnTo>
                      <a:pt x="2030" y="960"/>
                    </a:lnTo>
                    <a:lnTo>
                      <a:pt x="2030" y="956"/>
                    </a:lnTo>
                    <a:lnTo>
                      <a:pt x="2030" y="956"/>
                    </a:lnTo>
                    <a:lnTo>
                      <a:pt x="2032" y="950"/>
                    </a:lnTo>
                    <a:lnTo>
                      <a:pt x="2030" y="944"/>
                    </a:lnTo>
                    <a:lnTo>
                      <a:pt x="2026" y="940"/>
                    </a:lnTo>
                    <a:lnTo>
                      <a:pt x="2020" y="938"/>
                    </a:lnTo>
                    <a:lnTo>
                      <a:pt x="2002" y="932"/>
                    </a:lnTo>
                    <a:lnTo>
                      <a:pt x="1980" y="926"/>
                    </a:lnTo>
                    <a:lnTo>
                      <a:pt x="1980" y="926"/>
                    </a:lnTo>
                    <a:lnTo>
                      <a:pt x="1960" y="918"/>
                    </a:lnTo>
                    <a:lnTo>
                      <a:pt x="1948" y="912"/>
                    </a:lnTo>
                    <a:lnTo>
                      <a:pt x="1944" y="908"/>
                    </a:lnTo>
                    <a:lnTo>
                      <a:pt x="1944" y="904"/>
                    </a:lnTo>
                    <a:lnTo>
                      <a:pt x="1944" y="900"/>
                    </a:lnTo>
                    <a:lnTo>
                      <a:pt x="1944" y="896"/>
                    </a:lnTo>
                    <a:lnTo>
                      <a:pt x="1942" y="892"/>
                    </a:lnTo>
                    <a:lnTo>
                      <a:pt x="1934" y="886"/>
                    </a:lnTo>
                    <a:lnTo>
                      <a:pt x="1934" y="886"/>
                    </a:lnTo>
                    <a:lnTo>
                      <a:pt x="1924" y="880"/>
                    </a:lnTo>
                    <a:lnTo>
                      <a:pt x="1922" y="874"/>
                    </a:lnTo>
                    <a:lnTo>
                      <a:pt x="1922" y="870"/>
                    </a:lnTo>
                    <a:lnTo>
                      <a:pt x="1924" y="866"/>
                    </a:lnTo>
                    <a:lnTo>
                      <a:pt x="1922" y="862"/>
                    </a:lnTo>
                    <a:lnTo>
                      <a:pt x="1916" y="858"/>
                    </a:lnTo>
                    <a:lnTo>
                      <a:pt x="1902" y="852"/>
                    </a:lnTo>
                    <a:lnTo>
                      <a:pt x="1878" y="846"/>
                    </a:lnTo>
                    <a:lnTo>
                      <a:pt x="1878" y="846"/>
                    </a:lnTo>
                    <a:lnTo>
                      <a:pt x="1888" y="846"/>
                    </a:lnTo>
                    <a:lnTo>
                      <a:pt x="1896" y="844"/>
                    </a:lnTo>
                    <a:lnTo>
                      <a:pt x="1904" y="842"/>
                    </a:lnTo>
                    <a:lnTo>
                      <a:pt x="1910" y="838"/>
                    </a:lnTo>
                    <a:lnTo>
                      <a:pt x="1926" y="828"/>
                    </a:lnTo>
                    <a:lnTo>
                      <a:pt x="1948" y="818"/>
                    </a:lnTo>
                    <a:lnTo>
                      <a:pt x="1948" y="818"/>
                    </a:lnTo>
                    <a:lnTo>
                      <a:pt x="1954" y="816"/>
                    </a:lnTo>
                    <a:lnTo>
                      <a:pt x="1960" y="816"/>
                    </a:lnTo>
                    <a:lnTo>
                      <a:pt x="1974" y="818"/>
                    </a:lnTo>
                    <a:lnTo>
                      <a:pt x="1988" y="824"/>
                    </a:lnTo>
                    <a:lnTo>
                      <a:pt x="2002" y="832"/>
                    </a:lnTo>
                    <a:lnTo>
                      <a:pt x="2016" y="838"/>
                    </a:lnTo>
                    <a:lnTo>
                      <a:pt x="2030" y="842"/>
                    </a:lnTo>
                    <a:lnTo>
                      <a:pt x="2038" y="844"/>
                    </a:lnTo>
                    <a:lnTo>
                      <a:pt x="2044" y="842"/>
                    </a:lnTo>
                    <a:lnTo>
                      <a:pt x="2052" y="840"/>
                    </a:lnTo>
                    <a:lnTo>
                      <a:pt x="2058" y="836"/>
                    </a:lnTo>
                    <a:lnTo>
                      <a:pt x="2058" y="836"/>
                    </a:lnTo>
                    <a:lnTo>
                      <a:pt x="2070" y="830"/>
                    </a:lnTo>
                    <a:lnTo>
                      <a:pt x="2078" y="826"/>
                    </a:lnTo>
                    <a:lnTo>
                      <a:pt x="2086" y="826"/>
                    </a:lnTo>
                    <a:lnTo>
                      <a:pt x="2092" y="828"/>
                    </a:lnTo>
                    <a:lnTo>
                      <a:pt x="2096" y="830"/>
                    </a:lnTo>
                    <a:lnTo>
                      <a:pt x="2100" y="830"/>
                    </a:lnTo>
                    <a:lnTo>
                      <a:pt x="2106" y="826"/>
                    </a:lnTo>
                    <a:lnTo>
                      <a:pt x="2112" y="818"/>
                    </a:lnTo>
                    <a:lnTo>
                      <a:pt x="2112" y="818"/>
                    </a:lnTo>
                    <a:lnTo>
                      <a:pt x="2118" y="810"/>
                    </a:lnTo>
                    <a:lnTo>
                      <a:pt x="2118" y="806"/>
                    </a:lnTo>
                    <a:lnTo>
                      <a:pt x="2116" y="802"/>
                    </a:lnTo>
                    <a:lnTo>
                      <a:pt x="2112" y="796"/>
                    </a:lnTo>
                    <a:lnTo>
                      <a:pt x="2104" y="792"/>
                    </a:lnTo>
                    <a:lnTo>
                      <a:pt x="2092" y="790"/>
                    </a:lnTo>
                    <a:lnTo>
                      <a:pt x="2080" y="788"/>
                    </a:lnTo>
                    <a:lnTo>
                      <a:pt x="2054" y="786"/>
                    </a:lnTo>
                    <a:lnTo>
                      <a:pt x="2054" y="786"/>
                    </a:lnTo>
                    <a:lnTo>
                      <a:pt x="2044" y="786"/>
                    </a:lnTo>
                    <a:lnTo>
                      <a:pt x="2040" y="784"/>
                    </a:lnTo>
                    <a:lnTo>
                      <a:pt x="2040" y="780"/>
                    </a:lnTo>
                    <a:lnTo>
                      <a:pt x="2040" y="776"/>
                    </a:lnTo>
                    <a:lnTo>
                      <a:pt x="2046" y="768"/>
                    </a:lnTo>
                    <a:lnTo>
                      <a:pt x="2054" y="762"/>
                    </a:lnTo>
                    <a:lnTo>
                      <a:pt x="2066" y="758"/>
                    </a:lnTo>
                    <a:lnTo>
                      <a:pt x="2078" y="754"/>
                    </a:lnTo>
                    <a:lnTo>
                      <a:pt x="2092" y="752"/>
                    </a:lnTo>
                    <a:lnTo>
                      <a:pt x="2092" y="752"/>
                    </a:lnTo>
                    <a:lnTo>
                      <a:pt x="2104" y="754"/>
                    </a:lnTo>
                    <a:lnTo>
                      <a:pt x="2112" y="758"/>
                    </a:lnTo>
                    <a:lnTo>
                      <a:pt x="2122" y="766"/>
                    </a:lnTo>
                    <a:lnTo>
                      <a:pt x="2128" y="768"/>
                    </a:lnTo>
                    <a:lnTo>
                      <a:pt x="2132" y="770"/>
                    </a:lnTo>
                    <a:lnTo>
                      <a:pt x="2142" y="768"/>
                    </a:lnTo>
                    <a:lnTo>
                      <a:pt x="2152" y="766"/>
                    </a:lnTo>
                    <a:lnTo>
                      <a:pt x="2152" y="766"/>
                    </a:lnTo>
                    <a:lnTo>
                      <a:pt x="2162" y="762"/>
                    </a:lnTo>
                    <a:lnTo>
                      <a:pt x="2164" y="758"/>
                    </a:lnTo>
                    <a:lnTo>
                      <a:pt x="2166" y="754"/>
                    </a:lnTo>
                    <a:lnTo>
                      <a:pt x="2162" y="750"/>
                    </a:lnTo>
                    <a:lnTo>
                      <a:pt x="2154" y="746"/>
                    </a:lnTo>
                    <a:lnTo>
                      <a:pt x="2146" y="742"/>
                    </a:lnTo>
                    <a:lnTo>
                      <a:pt x="2134" y="740"/>
                    </a:lnTo>
                    <a:lnTo>
                      <a:pt x="2120" y="738"/>
                    </a:lnTo>
                    <a:lnTo>
                      <a:pt x="2120" y="738"/>
                    </a:lnTo>
                    <a:lnTo>
                      <a:pt x="2112" y="738"/>
                    </a:lnTo>
                    <a:lnTo>
                      <a:pt x="2108" y="736"/>
                    </a:lnTo>
                    <a:lnTo>
                      <a:pt x="2104" y="732"/>
                    </a:lnTo>
                    <a:lnTo>
                      <a:pt x="2102" y="728"/>
                    </a:lnTo>
                    <a:lnTo>
                      <a:pt x="2100" y="718"/>
                    </a:lnTo>
                    <a:lnTo>
                      <a:pt x="2102" y="708"/>
                    </a:lnTo>
                    <a:lnTo>
                      <a:pt x="2108" y="700"/>
                    </a:lnTo>
                    <a:lnTo>
                      <a:pt x="2114" y="694"/>
                    </a:lnTo>
                    <a:lnTo>
                      <a:pt x="2118" y="692"/>
                    </a:lnTo>
                    <a:lnTo>
                      <a:pt x="2122" y="692"/>
                    </a:lnTo>
                    <a:lnTo>
                      <a:pt x="2124" y="692"/>
                    </a:lnTo>
                    <a:lnTo>
                      <a:pt x="2126" y="696"/>
                    </a:lnTo>
                    <a:lnTo>
                      <a:pt x="2126" y="696"/>
                    </a:lnTo>
                    <a:lnTo>
                      <a:pt x="2132" y="700"/>
                    </a:lnTo>
                    <a:lnTo>
                      <a:pt x="2140" y="702"/>
                    </a:lnTo>
                    <a:lnTo>
                      <a:pt x="2148" y="702"/>
                    </a:lnTo>
                    <a:lnTo>
                      <a:pt x="2154" y="698"/>
                    </a:lnTo>
                    <a:lnTo>
                      <a:pt x="2158" y="692"/>
                    </a:lnTo>
                    <a:lnTo>
                      <a:pt x="2162" y="686"/>
                    </a:lnTo>
                    <a:lnTo>
                      <a:pt x="2160" y="678"/>
                    </a:lnTo>
                    <a:lnTo>
                      <a:pt x="2156" y="670"/>
                    </a:lnTo>
                    <a:lnTo>
                      <a:pt x="2156" y="670"/>
                    </a:lnTo>
                    <a:lnTo>
                      <a:pt x="2150" y="662"/>
                    </a:lnTo>
                    <a:lnTo>
                      <a:pt x="2150" y="658"/>
                    </a:lnTo>
                    <a:lnTo>
                      <a:pt x="2154" y="656"/>
                    </a:lnTo>
                    <a:lnTo>
                      <a:pt x="2156" y="656"/>
                    </a:lnTo>
                    <a:lnTo>
                      <a:pt x="2160" y="656"/>
                    </a:lnTo>
                    <a:lnTo>
                      <a:pt x="2160" y="654"/>
                    </a:lnTo>
                    <a:lnTo>
                      <a:pt x="2144" y="646"/>
                    </a:lnTo>
                    <a:lnTo>
                      <a:pt x="2144" y="646"/>
                    </a:lnTo>
                    <a:lnTo>
                      <a:pt x="2132" y="640"/>
                    </a:lnTo>
                    <a:lnTo>
                      <a:pt x="2128" y="636"/>
                    </a:lnTo>
                    <a:lnTo>
                      <a:pt x="2128" y="634"/>
                    </a:lnTo>
                    <a:lnTo>
                      <a:pt x="2130" y="632"/>
                    </a:lnTo>
                    <a:lnTo>
                      <a:pt x="2140" y="628"/>
                    </a:lnTo>
                    <a:lnTo>
                      <a:pt x="2142" y="624"/>
                    </a:lnTo>
                    <a:lnTo>
                      <a:pt x="2142" y="620"/>
                    </a:lnTo>
                    <a:lnTo>
                      <a:pt x="2142" y="620"/>
                    </a:lnTo>
                    <a:lnTo>
                      <a:pt x="2140" y="616"/>
                    </a:lnTo>
                    <a:lnTo>
                      <a:pt x="2136" y="614"/>
                    </a:lnTo>
                    <a:lnTo>
                      <a:pt x="2126" y="612"/>
                    </a:lnTo>
                    <a:lnTo>
                      <a:pt x="2098" y="612"/>
                    </a:lnTo>
                    <a:lnTo>
                      <a:pt x="2084" y="612"/>
                    </a:lnTo>
                    <a:lnTo>
                      <a:pt x="2074" y="612"/>
                    </a:lnTo>
                    <a:lnTo>
                      <a:pt x="2066" y="608"/>
                    </a:lnTo>
                    <a:lnTo>
                      <a:pt x="2064" y="606"/>
                    </a:lnTo>
                    <a:lnTo>
                      <a:pt x="2062" y="602"/>
                    </a:lnTo>
                    <a:lnTo>
                      <a:pt x="2062" y="602"/>
                    </a:lnTo>
                    <a:lnTo>
                      <a:pt x="2062" y="598"/>
                    </a:lnTo>
                    <a:lnTo>
                      <a:pt x="2060" y="594"/>
                    </a:lnTo>
                    <a:lnTo>
                      <a:pt x="2056" y="590"/>
                    </a:lnTo>
                    <a:lnTo>
                      <a:pt x="2048" y="586"/>
                    </a:lnTo>
                    <a:lnTo>
                      <a:pt x="2040" y="582"/>
                    </a:lnTo>
                    <a:lnTo>
                      <a:pt x="2032" y="580"/>
                    </a:lnTo>
                    <a:lnTo>
                      <a:pt x="2028" y="578"/>
                    </a:lnTo>
                    <a:lnTo>
                      <a:pt x="2026" y="576"/>
                    </a:lnTo>
                    <a:lnTo>
                      <a:pt x="2028" y="574"/>
                    </a:lnTo>
                    <a:lnTo>
                      <a:pt x="2032" y="568"/>
                    </a:lnTo>
                    <a:lnTo>
                      <a:pt x="2032" y="568"/>
                    </a:lnTo>
                    <a:lnTo>
                      <a:pt x="2040" y="566"/>
                    </a:lnTo>
                    <a:lnTo>
                      <a:pt x="2046" y="566"/>
                    </a:lnTo>
                    <a:lnTo>
                      <a:pt x="2050" y="570"/>
                    </a:lnTo>
                    <a:lnTo>
                      <a:pt x="2054" y="574"/>
                    </a:lnTo>
                    <a:lnTo>
                      <a:pt x="2058" y="578"/>
                    </a:lnTo>
                    <a:lnTo>
                      <a:pt x="2064" y="580"/>
                    </a:lnTo>
                    <a:lnTo>
                      <a:pt x="2072" y="580"/>
                    </a:lnTo>
                    <a:lnTo>
                      <a:pt x="2082" y="574"/>
                    </a:lnTo>
                    <a:lnTo>
                      <a:pt x="2082" y="574"/>
                    </a:lnTo>
                    <a:lnTo>
                      <a:pt x="2094" y="566"/>
                    </a:lnTo>
                    <a:lnTo>
                      <a:pt x="2106" y="562"/>
                    </a:lnTo>
                    <a:lnTo>
                      <a:pt x="2120" y="560"/>
                    </a:lnTo>
                    <a:lnTo>
                      <a:pt x="2132" y="560"/>
                    </a:lnTo>
                    <a:lnTo>
                      <a:pt x="2144" y="562"/>
                    </a:lnTo>
                    <a:lnTo>
                      <a:pt x="2156" y="564"/>
                    </a:lnTo>
                    <a:lnTo>
                      <a:pt x="2178" y="574"/>
                    </a:lnTo>
                    <a:lnTo>
                      <a:pt x="2178" y="574"/>
                    </a:lnTo>
                    <a:lnTo>
                      <a:pt x="2188" y="576"/>
                    </a:lnTo>
                    <a:lnTo>
                      <a:pt x="2196" y="574"/>
                    </a:lnTo>
                    <a:lnTo>
                      <a:pt x="2202" y="570"/>
                    </a:lnTo>
                    <a:lnTo>
                      <a:pt x="2206" y="564"/>
                    </a:lnTo>
                    <a:lnTo>
                      <a:pt x="2208" y="556"/>
                    </a:lnTo>
                    <a:lnTo>
                      <a:pt x="2206" y="546"/>
                    </a:lnTo>
                    <a:lnTo>
                      <a:pt x="2202" y="536"/>
                    </a:lnTo>
                    <a:lnTo>
                      <a:pt x="2194" y="528"/>
                    </a:lnTo>
                    <a:lnTo>
                      <a:pt x="2194" y="528"/>
                    </a:lnTo>
                    <a:lnTo>
                      <a:pt x="2186" y="522"/>
                    </a:lnTo>
                    <a:lnTo>
                      <a:pt x="2180" y="522"/>
                    </a:lnTo>
                    <a:lnTo>
                      <a:pt x="2176" y="524"/>
                    </a:lnTo>
                    <a:lnTo>
                      <a:pt x="2172" y="528"/>
                    </a:lnTo>
                    <a:lnTo>
                      <a:pt x="2166" y="532"/>
                    </a:lnTo>
                    <a:lnTo>
                      <a:pt x="2158" y="534"/>
                    </a:lnTo>
                    <a:lnTo>
                      <a:pt x="2148" y="532"/>
                    </a:lnTo>
                    <a:lnTo>
                      <a:pt x="2132" y="524"/>
                    </a:lnTo>
                    <a:lnTo>
                      <a:pt x="2132" y="524"/>
                    </a:lnTo>
                    <a:lnTo>
                      <a:pt x="2106" y="506"/>
                    </a:lnTo>
                    <a:lnTo>
                      <a:pt x="2102" y="502"/>
                    </a:lnTo>
                    <a:lnTo>
                      <a:pt x="2102" y="500"/>
                    </a:lnTo>
                    <a:lnTo>
                      <a:pt x="2102" y="498"/>
                    </a:lnTo>
                    <a:lnTo>
                      <a:pt x="2106" y="498"/>
                    </a:lnTo>
                    <a:lnTo>
                      <a:pt x="2116" y="498"/>
                    </a:lnTo>
                    <a:lnTo>
                      <a:pt x="2144" y="504"/>
                    </a:lnTo>
                    <a:lnTo>
                      <a:pt x="2144" y="504"/>
                    </a:lnTo>
                    <a:lnTo>
                      <a:pt x="2170" y="508"/>
                    </a:lnTo>
                    <a:lnTo>
                      <a:pt x="2174" y="508"/>
                    </a:lnTo>
                    <a:lnTo>
                      <a:pt x="2174" y="506"/>
                    </a:lnTo>
                    <a:lnTo>
                      <a:pt x="2168" y="502"/>
                    </a:lnTo>
                    <a:lnTo>
                      <a:pt x="2156" y="496"/>
                    </a:lnTo>
                    <a:lnTo>
                      <a:pt x="2120" y="480"/>
                    </a:lnTo>
                    <a:lnTo>
                      <a:pt x="2120" y="480"/>
                    </a:lnTo>
                    <a:lnTo>
                      <a:pt x="2100" y="474"/>
                    </a:lnTo>
                    <a:lnTo>
                      <a:pt x="2086" y="474"/>
                    </a:lnTo>
                    <a:lnTo>
                      <a:pt x="2078" y="476"/>
                    </a:lnTo>
                    <a:lnTo>
                      <a:pt x="2074" y="482"/>
                    </a:lnTo>
                    <a:lnTo>
                      <a:pt x="2070" y="494"/>
                    </a:lnTo>
                    <a:lnTo>
                      <a:pt x="2066" y="500"/>
                    </a:lnTo>
                    <a:lnTo>
                      <a:pt x="2060" y="504"/>
                    </a:lnTo>
                    <a:lnTo>
                      <a:pt x="2060" y="504"/>
                    </a:lnTo>
                    <a:lnTo>
                      <a:pt x="2056" y="504"/>
                    </a:lnTo>
                    <a:lnTo>
                      <a:pt x="2054" y="502"/>
                    </a:lnTo>
                    <a:lnTo>
                      <a:pt x="2052" y="500"/>
                    </a:lnTo>
                    <a:lnTo>
                      <a:pt x="2052" y="498"/>
                    </a:lnTo>
                    <a:lnTo>
                      <a:pt x="2054" y="490"/>
                    </a:lnTo>
                    <a:lnTo>
                      <a:pt x="2060" y="478"/>
                    </a:lnTo>
                    <a:lnTo>
                      <a:pt x="2072" y="454"/>
                    </a:lnTo>
                    <a:lnTo>
                      <a:pt x="2080" y="440"/>
                    </a:lnTo>
                    <a:lnTo>
                      <a:pt x="2086" y="426"/>
                    </a:lnTo>
                    <a:lnTo>
                      <a:pt x="2086" y="426"/>
                    </a:lnTo>
                    <a:lnTo>
                      <a:pt x="2090" y="414"/>
                    </a:lnTo>
                    <a:lnTo>
                      <a:pt x="2096" y="408"/>
                    </a:lnTo>
                    <a:lnTo>
                      <a:pt x="2104" y="404"/>
                    </a:lnTo>
                    <a:lnTo>
                      <a:pt x="2110" y="404"/>
                    </a:lnTo>
                    <a:lnTo>
                      <a:pt x="2124" y="404"/>
                    </a:lnTo>
                    <a:lnTo>
                      <a:pt x="2130" y="404"/>
                    </a:lnTo>
                    <a:lnTo>
                      <a:pt x="2134" y="402"/>
                    </a:lnTo>
                    <a:lnTo>
                      <a:pt x="2134" y="402"/>
                    </a:lnTo>
                    <a:lnTo>
                      <a:pt x="2146" y="392"/>
                    </a:lnTo>
                    <a:lnTo>
                      <a:pt x="2160" y="382"/>
                    </a:lnTo>
                    <a:lnTo>
                      <a:pt x="2166" y="376"/>
                    </a:lnTo>
                    <a:lnTo>
                      <a:pt x="2168" y="372"/>
                    </a:lnTo>
                    <a:lnTo>
                      <a:pt x="2168" y="370"/>
                    </a:lnTo>
                    <a:lnTo>
                      <a:pt x="2166" y="368"/>
                    </a:lnTo>
                    <a:lnTo>
                      <a:pt x="2160" y="366"/>
                    </a:lnTo>
                    <a:lnTo>
                      <a:pt x="2160" y="366"/>
                    </a:lnTo>
                    <a:lnTo>
                      <a:pt x="2152" y="362"/>
                    </a:lnTo>
                    <a:lnTo>
                      <a:pt x="2146" y="358"/>
                    </a:lnTo>
                    <a:lnTo>
                      <a:pt x="2144" y="354"/>
                    </a:lnTo>
                    <a:lnTo>
                      <a:pt x="2144" y="348"/>
                    </a:lnTo>
                    <a:lnTo>
                      <a:pt x="2146" y="344"/>
                    </a:lnTo>
                    <a:lnTo>
                      <a:pt x="2150" y="338"/>
                    </a:lnTo>
                    <a:lnTo>
                      <a:pt x="2158" y="336"/>
                    </a:lnTo>
                    <a:lnTo>
                      <a:pt x="2168" y="334"/>
                    </a:lnTo>
                    <a:lnTo>
                      <a:pt x="2168" y="334"/>
                    </a:lnTo>
                    <a:lnTo>
                      <a:pt x="2190" y="334"/>
                    </a:lnTo>
                    <a:lnTo>
                      <a:pt x="2204" y="330"/>
                    </a:lnTo>
                    <a:lnTo>
                      <a:pt x="2216" y="322"/>
                    </a:lnTo>
                    <a:lnTo>
                      <a:pt x="2228" y="310"/>
                    </a:lnTo>
                    <a:lnTo>
                      <a:pt x="2228" y="310"/>
                    </a:lnTo>
                    <a:lnTo>
                      <a:pt x="2230" y="306"/>
                    </a:lnTo>
                    <a:lnTo>
                      <a:pt x="2230" y="304"/>
                    </a:lnTo>
                    <a:lnTo>
                      <a:pt x="2228" y="302"/>
                    </a:lnTo>
                    <a:lnTo>
                      <a:pt x="2226" y="300"/>
                    </a:lnTo>
                    <a:lnTo>
                      <a:pt x="2214" y="300"/>
                    </a:lnTo>
                    <a:lnTo>
                      <a:pt x="2200" y="300"/>
                    </a:lnTo>
                    <a:lnTo>
                      <a:pt x="2162" y="308"/>
                    </a:lnTo>
                    <a:lnTo>
                      <a:pt x="2142" y="312"/>
                    </a:lnTo>
                    <a:lnTo>
                      <a:pt x="2124" y="318"/>
                    </a:lnTo>
                    <a:lnTo>
                      <a:pt x="2124" y="318"/>
                    </a:lnTo>
                    <a:lnTo>
                      <a:pt x="2112" y="322"/>
                    </a:lnTo>
                    <a:lnTo>
                      <a:pt x="2108" y="320"/>
                    </a:lnTo>
                    <a:lnTo>
                      <a:pt x="2106" y="320"/>
                    </a:lnTo>
                    <a:lnTo>
                      <a:pt x="2106" y="316"/>
                    </a:lnTo>
                    <a:lnTo>
                      <a:pt x="2108" y="314"/>
                    </a:lnTo>
                    <a:lnTo>
                      <a:pt x="2114" y="306"/>
                    </a:lnTo>
                    <a:lnTo>
                      <a:pt x="2124" y="298"/>
                    </a:lnTo>
                    <a:lnTo>
                      <a:pt x="2138" y="292"/>
                    </a:lnTo>
                    <a:lnTo>
                      <a:pt x="2152" y="288"/>
                    </a:lnTo>
                    <a:lnTo>
                      <a:pt x="2160" y="288"/>
                    </a:lnTo>
                    <a:lnTo>
                      <a:pt x="2168" y="288"/>
                    </a:lnTo>
                    <a:lnTo>
                      <a:pt x="2168" y="288"/>
                    </a:lnTo>
                    <a:lnTo>
                      <a:pt x="2182" y="292"/>
                    </a:lnTo>
                    <a:lnTo>
                      <a:pt x="2198" y="292"/>
                    </a:lnTo>
                    <a:lnTo>
                      <a:pt x="2214" y="292"/>
                    </a:lnTo>
                    <a:lnTo>
                      <a:pt x="2228" y="290"/>
                    </a:lnTo>
                    <a:lnTo>
                      <a:pt x="2256" y="284"/>
                    </a:lnTo>
                    <a:lnTo>
                      <a:pt x="2278" y="276"/>
                    </a:lnTo>
                    <a:lnTo>
                      <a:pt x="2278" y="276"/>
                    </a:lnTo>
                    <a:lnTo>
                      <a:pt x="2284" y="270"/>
                    </a:lnTo>
                    <a:lnTo>
                      <a:pt x="2286" y="268"/>
                    </a:lnTo>
                    <a:lnTo>
                      <a:pt x="2284" y="268"/>
                    </a:lnTo>
                    <a:lnTo>
                      <a:pt x="2280" y="264"/>
                    </a:lnTo>
                    <a:lnTo>
                      <a:pt x="2270" y="262"/>
                    </a:lnTo>
                    <a:lnTo>
                      <a:pt x="2244" y="260"/>
                    </a:lnTo>
                    <a:lnTo>
                      <a:pt x="2232" y="260"/>
                    </a:lnTo>
                    <a:lnTo>
                      <a:pt x="2220" y="262"/>
                    </a:lnTo>
                    <a:lnTo>
                      <a:pt x="2220" y="262"/>
                    </a:lnTo>
                    <a:lnTo>
                      <a:pt x="2206" y="264"/>
                    </a:lnTo>
                    <a:lnTo>
                      <a:pt x="2188" y="264"/>
                    </a:lnTo>
                    <a:lnTo>
                      <a:pt x="2154" y="262"/>
                    </a:lnTo>
                    <a:lnTo>
                      <a:pt x="2134" y="258"/>
                    </a:lnTo>
                    <a:lnTo>
                      <a:pt x="2150" y="258"/>
                    </a:lnTo>
                    <a:lnTo>
                      <a:pt x="2150" y="258"/>
                    </a:lnTo>
                    <a:lnTo>
                      <a:pt x="2168" y="260"/>
                    </a:lnTo>
                    <a:lnTo>
                      <a:pt x="2182" y="258"/>
                    </a:lnTo>
                    <a:lnTo>
                      <a:pt x="2192" y="256"/>
                    </a:lnTo>
                    <a:lnTo>
                      <a:pt x="2200" y="252"/>
                    </a:lnTo>
                    <a:lnTo>
                      <a:pt x="2214" y="248"/>
                    </a:lnTo>
                    <a:lnTo>
                      <a:pt x="2222" y="246"/>
                    </a:lnTo>
                    <a:lnTo>
                      <a:pt x="2232" y="248"/>
                    </a:lnTo>
                    <a:lnTo>
                      <a:pt x="2232" y="248"/>
                    </a:lnTo>
                    <a:lnTo>
                      <a:pt x="2244" y="250"/>
                    </a:lnTo>
                    <a:lnTo>
                      <a:pt x="2254" y="250"/>
                    </a:lnTo>
                    <a:lnTo>
                      <a:pt x="2274" y="248"/>
                    </a:lnTo>
                    <a:lnTo>
                      <a:pt x="2298" y="244"/>
                    </a:lnTo>
                    <a:lnTo>
                      <a:pt x="2330" y="242"/>
                    </a:lnTo>
                    <a:lnTo>
                      <a:pt x="2330" y="242"/>
                    </a:lnTo>
                    <a:lnTo>
                      <a:pt x="2342" y="240"/>
                    </a:lnTo>
                    <a:lnTo>
                      <a:pt x="2344" y="238"/>
                    </a:lnTo>
                    <a:lnTo>
                      <a:pt x="2344" y="238"/>
                    </a:lnTo>
                    <a:lnTo>
                      <a:pt x="2342" y="232"/>
                    </a:lnTo>
                    <a:lnTo>
                      <a:pt x="2336" y="228"/>
                    </a:lnTo>
                    <a:lnTo>
                      <a:pt x="2330" y="224"/>
                    </a:lnTo>
                    <a:lnTo>
                      <a:pt x="2328" y="220"/>
                    </a:lnTo>
                    <a:lnTo>
                      <a:pt x="2330" y="220"/>
                    </a:lnTo>
                    <a:lnTo>
                      <a:pt x="2334" y="218"/>
                    </a:lnTo>
                    <a:lnTo>
                      <a:pt x="2348" y="218"/>
                    </a:lnTo>
                    <a:lnTo>
                      <a:pt x="2348" y="218"/>
                    </a:lnTo>
                    <a:lnTo>
                      <a:pt x="2360" y="216"/>
                    </a:lnTo>
                    <a:lnTo>
                      <a:pt x="2372" y="214"/>
                    </a:lnTo>
                    <a:lnTo>
                      <a:pt x="2382" y="212"/>
                    </a:lnTo>
                    <a:lnTo>
                      <a:pt x="2392" y="206"/>
                    </a:lnTo>
                    <a:lnTo>
                      <a:pt x="2412" y="196"/>
                    </a:lnTo>
                    <a:lnTo>
                      <a:pt x="2436" y="182"/>
                    </a:lnTo>
                    <a:lnTo>
                      <a:pt x="2436" y="182"/>
                    </a:lnTo>
                    <a:lnTo>
                      <a:pt x="2440" y="180"/>
                    </a:lnTo>
                    <a:lnTo>
                      <a:pt x="2442" y="176"/>
                    </a:lnTo>
                    <a:lnTo>
                      <a:pt x="2438" y="174"/>
                    </a:lnTo>
                    <a:lnTo>
                      <a:pt x="2434" y="170"/>
                    </a:lnTo>
                    <a:lnTo>
                      <a:pt x="2414" y="164"/>
                    </a:lnTo>
                    <a:lnTo>
                      <a:pt x="2388" y="158"/>
                    </a:lnTo>
                    <a:lnTo>
                      <a:pt x="2356" y="154"/>
                    </a:lnTo>
                    <a:lnTo>
                      <a:pt x="2322" y="150"/>
                    </a:lnTo>
                    <a:lnTo>
                      <a:pt x="2292" y="148"/>
                    </a:lnTo>
                    <a:lnTo>
                      <a:pt x="2264" y="150"/>
                    </a:lnTo>
                    <a:lnTo>
                      <a:pt x="2264" y="150"/>
                    </a:lnTo>
                    <a:lnTo>
                      <a:pt x="2244" y="152"/>
                    </a:lnTo>
                    <a:lnTo>
                      <a:pt x="2230" y="158"/>
                    </a:lnTo>
                    <a:lnTo>
                      <a:pt x="2220" y="164"/>
                    </a:lnTo>
                    <a:lnTo>
                      <a:pt x="2214" y="172"/>
                    </a:lnTo>
                    <a:lnTo>
                      <a:pt x="2210" y="180"/>
                    </a:lnTo>
                    <a:lnTo>
                      <a:pt x="2204" y="184"/>
                    </a:lnTo>
                    <a:lnTo>
                      <a:pt x="2198" y="186"/>
                    </a:lnTo>
                    <a:lnTo>
                      <a:pt x="2188" y="186"/>
                    </a:lnTo>
                    <a:lnTo>
                      <a:pt x="2188" y="186"/>
                    </a:lnTo>
                    <a:lnTo>
                      <a:pt x="2176" y="184"/>
                    </a:lnTo>
                    <a:lnTo>
                      <a:pt x="2162" y="182"/>
                    </a:lnTo>
                    <a:lnTo>
                      <a:pt x="2140" y="184"/>
                    </a:lnTo>
                    <a:lnTo>
                      <a:pt x="2126" y="184"/>
                    </a:lnTo>
                    <a:lnTo>
                      <a:pt x="2126" y="182"/>
                    </a:lnTo>
                    <a:lnTo>
                      <a:pt x="2126" y="182"/>
                    </a:lnTo>
                    <a:lnTo>
                      <a:pt x="2130" y="178"/>
                    </a:lnTo>
                    <a:lnTo>
                      <a:pt x="2130" y="178"/>
                    </a:lnTo>
                    <a:lnTo>
                      <a:pt x="2134" y="172"/>
                    </a:lnTo>
                    <a:lnTo>
                      <a:pt x="2134" y="170"/>
                    </a:lnTo>
                    <a:lnTo>
                      <a:pt x="2128" y="170"/>
                    </a:lnTo>
                    <a:lnTo>
                      <a:pt x="2120" y="172"/>
                    </a:lnTo>
                    <a:lnTo>
                      <a:pt x="2108" y="176"/>
                    </a:lnTo>
                    <a:lnTo>
                      <a:pt x="2092" y="184"/>
                    </a:lnTo>
                    <a:lnTo>
                      <a:pt x="2074" y="196"/>
                    </a:lnTo>
                    <a:lnTo>
                      <a:pt x="2050" y="210"/>
                    </a:lnTo>
                    <a:lnTo>
                      <a:pt x="2050" y="210"/>
                    </a:lnTo>
                    <a:lnTo>
                      <a:pt x="2028" y="224"/>
                    </a:lnTo>
                    <a:lnTo>
                      <a:pt x="2010" y="234"/>
                    </a:lnTo>
                    <a:lnTo>
                      <a:pt x="1996" y="242"/>
                    </a:lnTo>
                    <a:lnTo>
                      <a:pt x="1986" y="244"/>
                    </a:lnTo>
                    <a:lnTo>
                      <a:pt x="1984" y="244"/>
                    </a:lnTo>
                    <a:lnTo>
                      <a:pt x="1982" y="244"/>
                    </a:lnTo>
                    <a:lnTo>
                      <a:pt x="1984" y="238"/>
                    </a:lnTo>
                    <a:lnTo>
                      <a:pt x="1992" y="228"/>
                    </a:lnTo>
                    <a:lnTo>
                      <a:pt x="2008" y="216"/>
                    </a:lnTo>
                    <a:lnTo>
                      <a:pt x="2008" y="216"/>
                    </a:lnTo>
                    <a:lnTo>
                      <a:pt x="2026" y="200"/>
                    </a:lnTo>
                    <a:lnTo>
                      <a:pt x="2040" y="186"/>
                    </a:lnTo>
                    <a:lnTo>
                      <a:pt x="2050" y="172"/>
                    </a:lnTo>
                    <a:lnTo>
                      <a:pt x="2052" y="166"/>
                    </a:lnTo>
                    <a:lnTo>
                      <a:pt x="2052" y="160"/>
                    </a:lnTo>
                    <a:lnTo>
                      <a:pt x="2052" y="156"/>
                    </a:lnTo>
                    <a:lnTo>
                      <a:pt x="2050" y="150"/>
                    </a:lnTo>
                    <a:lnTo>
                      <a:pt x="2048" y="146"/>
                    </a:lnTo>
                    <a:lnTo>
                      <a:pt x="2042" y="144"/>
                    </a:lnTo>
                    <a:lnTo>
                      <a:pt x="2036" y="140"/>
                    </a:lnTo>
                    <a:lnTo>
                      <a:pt x="2028" y="138"/>
                    </a:lnTo>
                    <a:lnTo>
                      <a:pt x="2004" y="138"/>
                    </a:lnTo>
                    <a:lnTo>
                      <a:pt x="2004" y="138"/>
                    </a:lnTo>
                    <a:lnTo>
                      <a:pt x="1984" y="138"/>
                    </a:lnTo>
                    <a:lnTo>
                      <a:pt x="1972" y="142"/>
                    </a:lnTo>
                    <a:lnTo>
                      <a:pt x="1964" y="146"/>
                    </a:lnTo>
                    <a:lnTo>
                      <a:pt x="1962" y="152"/>
                    </a:lnTo>
                    <a:lnTo>
                      <a:pt x="1960" y="156"/>
                    </a:lnTo>
                    <a:lnTo>
                      <a:pt x="1958" y="162"/>
                    </a:lnTo>
                    <a:lnTo>
                      <a:pt x="1952" y="168"/>
                    </a:lnTo>
                    <a:lnTo>
                      <a:pt x="1940" y="172"/>
                    </a:lnTo>
                    <a:lnTo>
                      <a:pt x="1940" y="172"/>
                    </a:lnTo>
                    <a:lnTo>
                      <a:pt x="1910" y="178"/>
                    </a:lnTo>
                    <a:lnTo>
                      <a:pt x="1886" y="182"/>
                    </a:lnTo>
                    <a:lnTo>
                      <a:pt x="1878" y="182"/>
                    </a:lnTo>
                    <a:lnTo>
                      <a:pt x="1876" y="180"/>
                    </a:lnTo>
                    <a:lnTo>
                      <a:pt x="1880" y="176"/>
                    </a:lnTo>
                    <a:lnTo>
                      <a:pt x="1890" y="172"/>
                    </a:lnTo>
                    <a:lnTo>
                      <a:pt x="1890" y="172"/>
                    </a:lnTo>
                    <a:lnTo>
                      <a:pt x="1916" y="160"/>
                    </a:lnTo>
                    <a:lnTo>
                      <a:pt x="1922" y="154"/>
                    </a:lnTo>
                    <a:lnTo>
                      <a:pt x="1924" y="152"/>
                    </a:lnTo>
                    <a:lnTo>
                      <a:pt x="1924" y="150"/>
                    </a:lnTo>
                    <a:lnTo>
                      <a:pt x="1924" y="148"/>
                    </a:lnTo>
                    <a:lnTo>
                      <a:pt x="1920" y="148"/>
                    </a:lnTo>
                    <a:lnTo>
                      <a:pt x="1906" y="144"/>
                    </a:lnTo>
                    <a:lnTo>
                      <a:pt x="1884" y="142"/>
                    </a:lnTo>
                    <a:lnTo>
                      <a:pt x="1852" y="140"/>
                    </a:lnTo>
                    <a:lnTo>
                      <a:pt x="1852" y="140"/>
                    </a:lnTo>
                    <a:lnTo>
                      <a:pt x="1812" y="142"/>
                    </a:lnTo>
                    <a:lnTo>
                      <a:pt x="1770" y="146"/>
                    </a:lnTo>
                    <a:lnTo>
                      <a:pt x="1730" y="152"/>
                    </a:lnTo>
                    <a:lnTo>
                      <a:pt x="1694" y="160"/>
                    </a:lnTo>
                    <a:lnTo>
                      <a:pt x="1636" y="172"/>
                    </a:lnTo>
                    <a:lnTo>
                      <a:pt x="1616" y="174"/>
                    </a:lnTo>
                    <a:lnTo>
                      <a:pt x="1610" y="174"/>
                    </a:lnTo>
                    <a:lnTo>
                      <a:pt x="1608" y="174"/>
                    </a:lnTo>
                    <a:lnTo>
                      <a:pt x="1608" y="174"/>
                    </a:lnTo>
                    <a:lnTo>
                      <a:pt x="1604" y="170"/>
                    </a:lnTo>
                    <a:lnTo>
                      <a:pt x="1602" y="168"/>
                    </a:lnTo>
                    <a:lnTo>
                      <a:pt x="1604" y="164"/>
                    </a:lnTo>
                    <a:lnTo>
                      <a:pt x="1606" y="162"/>
                    </a:lnTo>
                    <a:lnTo>
                      <a:pt x="1618" y="156"/>
                    </a:lnTo>
                    <a:lnTo>
                      <a:pt x="1636" y="152"/>
                    </a:lnTo>
                    <a:lnTo>
                      <a:pt x="1686" y="142"/>
                    </a:lnTo>
                    <a:lnTo>
                      <a:pt x="1744" y="134"/>
                    </a:lnTo>
                    <a:lnTo>
                      <a:pt x="1744" y="134"/>
                    </a:lnTo>
                    <a:lnTo>
                      <a:pt x="1772" y="130"/>
                    </a:lnTo>
                    <a:lnTo>
                      <a:pt x="1802" y="130"/>
                    </a:lnTo>
                    <a:lnTo>
                      <a:pt x="1864" y="130"/>
                    </a:lnTo>
                    <a:lnTo>
                      <a:pt x="1926" y="130"/>
                    </a:lnTo>
                    <a:lnTo>
                      <a:pt x="1956" y="128"/>
                    </a:lnTo>
                    <a:lnTo>
                      <a:pt x="1984" y="124"/>
                    </a:lnTo>
                    <a:lnTo>
                      <a:pt x="1984" y="124"/>
                    </a:lnTo>
                    <a:lnTo>
                      <a:pt x="2020" y="114"/>
                    </a:lnTo>
                    <a:lnTo>
                      <a:pt x="2054" y="104"/>
                    </a:lnTo>
                    <a:lnTo>
                      <a:pt x="2066" y="98"/>
                    </a:lnTo>
                    <a:lnTo>
                      <a:pt x="2072" y="92"/>
                    </a:lnTo>
                    <a:lnTo>
                      <a:pt x="2072" y="90"/>
                    </a:lnTo>
                    <a:lnTo>
                      <a:pt x="2070" y="88"/>
                    </a:lnTo>
                    <a:lnTo>
                      <a:pt x="2062" y="84"/>
                    </a:lnTo>
                    <a:lnTo>
                      <a:pt x="2062" y="84"/>
                    </a:lnTo>
                    <a:lnTo>
                      <a:pt x="2034" y="78"/>
                    </a:lnTo>
                    <a:lnTo>
                      <a:pt x="2004" y="72"/>
                    </a:lnTo>
                    <a:lnTo>
                      <a:pt x="1988" y="70"/>
                    </a:lnTo>
                    <a:lnTo>
                      <a:pt x="1970" y="68"/>
                    </a:lnTo>
                    <a:lnTo>
                      <a:pt x="1952" y="70"/>
                    </a:lnTo>
                    <a:lnTo>
                      <a:pt x="1932" y="72"/>
                    </a:lnTo>
                    <a:lnTo>
                      <a:pt x="1932" y="72"/>
                    </a:lnTo>
                    <a:lnTo>
                      <a:pt x="1914" y="76"/>
                    </a:lnTo>
                    <a:lnTo>
                      <a:pt x="1916" y="74"/>
                    </a:lnTo>
                    <a:lnTo>
                      <a:pt x="1922" y="70"/>
                    </a:lnTo>
                    <a:lnTo>
                      <a:pt x="1930" y="64"/>
                    </a:lnTo>
                    <a:lnTo>
                      <a:pt x="1936" y="58"/>
                    </a:lnTo>
                    <a:lnTo>
                      <a:pt x="1938" y="56"/>
                    </a:lnTo>
                    <a:lnTo>
                      <a:pt x="1938" y="52"/>
                    </a:lnTo>
                    <a:lnTo>
                      <a:pt x="1936" y="50"/>
                    </a:lnTo>
                    <a:lnTo>
                      <a:pt x="1932" y="46"/>
                    </a:lnTo>
                    <a:lnTo>
                      <a:pt x="1932" y="46"/>
                    </a:lnTo>
                    <a:lnTo>
                      <a:pt x="1922" y="42"/>
                    </a:lnTo>
                    <a:lnTo>
                      <a:pt x="1912" y="42"/>
                    </a:lnTo>
                    <a:lnTo>
                      <a:pt x="1898" y="42"/>
                    </a:lnTo>
                    <a:lnTo>
                      <a:pt x="1884" y="46"/>
                    </a:lnTo>
                    <a:lnTo>
                      <a:pt x="1866" y="48"/>
                    </a:lnTo>
                    <a:lnTo>
                      <a:pt x="1846" y="50"/>
                    </a:lnTo>
                    <a:lnTo>
                      <a:pt x="1822" y="52"/>
                    </a:lnTo>
                    <a:lnTo>
                      <a:pt x="1794" y="50"/>
                    </a:lnTo>
                    <a:lnTo>
                      <a:pt x="1794" y="50"/>
                    </a:lnTo>
                    <a:lnTo>
                      <a:pt x="1766" y="48"/>
                    </a:lnTo>
                    <a:lnTo>
                      <a:pt x="1744" y="48"/>
                    </a:lnTo>
                    <a:lnTo>
                      <a:pt x="1724" y="52"/>
                    </a:lnTo>
                    <a:lnTo>
                      <a:pt x="1708" y="54"/>
                    </a:lnTo>
                    <a:lnTo>
                      <a:pt x="1678" y="60"/>
                    </a:lnTo>
                    <a:lnTo>
                      <a:pt x="1660" y="60"/>
                    </a:lnTo>
                    <a:lnTo>
                      <a:pt x="1638" y="60"/>
                    </a:lnTo>
                    <a:lnTo>
                      <a:pt x="1638" y="60"/>
                    </a:lnTo>
                    <a:lnTo>
                      <a:pt x="1622" y="58"/>
                    </a:lnTo>
                    <a:lnTo>
                      <a:pt x="1616" y="56"/>
                    </a:lnTo>
                    <a:lnTo>
                      <a:pt x="1618" y="54"/>
                    </a:lnTo>
                    <a:lnTo>
                      <a:pt x="1628" y="52"/>
                    </a:lnTo>
                    <a:lnTo>
                      <a:pt x="1692" y="46"/>
                    </a:lnTo>
                    <a:lnTo>
                      <a:pt x="1692" y="46"/>
                    </a:lnTo>
                    <a:lnTo>
                      <a:pt x="1734" y="44"/>
                    </a:lnTo>
                    <a:lnTo>
                      <a:pt x="1794" y="42"/>
                    </a:lnTo>
                    <a:lnTo>
                      <a:pt x="1852" y="38"/>
                    </a:lnTo>
                    <a:lnTo>
                      <a:pt x="1894" y="34"/>
                    </a:lnTo>
                    <a:lnTo>
                      <a:pt x="1894" y="34"/>
                    </a:lnTo>
                    <a:lnTo>
                      <a:pt x="1900" y="32"/>
                    </a:lnTo>
                    <a:lnTo>
                      <a:pt x="1902" y="32"/>
                    </a:lnTo>
                    <a:lnTo>
                      <a:pt x="1902" y="30"/>
                    </a:lnTo>
                    <a:lnTo>
                      <a:pt x="1898" y="28"/>
                    </a:lnTo>
                    <a:lnTo>
                      <a:pt x="1882" y="24"/>
                    </a:lnTo>
                    <a:lnTo>
                      <a:pt x="1858" y="20"/>
                    </a:lnTo>
                    <a:lnTo>
                      <a:pt x="1798" y="12"/>
                    </a:lnTo>
                    <a:lnTo>
                      <a:pt x="1732" y="6"/>
                    </a:lnTo>
                    <a:lnTo>
                      <a:pt x="1732" y="6"/>
                    </a:lnTo>
                    <a:lnTo>
                      <a:pt x="1686" y="2"/>
                    </a:lnTo>
                    <a:lnTo>
                      <a:pt x="1648" y="0"/>
                    </a:lnTo>
                    <a:lnTo>
                      <a:pt x="1618" y="2"/>
                    </a:lnTo>
                    <a:lnTo>
                      <a:pt x="1594" y="2"/>
                    </a:lnTo>
                    <a:lnTo>
                      <a:pt x="1552" y="6"/>
                    </a:lnTo>
                    <a:lnTo>
                      <a:pt x="1528" y="8"/>
                    </a:lnTo>
                    <a:lnTo>
                      <a:pt x="1504" y="6"/>
                    </a:lnTo>
                    <a:lnTo>
                      <a:pt x="1504" y="6"/>
                    </a:lnTo>
                    <a:lnTo>
                      <a:pt x="1480" y="6"/>
                    </a:lnTo>
                    <a:lnTo>
                      <a:pt x="1466" y="8"/>
                    </a:lnTo>
                    <a:lnTo>
                      <a:pt x="1460" y="10"/>
                    </a:lnTo>
                    <a:lnTo>
                      <a:pt x="1458" y="14"/>
                    </a:lnTo>
                    <a:lnTo>
                      <a:pt x="1458" y="16"/>
                    </a:lnTo>
                    <a:lnTo>
                      <a:pt x="1458" y="18"/>
                    </a:lnTo>
                    <a:lnTo>
                      <a:pt x="1452" y="18"/>
                    </a:lnTo>
                    <a:lnTo>
                      <a:pt x="1442" y="16"/>
                    </a:lnTo>
                    <a:lnTo>
                      <a:pt x="1442" y="16"/>
                    </a:lnTo>
                    <a:lnTo>
                      <a:pt x="1420" y="12"/>
                    </a:lnTo>
                    <a:lnTo>
                      <a:pt x="1410" y="14"/>
                    </a:lnTo>
                    <a:lnTo>
                      <a:pt x="1400" y="16"/>
                    </a:lnTo>
                    <a:lnTo>
                      <a:pt x="1384" y="18"/>
                    </a:lnTo>
                    <a:lnTo>
                      <a:pt x="1384" y="18"/>
                    </a:lnTo>
                    <a:lnTo>
                      <a:pt x="1374" y="18"/>
                    </a:lnTo>
                    <a:lnTo>
                      <a:pt x="1368" y="20"/>
                    </a:lnTo>
                    <a:lnTo>
                      <a:pt x="1366" y="24"/>
                    </a:lnTo>
                    <a:lnTo>
                      <a:pt x="1366" y="28"/>
                    </a:lnTo>
                    <a:lnTo>
                      <a:pt x="1370" y="32"/>
                    </a:lnTo>
                    <a:lnTo>
                      <a:pt x="1378" y="36"/>
                    </a:lnTo>
                    <a:lnTo>
                      <a:pt x="1388" y="40"/>
                    </a:lnTo>
                    <a:lnTo>
                      <a:pt x="1402" y="44"/>
                    </a:lnTo>
                    <a:lnTo>
                      <a:pt x="1402" y="44"/>
                    </a:lnTo>
                    <a:lnTo>
                      <a:pt x="1412" y="46"/>
                    </a:lnTo>
                    <a:lnTo>
                      <a:pt x="1416" y="46"/>
                    </a:lnTo>
                    <a:lnTo>
                      <a:pt x="1412" y="48"/>
                    </a:lnTo>
                    <a:lnTo>
                      <a:pt x="1406" y="50"/>
                    </a:lnTo>
                    <a:lnTo>
                      <a:pt x="1386" y="52"/>
                    </a:lnTo>
                    <a:lnTo>
                      <a:pt x="1378" y="54"/>
                    </a:lnTo>
                    <a:lnTo>
                      <a:pt x="1372" y="56"/>
                    </a:lnTo>
                    <a:lnTo>
                      <a:pt x="1372" y="56"/>
                    </a:lnTo>
                    <a:lnTo>
                      <a:pt x="1356" y="62"/>
                    </a:lnTo>
                    <a:lnTo>
                      <a:pt x="1332" y="64"/>
                    </a:lnTo>
                    <a:lnTo>
                      <a:pt x="1318" y="66"/>
                    </a:lnTo>
                    <a:lnTo>
                      <a:pt x="1304" y="64"/>
                    </a:lnTo>
                    <a:lnTo>
                      <a:pt x="1290" y="62"/>
                    </a:lnTo>
                    <a:lnTo>
                      <a:pt x="1278" y="56"/>
                    </a:lnTo>
                    <a:lnTo>
                      <a:pt x="1278" y="56"/>
                    </a:lnTo>
                    <a:lnTo>
                      <a:pt x="1254" y="46"/>
                    </a:lnTo>
                    <a:lnTo>
                      <a:pt x="1242" y="42"/>
                    </a:lnTo>
                    <a:lnTo>
                      <a:pt x="1228" y="38"/>
                    </a:lnTo>
                    <a:lnTo>
                      <a:pt x="1212" y="36"/>
                    </a:lnTo>
                    <a:lnTo>
                      <a:pt x="1194" y="34"/>
                    </a:lnTo>
                    <a:lnTo>
                      <a:pt x="1176" y="36"/>
                    </a:lnTo>
                    <a:lnTo>
                      <a:pt x="1154" y="38"/>
                    </a:lnTo>
                    <a:lnTo>
                      <a:pt x="1154" y="38"/>
                    </a:lnTo>
                    <a:lnTo>
                      <a:pt x="1114" y="44"/>
                    </a:lnTo>
                    <a:lnTo>
                      <a:pt x="1078" y="48"/>
                    </a:lnTo>
                    <a:lnTo>
                      <a:pt x="1064" y="50"/>
                    </a:lnTo>
                    <a:lnTo>
                      <a:pt x="1054" y="54"/>
                    </a:lnTo>
                    <a:lnTo>
                      <a:pt x="1048" y="56"/>
                    </a:lnTo>
                    <a:lnTo>
                      <a:pt x="1048" y="58"/>
                    </a:lnTo>
                    <a:lnTo>
                      <a:pt x="1048" y="60"/>
                    </a:lnTo>
                    <a:lnTo>
                      <a:pt x="1048" y="60"/>
                    </a:lnTo>
                    <a:lnTo>
                      <a:pt x="1054" y="64"/>
                    </a:lnTo>
                    <a:lnTo>
                      <a:pt x="1062" y="66"/>
                    </a:lnTo>
                    <a:lnTo>
                      <a:pt x="1092" y="68"/>
                    </a:lnTo>
                    <a:lnTo>
                      <a:pt x="1128" y="66"/>
                    </a:lnTo>
                    <a:lnTo>
                      <a:pt x="1170" y="66"/>
                    </a:lnTo>
                    <a:lnTo>
                      <a:pt x="1170" y="66"/>
                    </a:lnTo>
                    <a:lnTo>
                      <a:pt x="1208" y="68"/>
                    </a:lnTo>
                    <a:lnTo>
                      <a:pt x="1246" y="72"/>
                    </a:lnTo>
                    <a:lnTo>
                      <a:pt x="1280" y="76"/>
                    </a:lnTo>
                    <a:lnTo>
                      <a:pt x="1314" y="82"/>
                    </a:lnTo>
                    <a:lnTo>
                      <a:pt x="1314" y="82"/>
                    </a:lnTo>
                    <a:lnTo>
                      <a:pt x="1326" y="86"/>
                    </a:lnTo>
                    <a:lnTo>
                      <a:pt x="1332" y="88"/>
                    </a:lnTo>
                    <a:lnTo>
                      <a:pt x="1332" y="90"/>
                    </a:lnTo>
                    <a:lnTo>
                      <a:pt x="1332" y="90"/>
                    </a:lnTo>
                    <a:lnTo>
                      <a:pt x="1326" y="92"/>
                    </a:lnTo>
                    <a:lnTo>
                      <a:pt x="1308" y="92"/>
                    </a:lnTo>
                    <a:lnTo>
                      <a:pt x="1294" y="90"/>
                    </a:lnTo>
                    <a:lnTo>
                      <a:pt x="1282" y="88"/>
                    </a:lnTo>
                    <a:lnTo>
                      <a:pt x="1282" y="88"/>
                    </a:lnTo>
                    <a:lnTo>
                      <a:pt x="1268" y="84"/>
                    </a:lnTo>
                    <a:lnTo>
                      <a:pt x="1252" y="82"/>
                    </a:lnTo>
                    <a:lnTo>
                      <a:pt x="1214" y="78"/>
                    </a:lnTo>
                    <a:lnTo>
                      <a:pt x="1110" y="74"/>
                    </a:lnTo>
                    <a:lnTo>
                      <a:pt x="1110" y="74"/>
                    </a:lnTo>
                    <a:lnTo>
                      <a:pt x="1092" y="76"/>
                    </a:lnTo>
                    <a:lnTo>
                      <a:pt x="1090" y="76"/>
                    </a:lnTo>
                    <a:lnTo>
                      <a:pt x="1092" y="78"/>
                    </a:lnTo>
                    <a:lnTo>
                      <a:pt x="1106" y="84"/>
                    </a:lnTo>
                    <a:lnTo>
                      <a:pt x="1126" y="92"/>
                    </a:lnTo>
                    <a:lnTo>
                      <a:pt x="1148" y="100"/>
                    </a:lnTo>
                    <a:lnTo>
                      <a:pt x="1164" y="108"/>
                    </a:lnTo>
                    <a:lnTo>
                      <a:pt x="1168" y="110"/>
                    </a:lnTo>
                    <a:lnTo>
                      <a:pt x="1168" y="114"/>
                    </a:lnTo>
                    <a:lnTo>
                      <a:pt x="1164" y="116"/>
                    </a:lnTo>
                    <a:lnTo>
                      <a:pt x="1154" y="116"/>
                    </a:lnTo>
                    <a:lnTo>
                      <a:pt x="1154" y="116"/>
                    </a:lnTo>
                    <a:lnTo>
                      <a:pt x="1146" y="118"/>
                    </a:lnTo>
                    <a:lnTo>
                      <a:pt x="1142" y="120"/>
                    </a:lnTo>
                    <a:lnTo>
                      <a:pt x="1138" y="122"/>
                    </a:lnTo>
                    <a:lnTo>
                      <a:pt x="1138" y="126"/>
                    </a:lnTo>
                    <a:lnTo>
                      <a:pt x="1136" y="132"/>
                    </a:lnTo>
                    <a:lnTo>
                      <a:pt x="1138" y="140"/>
                    </a:lnTo>
                    <a:lnTo>
                      <a:pt x="1142" y="148"/>
                    </a:lnTo>
                    <a:lnTo>
                      <a:pt x="1142" y="156"/>
                    </a:lnTo>
                    <a:lnTo>
                      <a:pt x="1142" y="158"/>
                    </a:lnTo>
                    <a:lnTo>
                      <a:pt x="1140" y="160"/>
                    </a:lnTo>
                    <a:lnTo>
                      <a:pt x="1136" y="162"/>
                    </a:lnTo>
                    <a:lnTo>
                      <a:pt x="1132" y="164"/>
                    </a:lnTo>
                    <a:lnTo>
                      <a:pt x="1132" y="164"/>
                    </a:lnTo>
                    <a:lnTo>
                      <a:pt x="1122" y="164"/>
                    </a:lnTo>
                    <a:lnTo>
                      <a:pt x="1114" y="162"/>
                    </a:lnTo>
                    <a:lnTo>
                      <a:pt x="1108" y="158"/>
                    </a:lnTo>
                    <a:lnTo>
                      <a:pt x="1102" y="152"/>
                    </a:lnTo>
                    <a:lnTo>
                      <a:pt x="1094" y="146"/>
                    </a:lnTo>
                    <a:lnTo>
                      <a:pt x="1084" y="142"/>
                    </a:lnTo>
                    <a:lnTo>
                      <a:pt x="1070" y="136"/>
                    </a:lnTo>
                    <a:lnTo>
                      <a:pt x="1052" y="132"/>
                    </a:lnTo>
                    <a:lnTo>
                      <a:pt x="1052" y="132"/>
                    </a:lnTo>
                    <a:lnTo>
                      <a:pt x="1034" y="128"/>
                    </a:lnTo>
                    <a:lnTo>
                      <a:pt x="1016" y="124"/>
                    </a:lnTo>
                    <a:lnTo>
                      <a:pt x="986" y="114"/>
                    </a:lnTo>
                    <a:lnTo>
                      <a:pt x="954" y="104"/>
                    </a:lnTo>
                    <a:lnTo>
                      <a:pt x="936" y="100"/>
                    </a:lnTo>
                    <a:lnTo>
                      <a:pt x="916" y="98"/>
                    </a:lnTo>
                    <a:lnTo>
                      <a:pt x="916" y="98"/>
                    </a:lnTo>
                    <a:lnTo>
                      <a:pt x="896" y="98"/>
                    </a:lnTo>
                    <a:lnTo>
                      <a:pt x="884" y="100"/>
                    </a:lnTo>
                    <a:lnTo>
                      <a:pt x="876" y="102"/>
                    </a:lnTo>
                    <a:lnTo>
                      <a:pt x="874" y="104"/>
                    </a:lnTo>
                    <a:lnTo>
                      <a:pt x="874" y="106"/>
                    </a:lnTo>
                    <a:lnTo>
                      <a:pt x="876" y="112"/>
                    </a:lnTo>
                    <a:lnTo>
                      <a:pt x="884" y="118"/>
                    </a:lnTo>
                    <a:lnTo>
                      <a:pt x="914" y="138"/>
                    </a:lnTo>
                    <a:lnTo>
                      <a:pt x="914" y="138"/>
                    </a:lnTo>
                    <a:lnTo>
                      <a:pt x="926" y="146"/>
                    </a:lnTo>
                    <a:lnTo>
                      <a:pt x="928" y="148"/>
                    </a:lnTo>
                    <a:lnTo>
                      <a:pt x="928" y="150"/>
                    </a:lnTo>
                    <a:lnTo>
                      <a:pt x="922" y="150"/>
                    </a:lnTo>
                    <a:lnTo>
                      <a:pt x="912" y="148"/>
                    </a:lnTo>
                    <a:lnTo>
                      <a:pt x="900" y="148"/>
                    </a:lnTo>
                    <a:lnTo>
                      <a:pt x="888" y="148"/>
                    </a:lnTo>
                    <a:lnTo>
                      <a:pt x="884" y="148"/>
                    </a:lnTo>
                    <a:lnTo>
                      <a:pt x="882" y="150"/>
                    </a:lnTo>
                    <a:lnTo>
                      <a:pt x="882" y="154"/>
                    </a:lnTo>
                    <a:lnTo>
                      <a:pt x="884" y="158"/>
                    </a:lnTo>
                    <a:lnTo>
                      <a:pt x="884" y="158"/>
                    </a:lnTo>
                    <a:lnTo>
                      <a:pt x="886" y="160"/>
                    </a:lnTo>
                    <a:lnTo>
                      <a:pt x="886" y="162"/>
                    </a:lnTo>
                    <a:lnTo>
                      <a:pt x="878" y="160"/>
                    </a:lnTo>
                    <a:lnTo>
                      <a:pt x="866" y="156"/>
                    </a:lnTo>
                    <a:lnTo>
                      <a:pt x="850" y="150"/>
                    </a:lnTo>
                    <a:lnTo>
                      <a:pt x="834" y="148"/>
                    </a:lnTo>
                    <a:lnTo>
                      <a:pt x="824" y="148"/>
                    </a:lnTo>
                    <a:lnTo>
                      <a:pt x="814" y="148"/>
                    </a:lnTo>
                    <a:lnTo>
                      <a:pt x="806" y="152"/>
                    </a:lnTo>
                    <a:lnTo>
                      <a:pt x="796" y="156"/>
                    </a:lnTo>
                    <a:lnTo>
                      <a:pt x="788" y="164"/>
                    </a:lnTo>
                    <a:lnTo>
                      <a:pt x="782" y="172"/>
                    </a:lnTo>
                    <a:lnTo>
                      <a:pt x="782" y="172"/>
                    </a:lnTo>
                    <a:lnTo>
                      <a:pt x="770" y="190"/>
                    </a:lnTo>
                    <a:lnTo>
                      <a:pt x="772" y="180"/>
                    </a:lnTo>
                    <a:lnTo>
                      <a:pt x="776" y="168"/>
                    </a:lnTo>
                    <a:lnTo>
                      <a:pt x="776" y="154"/>
                    </a:lnTo>
                    <a:lnTo>
                      <a:pt x="774" y="138"/>
                    </a:lnTo>
                    <a:lnTo>
                      <a:pt x="772" y="132"/>
                    </a:lnTo>
                    <a:lnTo>
                      <a:pt x="766" y="124"/>
                    </a:lnTo>
                    <a:lnTo>
                      <a:pt x="766" y="124"/>
                    </a:lnTo>
                    <a:lnTo>
                      <a:pt x="756" y="114"/>
                    </a:lnTo>
                    <a:lnTo>
                      <a:pt x="746" y="108"/>
                    </a:lnTo>
                    <a:lnTo>
                      <a:pt x="732" y="108"/>
                    </a:lnTo>
                    <a:lnTo>
                      <a:pt x="716" y="110"/>
                    </a:lnTo>
                    <a:lnTo>
                      <a:pt x="672" y="120"/>
                    </a:lnTo>
                    <a:lnTo>
                      <a:pt x="640" y="126"/>
                    </a:lnTo>
                    <a:lnTo>
                      <a:pt x="598" y="130"/>
                    </a:lnTo>
                    <a:lnTo>
                      <a:pt x="598" y="130"/>
                    </a:lnTo>
                    <a:lnTo>
                      <a:pt x="558" y="136"/>
                    </a:lnTo>
                    <a:lnTo>
                      <a:pt x="526" y="140"/>
                    </a:lnTo>
                    <a:lnTo>
                      <a:pt x="502" y="146"/>
                    </a:lnTo>
                    <a:lnTo>
                      <a:pt x="484" y="152"/>
                    </a:lnTo>
                    <a:lnTo>
                      <a:pt x="472" y="156"/>
                    </a:lnTo>
                    <a:lnTo>
                      <a:pt x="466" y="164"/>
                    </a:lnTo>
                    <a:lnTo>
                      <a:pt x="466" y="166"/>
                    </a:lnTo>
                    <a:lnTo>
                      <a:pt x="466" y="170"/>
                    </a:lnTo>
                    <a:lnTo>
                      <a:pt x="470" y="176"/>
                    </a:lnTo>
                    <a:lnTo>
                      <a:pt x="470" y="176"/>
                    </a:lnTo>
                    <a:close/>
                  </a:path>
                </a:pathLst>
              </a:custGeom>
              <a:grpFill/>
              <a:ln w="6350">
                <a:noFill/>
                <a:round/>
                <a:headEnd/>
                <a:tailEnd/>
              </a:ln>
            </p:spPr>
            <p:txBody>
              <a:bodyPr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37" name="Freeform 6134">
              <a:extLst>
                <a:ext uri="{FF2B5EF4-FFF2-40B4-BE49-F238E27FC236}">
                  <a16:creationId xmlns:a16="http://schemas.microsoft.com/office/drawing/2014/main" id="{B4C562D5-E6EF-48AE-8F81-B547CC6C4A2A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6532" y="4207503"/>
              <a:ext cx="2678" cy="3224"/>
            </a:xfrm>
            <a:custGeom>
              <a:avLst/>
              <a:gdLst/>
              <a:ahLst/>
              <a:cxnLst>
                <a:cxn ang="0">
                  <a:pos x="2" y="8"/>
                </a:cxn>
                <a:cxn ang="0">
                  <a:pos x="2" y="8"/>
                </a:cxn>
                <a:cxn ang="0">
                  <a:pos x="4" y="8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6" y="0"/>
                </a:cxn>
                <a:cxn ang="0">
                  <a:pos x="4" y="2"/>
                </a:cxn>
                <a:cxn ang="0">
                  <a:pos x="2" y="4"/>
                </a:cxn>
                <a:cxn ang="0">
                  <a:pos x="0" y="6"/>
                </a:cxn>
                <a:cxn ang="0">
                  <a:pos x="2" y="8"/>
                </a:cxn>
                <a:cxn ang="0">
                  <a:pos x="2" y="8"/>
                </a:cxn>
              </a:cxnLst>
              <a:rect l="0" t="0" r="r" b="b"/>
              <a:pathLst>
                <a:path w="6" h="8">
                  <a:moveTo>
                    <a:pt x="2" y="8"/>
                  </a:moveTo>
                  <a:lnTo>
                    <a:pt x="2" y="8"/>
                  </a:lnTo>
                  <a:lnTo>
                    <a:pt x="4" y="8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0"/>
                  </a:lnTo>
                  <a:lnTo>
                    <a:pt x="6" y="0"/>
                  </a:lnTo>
                  <a:lnTo>
                    <a:pt x="4" y="2"/>
                  </a:lnTo>
                  <a:lnTo>
                    <a:pt x="2" y="4"/>
                  </a:lnTo>
                  <a:lnTo>
                    <a:pt x="0" y="6"/>
                  </a:lnTo>
                  <a:lnTo>
                    <a:pt x="2" y="8"/>
                  </a:lnTo>
                  <a:lnTo>
                    <a:pt x="2" y="8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8" name="Freeform 6135">
              <a:extLst>
                <a:ext uri="{FF2B5EF4-FFF2-40B4-BE49-F238E27FC236}">
                  <a16:creationId xmlns:a16="http://schemas.microsoft.com/office/drawing/2014/main" id="{B61B3D10-CD21-48FC-9F00-8DD29E9EE762}"/>
                </a:ext>
              </a:extLst>
            </p:cNvPr>
            <p:cNvSpPr>
              <a:spLocks/>
            </p:cNvSpPr>
            <p:nvPr/>
          </p:nvSpPr>
          <p:spPr bwMode="auto">
            <a:xfrm>
              <a:off x="3960208" y="4202250"/>
              <a:ext cx="1116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4" y="2"/>
                </a:cxn>
                <a:cxn ang="0">
                  <a:pos x="4" y="0"/>
                </a:cxn>
                <a:cxn ang="0">
                  <a:pos x="4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4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4" y="2"/>
                  </a:lnTo>
                  <a:lnTo>
                    <a:pt x="4" y="0"/>
                  </a:lnTo>
                  <a:lnTo>
                    <a:pt x="4" y="0"/>
                  </a:ln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39" name="Freeform 6136">
              <a:extLst>
                <a:ext uri="{FF2B5EF4-FFF2-40B4-BE49-F238E27FC236}">
                  <a16:creationId xmlns:a16="http://schemas.microsoft.com/office/drawing/2014/main" id="{F1438CEE-5BD9-459D-A9EF-9BAFBE3F1177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1969" y="4201861"/>
              <a:ext cx="2678" cy="3224"/>
            </a:xfrm>
            <a:custGeom>
              <a:avLst/>
              <a:gdLst/>
              <a:ahLst/>
              <a:cxnLst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6"/>
                </a:cxn>
                <a:cxn ang="0">
                  <a:pos x="0" y="8"/>
                </a:cxn>
                <a:cxn ang="0">
                  <a:pos x="0" y="8"/>
                </a:cxn>
                <a:cxn ang="0">
                  <a:pos x="4" y="6"/>
                </a:cxn>
                <a:cxn ang="0">
                  <a:pos x="6" y="4"/>
                </a:cxn>
                <a:cxn ang="0">
                  <a:pos x="6" y="2"/>
                </a:cxn>
                <a:cxn ang="0">
                  <a:pos x="6" y="2"/>
                </a:cxn>
              </a:cxnLst>
              <a:rect l="0" t="0" r="r" b="b"/>
              <a:pathLst>
                <a:path w="6" h="8">
                  <a:moveTo>
                    <a:pt x="6" y="2"/>
                  </a:moveTo>
                  <a:lnTo>
                    <a:pt x="6" y="2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6"/>
                  </a:lnTo>
                  <a:lnTo>
                    <a:pt x="0" y="8"/>
                  </a:lnTo>
                  <a:lnTo>
                    <a:pt x="0" y="8"/>
                  </a:lnTo>
                  <a:lnTo>
                    <a:pt x="4" y="6"/>
                  </a:lnTo>
                  <a:lnTo>
                    <a:pt x="6" y="4"/>
                  </a:lnTo>
                  <a:lnTo>
                    <a:pt x="6" y="2"/>
                  </a:lnTo>
                  <a:lnTo>
                    <a:pt x="6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0" name="Freeform 6138">
              <a:extLst>
                <a:ext uri="{FF2B5EF4-FFF2-40B4-BE49-F238E27FC236}">
                  <a16:creationId xmlns:a16="http://schemas.microsoft.com/office/drawing/2014/main" id="{C03BDF90-B9E7-4411-B2C5-2395E1AC550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2965" y="4209874"/>
              <a:ext cx="1785" cy="2418"/>
            </a:xfrm>
            <a:custGeom>
              <a:avLst/>
              <a:gdLst/>
              <a:ahLst/>
              <a:cxnLst>
                <a:cxn ang="0">
                  <a:pos x="2" y="0"/>
                </a:cxn>
                <a:cxn ang="0">
                  <a:pos x="2" y="0"/>
                </a:cxn>
                <a:cxn ang="0">
                  <a:pos x="0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2" y="6"/>
                </a:cxn>
                <a:cxn ang="0">
                  <a:pos x="2" y="6"/>
                </a:cxn>
                <a:cxn ang="0">
                  <a:pos x="4" y="6"/>
                </a:cxn>
                <a:cxn ang="0">
                  <a:pos x="4" y="4"/>
                </a:cxn>
                <a:cxn ang="0">
                  <a:pos x="4" y="2"/>
                </a:cxn>
                <a:cxn ang="0">
                  <a:pos x="2" y="0"/>
                </a:cxn>
                <a:cxn ang="0">
                  <a:pos x="2" y="0"/>
                </a:cxn>
              </a:cxnLst>
              <a:rect l="0" t="0" r="r" b="b"/>
              <a:pathLst>
                <a:path w="4" h="6">
                  <a:moveTo>
                    <a:pt x="2" y="0"/>
                  </a:moveTo>
                  <a:lnTo>
                    <a:pt x="2" y="0"/>
                  </a:lnTo>
                  <a:lnTo>
                    <a:pt x="0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2" y="6"/>
                  </a:lnTo>
                  <a:lnTo>
                    <a:pt x="2" y="6"/>
                  </a:lnTo>
                  <a:lnTo>
                    <a:pt x="4" y="6"/>
                  </a:lnTo>
                  <a:lnTo>
                    <a:pt x="4" y="4"/>
                  </a:lnTo>
                  <a:lnTo>
                    <a:pt x="4" y="2"/>
                  </a:lnTo>
                  <a:lnTo>
                    <a:pt x="2" y="0"/>
                  </a:lnTo>
                  <a:lnTo>
                    <a:pt x="2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1" name="Freeform 6144">
              <a:extLst>
                <a:ext uri="{FF2B5EF4-FFF2-40B4-BE49-F238E27FC236}">
                  <a16:creationId xmlns:a16="http://schemas.microsoft.com/office/drawing/2014/main" id="{CB57B6DE-3FB1-48DE-BF21-0AF652DCC970}"/>
                </a:ext>
              </a:extLst>
            </p:cNvPr>
            <p:cNvSpPr>
              <a:spLocks/>
            </p:cNvSpPr>
            <p:nvPr/>
          </p:nvSpPr>
          <p:spPr bwMode="auto">
            <a:xfrm>
              <a:off x="3950141" y="4196164"/>
              <a:ext cx="3572" cy="2418"/>
            </a:xfrm>
            <a:custGeom>
              <a:avLst/>
              <a:gdLst/>
              <a:ahLst/>
              <a:cxnLst>
                <a:cxn ang="0">
                  <a:pos x="8" y="2"/>
                </a:cxn>
                <a:cxn ang="0">
                  <a:pos x="8" y="2"/>
                </a:cxn>
                <a:cxn ang="0">
                  <a:pos x="8" y="0"/>
                </a:cxn>
                <a:cxn ang="0">
                  <a:pos x="6" y="0"/>
                </a:cxn>
                <a:cxn ang="0">
                  <a:pos x="4" y="0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6"/>
                </a:cxn>
                <a:cxn ang="0">
                  <a:pos x="0" y="6"/>
                </a:cxn>
                <a:cxn ang="0">
                  <a:pos x="4" y="6"/>
                </a:cxn>
                <a:cxn ang="0">
                  <a:pos x="8" y="2"/>
                </a:cxn>
                <a:cxn ang="0">
                  <a:pos x="8" y="2"/>
                </a:cxn>
              </a:cxnLst>
              <a:rect l="0" t="0" r="r" b="b"/>
              <a:pathLst>
                <a:path w="8" h="6">
                  <a:moveTo>
                    <a:pt x="8" y="2"/>
                  </a:moveTo>
                  <a:lnTo>
                    <a:pt x="8" y="2"/>
                  </a:lnTo>
                  <a:lnTo>
                    <a:pt x="8" y="0"/>
                  </a:lnTo>
                  <a:lnTo>
                    <a:pt x="6" y="0"/>
                  </a:lnTo>
                  <a:lnTo>
                    <a:pt x="4" y="0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6"/>
                  </a:lnTo>
                  <a:lnTo>
                    <a:pt x="0" y="6"/>
                  </a:lnTo>
                  <a:lnTo>
                    <a:pt x="4" y="6"/>
                  </a:lnTo>
                  <a:lnTo>
                    <a:pt x="8" y="2"/>
                  </a:lnTo>
                  <a:lnTo>
                    <a:pt x="8" y="2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2" name="Freeform 6149">
              <a:extLst>
                <a:ext uri="{FF2B5EF4-FFF2-40B4-BE49-F238E27FC236}">
                  <a16:creationId xmlns:a16="http://schemas.microsoft.com/office/drawing/2014/main" id="{EA7BD8C3-4F76-43D3-B721-4ED1A7A6FB15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5656" y="4202169"/>
              <a:ext cx="2232" cy="1007"/>
            </a:xfrm>
            <a:custGeom>
              <a:avLst/>
              <a:gdLst/>
              <a:ahLst/>
              <a:cxnLst>
                <a:cxn ang="0">
                  <a:pos x="0" y="4"/>
                </a:cxn>
                <a:cxn ang="0">
                  <a:pos x="0" y="4"/>
                </a:cxn>
                <a:cxn ang="0">
                  <a:pos x="2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6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0" y="4"/>
                </a:cxn>
                <a:cxn ang="0">
                  <a:pos x="0" y="4"/>
                </a:cxn>
              </a:cxnLst>
              <a:rect l="0" t="0" r="r" b="b"/>
              <a:pathLst>
                <a:path w="6" h="4">
                  <a:moveTo>
                    <a:pt x="0" y="4"/>
                  </a:moveTo>
                  <a:lnTo>
                    <a:pt x="0" y="4"/>
                  </a:lnTo>
                  <a:lnTo>
                    <a:pt x="2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6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0" y="4"/>
                  </a:lnTo>
                  <a:lnTo>
                    <a:pt x="0" y="4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43" name="Freeform 6150">
              <a:extLst>
                <a:ext uri="{FF2B5EF4-FFF2-40B4-BE49-F238E27FC236}">
                  <a16:creationId xmlns:a16="http://schemas.microsoft.com/office/drawing/2014/main" id="{2D2F9FD6-6BEB-4EB6-B33E-141227A530F8}"/>
                </a:ext>
              </a:extLst>
            </p:cNvPr>
            <p:cNvSpPr>
              <a:spLocks/>
            </p:cNvSpPr>
            <p:nvPr/>
          </p:nvSpPr>
          <p:spPr bwMode="auto">
            <a:xfrm>
              <a:off x="3947487" y="4207726"/>
              <a:ext cx="2678" cy="1612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4" y="0"/>
                </a:cxn>
                <a:cxn ang="0">
                  <a:pos x="2" y="2"/>
                </a:cxn>
                <a:cxn ang="0">
                  <a:pos x="0" y="2"/>
                </a:cxn>
                <a:cxn ang="0">
                  <a:pos x="2" y="4"/>
                </a:cxn>
                <a:cxn ang="0">
                  <a:pos x="4" y="4"/>
                </a:cxn>
                <a:cxn ang="0">
                  <a:pos x="4" y="4"/>
                </a:cxn>
                <a:cxn ang="0">
                  <a:pos x="6" y="2"/>
                </a:cxn>
                <a:cxn ang="0">
                  <a:pos x="6" y="2"/>
                </a:cxn>
                <a:cxn ang="0">
                  <a:pos x="4" y="0"/>
                </a:cxn>
                <a:cxn ang="0">
                  <a:pos x="4" y="0"/>
                </a:cxn>
              </a:cxnLst>
              <a:rect l="0" t="0" r="r" b="b"/>
              <a:pathLst>
                <a:path w="6" h="4">
                  <a:moveTo>
                    <a:pt x="4" y="0"/>
                  </a:moveTo>
                  <a:lnTo>
                    <a:pt x="4" y="0"/>
                  </a:lnTo>
                  <a:lnTo>
                    <a:pt x="2" y="2"/>
                  </a:lnTo>
                  <a:lnTo>
                    <a:pt x="0" y="2"/>
                  </a:lnTo>
                  <a:lnTo>
                    <a:pt x="2" y="4"/>
                  </a:lnTo>
                  <a:lnTo>
                    <a:pt x="4" y="4"/>
                  </a:lnTo>
                  <a:lnTo>
                    <a:pt x="4" y="4"/>
                  </a:lnTo>
                  <a:lnTo>
                    <a:pt x="6" y="2"/>
                  </a:lnTo>
                  <a:lnTo>
                    <a:pt x="6" y="2"/>
                  </a:lnTo>
                  <a:lnTo>
                    <a:pt x="4" y="0"/>
                  </a:lnTo>
                  <a:lnTo>
                    <a:pt x="4" y="0"/>
                  </a:lnTo>
                  <a:close/>
                </a:path>
              </a:pathLst>
            </a:custGeom>
            <a:grpFill/>
            <a:ln w="6350">
              <a:noFill/>
              <a:round/>
              <a:headEnd/>
              <a:tailEnd/>
            </a:ln>
          </p:spPr>
          <p:txBody>
            <a:bodyPr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sp>
        <p:nvSpPr>
          <p:cNvPr id="96" name="Title 1">
            <a:extLst>
              <a:ext uri="{FF2B5EF4-FFF2-40B4-BE49-F238E27FC236}">
                <a16:creationId xmlns:a16="http://schemas.microsoft.com/office/drawing/2014/main" id="{E954B635-60C4-664E-BE64-117AEA1D1B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4925"/>
            <a:ext cx="12192000" cy="697850"/>
          </a:xfrm>
          <a:solidFill>
            <a:schemeClr val="tx2">
              <a:lumMod val="75000"/>
            </a:schemeClr>
          </a:solidFill>
          <a:ln>
            <a:solidFill>
              <a:schemeClr val="accent1">
                <a:lumMod val="40000"/>
                <a:lumOff val="60000"/>
              </a:schemeClr>
            </a:solidFill>
          </a:ln>
        </p:spPr>
        <p:txBody>
          <a:bodyPr>
            <a:normAutofit/>
          </a:bodyPr>
          <a:lstStyle/>
          <a:p>
            <a:pPr lvl="0" algn="ctr"/>
            <a:r>
              <a:rPr lang="en-GB" sz="3600" b="1" dirty="0">
                <a:solidFill>
                  <a:srgbClr val="0070C0"/>
                </a:solidFill>
              </a:rPr>
              <a:t>The Global </a:t>
            </a:r>
            <a:r>
              <a:rPr lang="en-GB" sz="3600" b="1">
                <a:solidFill>
                  <a:srgbClr val="0070C0"/>
                </a:solidFill>
              </a:rPr>
              <a:t>Economy</a:t>
            </a:r>
            <a:r>
              <a:rPr lang="en-GB" sz="3000" b="1">
                <a:solidFill>
                  <a:srgbClr val="0070C0"/>
                </a:solidFill>
              </a:rPr>
              <a:t> </a:t>
            </a:r>
            <a:endParaRPr lang="en-GB" sz="3000" b="1" dirty="0">
              <a:solidFill>
                <a:srgbClr val="0070C0"/>
              </a:solidFill>
            </a:endParaRPr>
          </a:p>
        </p:txBody>
      </p:sp>
      <p:sp>
        <p:nvSpPr>
          <p:cNvPr id="98" name="Rectangle 97">
            <a:extLst>
              <a:ext uri="{FF2B5EF4-FFF2-40B4-BE49-F238E27FC236}">
                <a16:creationId xmlns:a16="http://schemas.microsoft.com/office/drawing/2014/main" id="{4BAEAF70-446A-6D41-BC88-61C7D306B6AA}"/>
              </a:ext>
            </a:extLst>
          </p:cNvPr>
          <p:cNvSpPr/>
          <p:nvPr/>
        </p:nvSpPr>
        <p:spPr>
          <a:xfrm>
            <a:off x="5779303" y="988309"/>
            <a:ext cx="6258024" cy="5062924"/>
          </a:xfrm>
          <a:prstGeom prst="rect">
            <a:avLst/>
          </a:prstGeom>
          <a:noFill/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lvl="0" algn="just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700" dirty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5750" lvl="0" indent="-285750" algn="just" defTabSz="457200" eaLnBrk="1" fontAlgn="auto" hangingPunct="1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en-US" sz="17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The </a:t>
            </a:r>
            <a:r>
              <a:rPr lang="en-US" sz="1700" dirty="0">
                <a:latin typeface="Century Gothic" panose="020B0502020202020204" pitchFamily="34" charset="0"/>
                <a:cs typeface="Times New Roman" panose="02020603050405020304" pitchFamily="18" charset="0"/>
              </a:rPr>
              <a:t>global recovery is set to decelerate markedly </a:t>
            </a:r>
            <a:r>
              <a:rPr lang="en-US" sz="17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amid</a:t>
            </a:r>
            <a:r>
              <a:rPr kumimoji="0" lang="en-US" sz="1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cs typeface="Times New Roman" panose="02020603050405020304" pitchFamily="18" charset="0"/>
              </a:rPr>
              <a:t>:</a:t>
            </a:r>
            <a:endParaRPr kumimoji="0" lang="en-US" sz="17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742950" lvl="1" indent="-285750" algn="just"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700" dirty="0">
                <a:latin typeface="Century Gothic" panose="020B0502020202020204" pitchFamily="34" charset="0"/>
                <a:cs typeface="Times New Roman" panose="02020603050405020304" pitchFamily="18" charset="0"/>
              </a:rPr>
              <a:t>COVID-19 flare-ups </a:t>
            </a:r>
            <a:endParaRPr lang="en-US" sz="1700" dirty="0" smtClean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742950" lvl="1" indent="-285750" algn="just"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700" dirty="0">
                <a:latin typeface="Century Gothic" panose="020B0502020202020204" pitchFamily="34" charset="0"/>
                <a:cs typeface="Times New Roman" panose="02020603050405020304" pitchFamily="18" charset="0"/>
              </a:rPr>
              <a:t>lingering supply bottlenecks </a:t>
            </a:r>
            <a:endParaRPr lang="en-US" sz="1700" dirty="0" smtClean="0"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742950" lvl="1" indent="-285750" algn="just"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kumimoji="0" lang="en-US" sz="17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cs typeface="Times New Roman" panose="02020603050405020304" pitchFamily="18" charset="0"/>
              </a:rPr>
              <a:t>Falling </a:t>
            </a:r>
            <a:r>
              <a:rPr kumimoji="0" lang="en-US" sz="1700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Century Gothic" panose="020B0502020202020204" pitchFamily="34" charset="0"/>
                <a:cs typeface="Times New Roman" panose="02020603050405020304" pitchFamily="18" charset="0"/>
              </a:rPr>
              <a:t>global aggregate demand</a:t>
            </a:r>
          </a:p>
          <a:p>
            <a:pPr marL="742950" lvl="1" indent="-285750" algn="just" defTabSz="457200" eaLnBrk="1" fontAlgn="auto" hangingPunct="1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q"/>
              <a:defRPr/>
            </a:pPr>
            <a:r>
              <a:rPr lang="en-US" sz="1700" dirty="0">
                <a:latin typeface="Century Gothic" panose="020B0502020202020204" pitchFamily="34" charset="0"/>
                <a:cs typeface="Times New Roman" panose="02020603050405020304" pitchFamily="18" charset="0"/>
              </a:rPr>
              <a:t>The economic uncertainty created by </a:t>
            </a:r>
            <a:r>
              <a:rPr lang="en-US" sz="17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the Ukraine war</a:t>
            </a:r>
          </a:p>
          <a:p>
            <a:pPr lvl="1" algn="just" defTabSz="457200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1700" dirty="0" smtClean="0">
                <a:latin typeface="Century Gothic" panose="020B0502020202020204" pitchFamily="34" charset="0"/>
                <a:cs typeface="Times New Roman" panose="02020603050405020304" pitchFamily="18" charset="0"/>
              </a:rPr>
              <a:t> </a:t>
            </a:r>
            <a:endParaRPr kumimoji="0" lang="en-US" sz="1700" b="0" i="0" u="none" strike="noStrike" kern="1200" cap="none" spc="0" normalizeH="0" baseline="0" noProof="0" dirty="0" smtClean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Century Gothic" panose="020B0502020202020204" pitchFamily="34" charset="0"/>
              <a:cs typeface="Times New Roman" panose="02020603050405020304" pitchFamily="18" charset="0"/>
            </a:endParaRPr>
          </a:p>
          <a:p>
            <a:pPr marL="285750" indent="-285750" algn="just" defTabSz="457200">
              <a:buFont typeface="Arial" panose="020B0604020202020204" pitchFamily="34" charset="0"/>
              <a:buChar char="•"/>
            </a:pPr>
            <a:r>
              <a:rPr lang="en-US" sz="1700" dirty="0" smtClean="0">
                <a:latin typeface="Century Gothic" panose="020B0502020202020204" pitchFamily="34" charset="0"/>
              </a:rPr>
              <a:t>UNCTAD alerts global economic growth will decrease to 2.6% from 3.6% for 2022</a:t>
            </a:r>
          </a:p>
          <a:p>
            <a:pPr algn="just" defTabSz="457200"/>
            <a:endParaRPr lang="en-US" sz="1700" dirty="0" smtClean="0">
              <a:latin typeface="Century Gothic" panose="020B0502020202020204" pitchFamily="34" charset="0"/>
            </a:endParaRPr>
          </a:p>
          <a:p>
            <a:pPr marL="285750" indent="-285750" algn="just" defTabSz="457200">
              <a:buFont typeface="Arial" panose="020B0604020202020204" pitchFamily="34" charset="0"/>
              <a:buChar char="•"/>
            </a:pPr>
            <a:r>
              <a:rPr lang="en-US" sz="1700" dirty="0" smtClean="0">
                <a:latin typeface="Century Gothic" panose="020B0502020202020204" pitchFamily="34" charset="0"/>
              </a:rPr>
              <a:t>Global factory activity slows as Ukraine crisis, inflation bite</a:t>
            </a:r>
          </a:p>
          <a:p>
            <a:pPr marL="285750" indent="-285750" algn="just" defTabSz="457200">
              <a:buFont typeface="Arial" panose="020B0604020202020204" pitchFamily="34" charset="0"/>
              <a:buChar char="•"/>
            </a:pPr>
            <a:endParaRPr lang="en-US" sz="1700" dirty="0" smtClean="0">
              <a:latin typeface="Century Gothic" panose="020B0502020202020204" pitchFamily="34" charset="0"/>
            </a:endParaRPr>
          </a:p>
          <a:p>
            <a:pPr marL="285750" indent="-285750" algn="just" defTabSz="457200">
              <a:buFont typeface="Arial" panose="020B0604020202020204" pitchFamily="34" charset="0"/>
              <a:buChar char="•"/>
            </a:pPr>
            <a:r>
              <a:rPr lang="en-US" sz="1700" dirty="0" smtClean="0">
                <a:latin typeface="Century Gothic" panose="020B0502020202020204" pitchFamily="34" charset="0"/>
              </a:rPr>
              <a:t>Three main factors are likely to take inflation higher:</a:t>
            </a:r>
          </a:p>
          <a:p>
            <a:pPr marL="1200150" lvl="2" indent="-285750" algn="just" defTabSz="457200">
              <a:buFont typeface="Wingdings" panose="05000000000000000000" pitchFamily="2" charset="2"/>
              <a:buChar char="q"/>
            </a:pPr>
            <a:r>
              <a:rPr lang="en-US" sz="1700" dirty="0">
                <a:latin typeface="Century Gothic" panose="020B0502020202020204" pitchFamily="34" charset="0"/>
              </a:rPr>
              <a:t>energy </a:t>
            </a:r>
            <a:r>
              <a:rPr lang="en-US" sz="1700" dirty="0" smtClean="0">
                <a:latin typeface="Century Gothic" panose="020B0502020202020204" pitchFamily="34" charset="0"/>
              </a:rPr>
              <a:t>prices</a:t>
            </a:r>
          </a:p>
          <a:p>
            <a:pPr marL="1200150" lvl="2" indent="-285750" algn="just" defTabSz="457200">
              <a:buFont typeface="Wingdings" panose="05000000000000000000" pitchFamily="2" charset="2"/>
              <a:buChar char="q"/>
            </a:pPr>
            <a:r>
              <a:rPr lang="en-US" sz="1700" dirty="0">
                <a:latin typeface="Century Gothic" panose="020B0502020202020204" pitchFamily="34" charset="0"/>
              </a:rPr>
              <a:t>food inflation </a:t>
            </a:r>
            <a:endParaRPr lang="en-US" sz="1700" dirty="0" smtClean="0">
              <a:latin typeface="Century Gothic" panose="020B0502020202020204" pitchFamily="34" charset="0"/>
            </a:endParaRPr>
          </a:p>
          <a:p>
            <a:pPr marL="1200150" lvl="2" indent="-285750" algn="just" defTabSz="457200">
              <a:buFont typeface="Wingdings" panose="05000000000000000000" pitchFamily="2" charset="2"/>
              <a:buChar char="q"/>
            </a:pPr>
            <a:r>
              <a:rPr lang="en-US" sz="1700" dirty="0">
                <a:latin typeface="Century Gothic" panose="020B0502020202020204" pitchFamily="34" charset="0"/>
              </a:rPr>
              <a:t>global manufacturing </a:t>
            </a:r>
            <a:r>
              <a:rPr lang="en-US" sz="1700" dirty="0" smtClean="0">
                <a:latin typeface="Century Gothic" panose="020B0502020202020204" pitchFamily="34" charset="0"/>
              </a:rPr>
              <a:t>bottleneck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573D5B-AF09-AD48-A8ED-C303FE6A5039}"/>
              </a:ext>
            </a:extLst>
          </p:cNvPr>
          <p:cNvSpPr txBox="1"/>
          <p:nvPr/>
        </p:nvSpPr>
        <p:spPr>
          <a:xfrm>
            <a:off x="7695028" y="1434905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8914" name="Picture 2" descr="News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681" y="2122536"/>
            <a:ext cx="4572428" cy="189645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918" name="Picture 6" descr="Employees wearing face masks work at a factory of the component maker SMC during a government organised tour of its facility following the outbreak of the coronavirus disease (COVID-19), in Beijin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flipH="1">
            <a:off x="95681" y="4429173"/>
            <a:ext cx="4572428" cy="19591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53045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3" name="TextBox 62">
            <a:extLst>
              <a:ext uri="{FF2B5EF4-FFF2-40B4-BE49-F238E27FC236}">
                <a16:creationId xmlns:a16="http://schemas.microsoft.com/office/drawing/2014/main" id="{E4B774E8-A16B-8740-B5C8-426A353B4C12}"/>
              </a:ext>
            </a:extLst>
          </p:cNvPr>
          <p:cNvSpPr txBox="1"/>
          <p:nvPr/>
        </p:nvSpPr>
        <p:spPr>
          <a:xfrm>
            <a:off x="8686801" y="3284537"/>
            <a:ext cx="3378200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schemeClr val="accent1">
                    <a:lumMod val="20000"/>
                    <a:lumOff val="80000"/>
                  </a:schemeClr>
                </a:solidFill>
                <a:latin typeface="Britannic Bold"/>
                <a:cs typeface="Britannic Bold"/>
              </a:rPr>
              <a:t>INSECURITY</a:t>
            </a:r>
          </a:p>
        </p:txBody>
      </p:sp>
      <p:pic>
        <p:nvPicPr>
          <p:cNvPr id="11280" name="Picture 16" descr="Forbidden Vector Icon Signal, No Clipart, Signal Icons, Forbidden Icon PNG  and Vector with Transparent Background for Free Download | Telefone icone,  Glifo, Fotos de cantores"/>
          <p:cNvPicPr>
            <a:picLocks noChangeAspect="1" noChangeArrowheads="1"/>
          </p:cNvPicPr>
          <p:nvPr/>
        </p:nvPicPr>
        <p:blipFill>
          <a:blip r:embed="rId3" cstate="print">
            <a:duotone>
              <a:schemeClr val="accent4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508423" y="3261965"/>
            <a:ext cx="610583" cy="61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6456363"/>
            <a:ext cx="12192000" cy="207962"/>
          </a:xfrm>
          <a:prstGeom prst="rect">
            <a:avLst/>
          </a:prstGeom>
          <a:solidFill>
            <a:srgbClr val="4197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8438" name="AutoShape 4" descr="blob:https://web.whatsapp.com/ab356c82-1460-49d7-8c6b-29b17a06b41e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FA3416-26F0-41EE-A3CD-9EC31267776C}"/>
              </a:ext>
            </a:extLst>
          </p:cNvPr>
          <p:cNvGrpSpPr/>
          <p:nvPr/>
        </p:nvGrpSpPr>
        <p:grpSpPr>
          <a:xfrm>
            <a:off x="170258" y="-66770"/>
            <a:ext cx="12021742" cy="759016"/>
            <a:chOff x="170258" y="-54185"/>
            <a:chExt cx="12021742" cy="759016"/>
          </a:xfrm>
          <a:solidFill>
            <a:srgbClr val="4197E6"/>
          </a:solidFill>
        </p:grpSpPr>
        <p:sp>
          <p:nvSpPr>
            <p:cNvPr id="8" name="Freeform 18">
              <a:extLst>
                <a:ext uri="{FF2B5EF4-FFF2-40B4-BE49-F238E27FC236}">
                  <a16:creationId xmlns:a16="http://schemas.microsoft.com/office/drawing/2014/main" id="{438A2AE4-EC51-48B4-91AF-F50BD2F61370}"/>
                </a:ext>
              </a:extLst>
            </p:cNvPr>
            <p:cNvSpPr/>
            <p:nvPr/>
          </p:nvSpPr>
          <p:spPr>
            <a:xfrm>
              <a:off x="348934" y="-1331"/>
              <a:ext cx="11843066" cy="536421"/>
            </a:xfrm>
            <a:custGeom>
              <a:avLst/>
              <a:gdLst>
                <a:gd name="connsiteX0" fmla="*/ 201392 w 11843066"/>
                <a:gd name="connsiteY0" fmla="*/ 0 h 536421"/>
                <a:gd name="connsiteX1" fmla="*/ 205399 w 11843066"/>
                <a:gd name="connsiteY1" fmla="*/ 3024 h 536421"/>
                <a:gd name="connsiteX2" fmla="*/ 206155 w 11843066"/>
                <a:gd name="connsiteY2" fmla="*/ 0 h 536421"/>
                <a:gd name="connsiteX3" fmla="*/ 11843066 w 11843066"/>
                <a:gd name="connsiteY3" fmla="*/ 0 h 536421"/>
                <a:gd name="connsiteX4" fmla="*/ 11843066 w 11843066"/>
                <a:gd name="connsiteY4" fmla="*/ 116114 h 536421"/>
                <a:gd name="connsiteX5" fmla="*/ 278246 w 11843066"/>
                <a:gd name="connsiteY5" fmla="*/ 116114 h 536421"/>
                <a:gd name="connsiteX6" fmla="*/ 99837 w 11843066"/>
                <a:gd name="connsiteY6" fmla="*/ 536421 h 536421"/>
                <a:gd name="connsiteX7" fmla="*/ 0 w 11843066"/>
                <a:gd name="connsiteY7" fmla="*/ 474451 h 53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3066" h="536421">
                  <a:moveTo>
                    <a:pt x="201392" y="0"/>
                  </a:moveTo>
                  <a:lnTo>
                    <a:pt x="205399" y="3024"/>
                  </a:lnTo>
                  <a:lnTo>
                    <a:pt x="206155" y="0"/>
                  </a:lnTo>
                  <a:lnTo>
                    <a:pt x="11843066" y="0"/>
                  </a:lnTo>
                  <a:lnTo>
                    <a:pt x="11843066" y="116114"/>
                  </a:lnTo>
                  <a:lnTo>
                    <a:pt x="278246" y="116114"/>
                  </a:lnTo>
                  <a:lnTo>
                    <a:pt x="99837" y="536421"/>
                  </a:lnTo>
                  <a:lnTo>
                    <a:pt x="0" y="47445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675E6922-883A-4531-A7B3-48549D4EB8A9}"/>
                </a:ext>
              </a:extLst>
            </p:cNvPr>
            <p:cNvSpPr/>
            <p:nvPr/>
          </p:nvSpPr>
          <p:spPr>
            <a:xfrm rot="6780000">
              <a:off x="-62883" y="267266"/>
              <a:ext cx="759016" cy="116114"/>
            </a:xfrm>
            <a:custGeom>
              <a:avLst/>
              <a:gdLst>
                <a:gd name="connsiteX0" fmla="*/ 49287 w 759016"/>
                <a:gd name="connsiteY0" fmla="*/ 116114 h 116114"/>
                <a:gd name="connsiteX1" fmla="*/ 0 w 759016"/>
                <a:gd name="connsiteY1" fmla="*/ 0 h 116114"/>
                <a:gd name="connsiteX2" fmla="*/ 753389 w 759016"/>
                <a:gd name="connsiteY2" fmla="*/ 0 h 116114"/>
                <a:gd name="connsiteX3" fmla="*/ 759016 w 759016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16" h="116114">
                  <a:moveTo>
                    <a:pt x="49287" y="116114"/>
                  </a:moveTo>
                  <a:lnTo>
                    <a:pt x="0" y="0"/>
                  </a:lnTo>
                  <a:lnTo>
                    <a:pt x="753389" y="0"/>
                  </a:lnTo>
                  <a:lnTo>
                    <a:pt x="759016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B9A5DFCF-02E2-4FA4-AF10-A6957CD1308B}"/>
                </a:ext>
              </a:extLst>
            </p:cNvPr>
            <p:cNvSpPr/>
            <p:nvPr/>
          </p:nvSpPr>
          <p:spPr>
            <a:xfrm rot="6780000">
              <a:off x="20614" y="109116"/>
              <a:ext cx="415402" cy="116114"/>
            </a:xfrm>
            <a:custGeom>
              <a:avLst/>
              <a:gdLst>
                <a:gd name="connsiteX0" fmla="*/ 49287 w 415402"/>
                <a:gd name="connsiteY0" fmla="*/ 116114 h 116114"/>
                <a:gd name="connsiteX1" fmla="*/ 0 w 415402"/>
                <a:gd name="connsiteY1" fmla="*/ 0 h 116114"/>
                <a:gd name="connsiteX2" fmla="*/ 415402 w 415402"/>
                <a:gd name="connsiteY2" fmla="*/ 0 h 116114"/>
                <a:gd name="connsiteX3" fmla="*/ 397368 w 415402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402" h="116114">
                  <a:moveTo>
                    <a:pt x="49287" y="116114"/>
                  </a:moveTo>
                  <a:lnTo>
                    <a:pt x="0" y="0"/>
                  </a:lnTo>
                  <a:lnTo>
                    <a:pt x="415402" y="0"/>
                  </a:lnTo>
                  <a:lnTo>
                    <a:pt x="397368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0" y="6545263"/>
            <a:ext cx="12192000" cy="3127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8441" name="Picture 1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04" b="-4883"/>
          <a:stretch>
            <a:fillRect/>
          </a:stretch>
        </p:blipFill>
        <p:spPr bwMode="auto">
          <a:xfrm>
            <a:off x="11147425" y="195263"/>
            <a:ext cx="69215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2" name="Title 2"/>
          <p:cNvSpPr>
            <a:spLocks noGrp="1"/>
          </p:cNvSpPr>
          <p:nvPr>
            <p:ph type="title"/>
          </p:nvPr>
        </p:nvSpPr>
        <p:spPr>
          <a:xfrm>
            <a:off x="1038225" y="112713"/>
            <a:ext cx="5991225" cy="996950"/>
          </a:xfrm>
        </p:spPr>
        <p:txBody>
          <a:bodyPr/>
          <a:lstStyle/>
          <a:p>
            <a:pPr algn="ctr"/>
            <a:r>
              <a:rPr lang="en-US" altLang="en-US" sz="2400" b="1" smtClean="0">
                <a:solidFill>
                  <a:schemeClr val="tx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Domestic Economy</a:t>
            </a:r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C5A3826C-1458-4DF8-96A2-05D6E1FFE1CB}"/>
              </a:ext>
            </a:extLst>
          </p:cNvPr>
          <p:cNvSpPr/>
          <p:nvPr/>
        </p:nvSpPr>
        <p:spPr>
          <a:xfrm flipH="1">
            <a:off x="538163" y="3924300"/>
            <a:ext cx="1914525" cy="1914525"/>
          </a:xfrm>
          <a:prstGeom prst="arc">
            <a:avLst>
              <a:gd name="adj1" fmla="val 16200000"/>
              <a:gd name="adj2" fmla="val 520266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Oval 2068">
            <a:extLst>
              <a:ext uri="{FF2B5EF4-FFF2-40B4-BE49-F238E27FC236}">
                <a16:creationId xmlns:a16="http://schemas.microsoft.com/office/drawing/2014/main" id="{A5C51EC4-EB33-432A-8BA3-48C49EFE2A33}"/>
              </a:ext>
            </a:extLst>
          </p:cNvPr>
          <p:cNvSpPr/>
          <p:nvPr/>
        </p:nvSpPr>
        <p:spPr bwMode="auto">
          <a:xfrm flipV="1">
            <a:off x="1782763" y="1708150"/>
            <a:ext cx="681037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id-ID" kern="0">
              <a:latin typeface="Segoe UI Light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1028700" y="817563"/>
            <a:ext cx="101838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Footer Placeholder 1">
            <a:extLst>
              <a:ext uri="{FF2B5EF4-FFF2-40B4-BE49-F238E27FC236}">
                <a16:creationId xmlns:a16="http://schemas.microsoft.com/office/drawing/2014/main" id="{4B944B97-2A38-461D-846A-623513EDA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4588" y="6484938"/>
            <a:ext cx="4822825" cy="365125"/>
          </a:xfrm>
        </p:spPr>
        <p:txBody>
          <a:bodyPr/>
          <a:lstStyle/>
          <a:p>
            <a:pPr defTabSz="457200">
              <a:defRPr/>
            </a:pPr>
            <a:r>
              <a:rPr lang="en-GB" sz="900" cap="all" dirty="0">
                <a:solidFill>
                  <a:srgbClr val="FFFFFF"/>
                </a:solidFill>
              </a:rPr>
              <a:t>SECURITIES AND EXCHANGE COMMISSION, NIGERIA</a:t>
            </a:r>
            <a:endParaRPr lang="en-US" sz="900" cap="all" dirty="0">
              <a:solidFill>
                <a:srgbClr val="FFFFFF"/>
              </a:solidFill>
            </a:endParaRPr>
          </a:p>
        </p:txBody>
      </p:sp>
      <p:sp>
        <p:nvSpPr>
          <p:cNvPr id="18451" name="TextBox 83"/>
          <p:cNvSpPr txBox="1">
            <a:spLocks noChangeArrowheads="1"/>
          </p:cNvSpPr>
          <p:nvPr/>
        </p:nvSpPr>
        <p:spPr bwMode="auto">
          <a:xfrm>
            <a:off x="363538" y="6218238"/>
            <a:ext cx="1514475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/>
              <a:t>Data Source: NBS, IMF</a:t>
            </a:r>
          </a:p>
        </p:txBody>
      </p:sp>
      <p:sp>
        <p:nvSpPr>
          <p:cNvPr id="18453" name="TextBox 85"/>
          <p:cNvSpPr txBox="1">
            <a:spLocks noChangeArrowheads="1"/>
          </p:cNvSpPr>
          <p:nvPr/>
        </p:nvSpPr>
        <p:spPr bwMode="auto">
          <a:xfrm>
            <a:off x="6992938" y="6232525"/>
            <a:ext cx="151447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/>
              <a:t>Source: CBN</a:t>
            </a:r>
          </a:p>
        </p:txBody>
      </p:sp>
      <p:pic>
        <p:nvPicPr>
          <p:cNvPr id="10242" name="Picture 2" descr="Nigeria Map and Satellite Image"/>
          <p:cNvPicPr>
            <a:picLocks noChangeAspect="1" noChangeArrowheads="1"/>
          </p:cNvPicPr>
          <p:nvPr/>
        </p:nvPicPr>
        <p:blipFill>
          <a:blip r:embed="rId5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814" y="1055420"/>
            <a:ext cx="3818943" cy="203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59" name="Picture 6" descr="RVG Advisory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6863" y="3868738"/>
            <a:ext cx="990600" cy="992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60" name="TextBox 43"/>
          <p:cNvSpPr txBox="1">
            <a:spLocks noChangeArrowheads="1"/>
          </p:cNvSpPr>
          <p:nvPr/>
        </p:nvSpPr>
        <p:spPr bwMode="auto">
          <a:xfrm>
            <a:off x="10309225" y="4098925"/>
            <a:ext cx="13858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 smtClean="0">
                <a:solidFill>
                  <a:srgbClr val="4BACC6"/>
                </a:solidFill>
                <a:latin typeface="Britannic Bold" pitchFamily="34" charset="0"/>
                <a:ea typeface="MS PGothic" panose="020B0600070205080204" pitchFamily="34" charset="-128"/>
              </a:rPr>
              <a:t>15.7%</a:t>
            </a:r>
            <a:endParaRPr lang="en-US" altLang="en-US" sz="2400">
              <a:solidFill>
                <a:srgbClr val="4BACC6"/>
              </a:solidFill>
              <a:latin typeface="Britannic Bold" pitchFamily="34" charset="0"/>
              <a:ea typeface="MS PGothic" panose="020B0600070205080204" pitchFamily="34" charset="-128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4B774E8-A16B-8740-B5C8-426A353B4C12}"/>
              </a:ext>
            </a:extLst>
          </p:cNvPr>
          <p:cNvSpPr txBox="1"/>
          <p:nvPr/>
        </p:nvSpPr>
        <p:spPr>
          <a:xfrm>
            <a:off x="8883801" y="716797"/>
            <a:ext cx="1395413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3200" dirty="0">
                <a:solidFill>
                  <a:schemeClr val="accent5">
                    <a:lumMod val="50000"/>
                  </a:schemeClr>
                </a:solidFill>
                <a:latin typeface="Britannic Bold"/>
                <a:cs typeface="Britannic Bold"/>
              </a:rPr>
              <a:t>MPR</a:t>
            </a:r>
          </a:p>
        </p:txBody>
      </p:sp>
      <p:sp>
        <p:nvSpPr>
          <p:cNvPr id="48" name="TextBox 112"/>
          <p:cNvSpPr txBox="1">
            <a:spLocks noChangeArrowheads="1"/>
          </p:cNvSpPr>
          <p:nvPr/>
        </p:nvSpPr>
        <p:spPr bwMode="auto">
          <a:xfrm>
            <a:off x="8956675" y="1001452"/>
            <a:ext cx="1450975" cy="5857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Font typeface="Arial" panose="020B0604020202020204" pitchFamily="34" charset="0"/>
              <a:buChar char="•"/>
              <a:defRPr sz="32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1pPr>
            <a:lvl2pPr marL="742950" indent="-285750">
              <a:spcBef>
                <a:spcPct val="20000"/>
              </a:spcBef>
              <a:buFont typeface="Arial" panose="020B0604020202020204" pitchFamily="34" charset="0"/>
              <a:buChar char="–"/>
              <a:defRPr sz="28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2pPr>
            <a:lvl3pPr marL="1143000" indent="-228600">
              <a:spcBef>
                <a:spcPct val="200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3pPr>
            <a:lvl4pPr marL="1600200" indent="-228600">
              <a:spcBef>
                <a:spcPct val="20000"/>
              </a:spcBef>
              <a:buFont typeface="Arial" panose="020B0604020202020204" pitchFamily="34" charset="0"/>
              <a:buChar char="–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4pPr>
            <a:lvl5pPr marL="2057400" indent="-228600">
              <a:spcBef>
                <a:spcPct val="20000"/>
              </a:spcBef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20000"/>
              </a:spcBef>
              <a:spcAft>
                <a:spcPct val="0"/>
              </a:spcAft>
              <a:buFont typeface="Arial" panose="020B0604020202020204" pitchFamily="34" charset="0"/>
              <a:buChar char="»"/>
              <a:defRPr sz="2000">
                <a:solidFill>
                  <a:schemeClr val="tx1"/>
                </a:solidFill>
                <a:latin typeface="Calibri" panose="020F0502020204030204" pitchFamily="34" charset="0"/>
                <a:ea typeface="MS PGothic" panose="020B0600070205080204" pitchFamily="34" charset="-128"/>
              </a:defRPr>
            </a:lvl9pPr>
          </a:lstStyle>
          <a:p>
            <a:pPr eaLnBrk="1" fontAlgn="auto" hangingPunct="1">
              <a:spcBef>
                <a:spcPct val="0"/>
              </a:spcBef>
              <a:spcAft>
                <a:spcPts val="0"/>
              </a:spcAft>
              <a:buFontTx/>
              <a:buNone/>
              <a:defRPr/>
            </a:pPr>
            <a:r>
              <a:rPr lang="en-US" altLang="en-US" dirty="0">
                <a:solidFill>
                  <a:srgbClr val="4472C4"/>
                </a:solidFill>
                <a:latin typeface="Britannic Bold"/>
                <a:ea typeface="+mn-ea"/>
                <a:cs typeface="Britannic Bold"/>
              </a:rPr>
              <a:t>11.5%</a:t>
            </a:r>
          </a:p>
        </p:txBody>
      </p:sp>
      <p:sp>
        <p:nvSpPr>
          <p:cNvPr id="18463" name="TextBox 49"/>
          <p:cNvSpPr txBox="1">
            <a:spLocks noChangeArrowheads="1"/>
          </p:cNvSpPr>
          <p:nvPr/>
        </p:nvSpPr>
        <p:spPr bwMode="auto">
          <a:xfrm>
            <a:off x="8896418" y="1470661"/>
            <a:ext cx="151447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 dirty="0"/>
              <a:t>As at </a:t>
            </a:r>
            <a:r>
              <a:rPr lang="en-GB" altLang="en-US" sz="1100" dirty="0" smtClean="0"/>
              <a:t>April 1,, </a:t>
            </a:r>
            <a:r>
              <a:rPr lang="en-GB" altLang="en-US" sz="1100" dirty="0"/>
              <a:t>2021</a:t>
            </a:r>
          </a:p>
        </p:txBody>
      </p:sp>
      <p:sp>
        <p:nvSpPr>
          <p:cNvPr id="18464" name="TextBox 50"/>
          <p:cNvSpPr txBox="1">
            <a:spLocks noChangeArrowheads="1"/>
          </p:cNvSpPr>
          <p:nvPr/>
        </p:nvSpPr>
        <p:spPr bwMode="auto">
          <a:xfrm>
            <a:off x="10196513" y="4560888"/>
            <a:ext cx="1514475" cy="260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GB" altLang="en-US" sz="1100" smtClean="0"/>
              <a:t>Feb’2022</a:t>
            </a:r>
            <a:endParaRPr lang="en-GB" altLang="en-US" sz="1100"/>
          </a:p>
        </p:txBody>
      </p:sp>
      <p:pic>
        <p:nvPicPr>
          <p:cNvPr id="11272" name="Picture 8" descr="NIGERIA'S TOTAL PUBLIC DEBT RISES TO N27.4TN –DMO – Courteville Business  Solutions Plc"/>
          <p:cNvPicPr>
            <a:picLocks noChangeAspect="1" noChangeArrowheads="1"/>
          </p:cNvPicPr>
          <p:nvPr/>
        </p:nvPicPr>
        <p:blipFill>
          <a:blip r:embed="rId7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6960" y="5115281"/>
            <a:ext cx="1326328" cy="13253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68" name="TextBox 57"/>
          <p:cNvSpPr txBox="1">
            <a:spLocks noChangeArrowheads="1"/>
          </p:cNvSpPr>
          <p:nvPr/>
        </p:nvSpPr>
        <p:spPr bwMode="auto">
          <a:xfrm>
            <a:off x="9793287" y="5919788"/>
            <a:ext cx="151447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 dirty="0"/>
              <a:t>As at </a:t>
            </a:r>
            <a:r>
              <a:rPr lang="en-GB" altLang="en-US" sz="1100" dirty="0" smtClean="0"/>
              <a:t> Q4 2021</a:t>
            </a:r>
            <a:endParaRPr lang="en-GB" altLang="en-US" sz="1100" dirty="0"/>
          </a:p>
        </p:txBody>
      </p:sp>
      <p:sp>
        <p:nvSpPr>
          <p:cNvPr id="18469" name="TextBox 43"/>
          <p:cNvSpPr txBox="1">
            <a:spLocks noChangeArrowheads="1"/>
          </p:cNvSpPr>
          <p:nvPr/>
        </p:nvSpPr>
        <p:spPr bwMode="auto">
          <a:xfrm>
            <a:off x="9691688" y="5606098"/>
            <a:ext cx="1717675" cy="46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 dirty="0" smtClean="0">
                <a:solidFill>
                  <a:srgbClr val="4BACC6"/>
                </a:solidFill>
                <a:latin typeface="Britannic Bold" pitchFamily="34" charset="0"/>
                <a:ea typeface="MS PGothic" panose="020B0600070205080204" pitchFamily="34" charset="-128"/>
              </a:rPr>
              <a:t>N39Trillion</a:t>
            </a:r>
            <a:endParaRPr lang="en-US" altLang="en-US" sz="2400" dirty="0">
              <a:solidFill>
                <a:srgbClr val="4BACC6"/>
              </a:solidFill>
              <a:latin typeface="Britannic Bold" pitchFamily="34" charset="0"/>
              <a:ea typeface="MS PGothic" panose="020B0600070205080204" pitchFamily="34" charset="-128"/>
            </a:endParaRPr>
          </a:p>
        </p:txBody>
      </p:sp>
      <p:pic>
        <p:nvPicPr>
          <p:cNvPr id="18470" name="Picture 10" descr="Home | Zurich Insurance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" y="2077512"/>
            <a:ext cx="1262744" cy="1085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71" name="AutoShape 12" descr="Stop insecurity find truth increase safety no shame or fear overcome shy  ashamed feeling final result. | Can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18472" name="AutoShape 14" descr="Stop insecurity find truth increase safety no shame or fear overcome shy  ashamed feeling final result. | CanStock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E4B774E8-A16B-8740-B5C8-426A353B4C12}"/>
              </a:ext>
            </a:extLst>
          </p:cNvPr>
          <p:cNvSpPr txBox="1"/>
          <p:nvPr/>
        </p:nvSpPr>
        <p:spPr>
          <a:xfrm>
            <a:off x="2853373" y="3171032"/>
            <a:ext cx="3203575" cy="738187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dirty="0">
                <a:solidFill>
                  <a:schemeClr val="accent1">
                    <a:lumMod val="20000"/>
                    <a:lumOff val="80000"/>
                  </a:schemeClr>
                </a:solidFill>
                <a:latin typeface="Britannic Bold"/>
                <a:cs typeface="Britannic Bold"/>
              </a:rPr>
              <a:t>UNEMPLOYMENT </a:t>
            </a:r>
            <a:r>
              <a:rPr lang="en-US" dirty="0">
                <a:solidFill>
                  <a:schemeClr val="accent1">
                    <a:lumMod val="20000"/>
                    <a:lumOff val="80000"/>
                  </a:schemeClr>
                </a:solidFill>
                <a:latin typeface="Britannic Bold"/>
                <a:cs typeface="Britannic Bold"/>
              </a:rPr>
              <a:t>(Q4’2020)</a:t>
            </a:r>
            <a:endParaRPr lang="en-US" sz="3200" dirty="0">
              <a:solidFill>
                <a:schemeClr val="accent1">
                  <a:lumMod val="20000"/>
                  <a:lumOff val="80000"/>
                </a:schemeClr>
              </a:solidFill>
              <a:latin typeface="Britannic Bold"/>
              <a:cs typeface="Britannic Bold"/>
            </a:endParaRPr>
          </a:p>
        </p:txBody>
      </p:sp>
      <p:sp>
        <p:nvSpPr>
          <p:cNvPr id="18474" name="TextBox 43"/>
          <p:cNvSpPr txBox="1">
            <a:spLocks noChangeArrowheads="1"/>
          </p:cNvSpPr>
          <p:nvPr/>
        </p:nvSpPr>
        <p:spPr bwMode="auto">
          <a:xfrm>
            <a:off x="3949700" y="2905125"/>
            <a:ext cx="1385888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 dirty="0">
                <a:solidFill>
                  <a:srgbClr val="4BACC6"/>
                </a:solidFill>
                <a:latin typeface="Britannic Bold" pitchFamily="34" charset="0"/>
                <a:ea typeface="MS PGothic" panose="020B0600070205080204" pitchFamily="34" charset="-128"/>
              </a:rPr>
              <a:t>33.3%</a:t>
            </a:r>
          </a:p>
        </p:txBody>
      </p:sp>
      <p:graphicFrame>
        <p:nvGraphicFramePr>
          <p:cNvPr id="50" name="Chart 4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52962092"/>
              </p:ext>
            </p:extLst>
          </p:nvPr>
        </p:nvGraphicFramePr>
        <p:xfrm>
          <a:off x="245548" y="3737243"/>
          <a:ext cx="3513652" cy="24365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graphicFrame>
        <p:nvGraphicFramePr>
          <p:cNvPr id="51" name="Chart 5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8682852"/>
              </p:ext>
            </p:extLst>
          </p:nvPr>
        </p:nvGraphicFramePr>
        <p:xfrm>
          <a:off x="4233974" y="4154488"/>
          <a:ext cx="4201224" cy="208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0"/>
          </a:graphicData>
        </a:graphic>
      </p:graphicFrame>
      <p:graphicFrame>
        <p:nvGraphicFramePr>
          <p:cNvPr id="53" name="Chart 5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3180488"/>
              </p:ext>
            </p:extLst>
          </p:nvPr>
        </p:nvGraphicFramePr>
        <p:xfrm>
          <a:off x="4872024" y="975286"/>
          <a:ext cx="3781741" cy="18891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1"/>
          </a:graphicData>
        </a:graphic>
      </p:graphicFrame>
      <p:sp>
        <p:nvSpPr>
          <p:cNvPr id="3" name="Rectangle 2"/>
          <p:cNvSpPr/>
          <p:nvPr/>
        </p:nvSpPr>
        <p:spPr>
          <a:xfrm>
            <a:off x="7667319" y="3250565"/>
            <a:ext cx="710451" cy="55399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eaLnBrk="1" hangingPunct="1"/>
            <a:r>
              <a:rPr lang="en-US" altLang="en-US" dirty="0" smtClean="0">
                <a:solidFill>
                  <a:srgbClr val="4BACC6"/>
                </a:solidFill>
                <a:latin typeface="Britannic Bold" pitchFamily="34" charset="0"/>
                <a:ea typeface="MS PGothic" panose="020B0600070205080204" pitchFamily="34" charset="-128"/>
              </a:rPr>
              <a:t>3.4%</a:t>
            </a:r>
          </a:p>
          <a:p>
            <a:pPr eaLnBrk="1" hangingPunct="1"/>
            <a:r>
              <a:rPr lang="en-US" altLang="en-US" sz="1200" dirty="0" smtClean="0">
                <a:solidFill>
                  <a:schemeClr val="tx2"/>
                </a:solidFill>
                <a:latin typeface="Britannic Bold" pitchFamily="34" charset="0"/>
                <a:ea typeface="MS PGothic" panose="020B0600070205080204" pitchFamily="34" charset="-128"/>
              </a:rPr>
              <a:t>2021</a:t>
            </a:r>
            <a:endParaRPr lang="en-US" altLang="en-US" sz="1200" dirty="0">
              <a:solidFill>
                <a:schemeClr val="tx2"/>
              </a:solidFill>
              <a:latin typeface="Britannic Bold" pitchFamily="34" charset="0"/>
              <a:ea typeface="MS PGothic" panose="020B0600070205080204" pitchFamily="34" charset="-128"/>
            </a:endParaRPr>
          </a:p>
        </p:txBody>
      </p:sp>
      <p:pic>
        <p:nvPicPr>
          <p:cNvPr id="27656" name="Picture 8" descr="Gdp growth Images, Stock Photos &amp; Vectors | Shutterstock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36229" y="3250565"/>
            <a:ext cx="785676" cy="4623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626771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0" y="6456363"/>
            <a:ext cx="12192000" cy="207962"/>
          </a:xfrm>
          <a:prstGeom prst="rect">
            <a:avLst/>
          </a:prstGeom>
          <a:solidFill>
            <a:srgbClr val="4197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sp>
        <p:nvSpPr>
          <p:cNvPr id="18438" name="AutoShape 4" descr="blob:https://web.whatsapp.com/ab356c82-1460-49d7-8c6b-29b17a06b41e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CFA3416-26F0-41EE-A3CD-9EC31267776C}"/>
              </a:ext>
            </a:extLst>
          </p:cNvPr>
          <p:cNvGrpSpPr/>
          <p:nvPr/>
        </p:nvGrpSpPr>
        <p:grpSpPr>
          <a:xfrm>
            <a:off x="170258" y="-66770"/>
            <a:ext cx="12021742" cy="759016"/>
            <a:chOff x="170258" y="-54185"/>
            <a:chExt cx="12021742" cy="759016"/>
          </a:xfrm>
          <a:solidFill>
            <a:srgbClr val="4197E6"/>
          </a:solidFill>
        </p:grpSpPr>
        <p:sp>
          <p:nvSpPr>
            <p:cNvPr id="8" name="Freeform 18">
              <a:extLst>
                <a:ext uri="{FF2B5EF4-FFF2-40B4-BE49-F238E27FC236}">
                  <a16:creationId xmlns:a16="http://schemas.microsoft.com/office/drawing/2014/main" id="{438A2AE4-EC51-48B4-91AF-F50BD2F61370}"/>
                </a:ext>
              </a:extLst>
            </p:cNvPr>
            <p:cNvSpPr/>
            <p:nvPr/>
          </p:nvSpPr>
          <p:spPr>
            <a:xfrm>
              <a:off x="348934" y="-1331"/>
              <a:ext cx="11843066" cy="536421"/>
            </a:xfrm>
            <a:custGeom>
              <a:avLst/>
              <a:gdLst>
                <a:gd name="connsiteX0" fmla="*/ 201392 w 11843066"/>
                <a:gd name="connsiteY0" fmla="*/ 0 h 536421"/>
                <a:gd name="connsiteX1" fmla="*/ 205399 w 11843066"/>
                <a:gd name="connsiteY1" fmla="*/ 3024 h 536421"/>
                <a:gd name="connsiteX2" fmla="*/ 206155 w 11843066"/>
                <a:gd name="connsiteY2" fmla="*/ 0 h 536421"/>
                <a:gd name="connsiteX3" fmla="*/ 11843066 w 11843066"/>
                <a:gd name="connsiteY3" fmla="*/ 0 h 536421"/>
                <a:gd name="connsiteX4" fmla="*/ 11843066 w 11843066"/>
                <a:gd name="connsiteY4" fmla="*/ 116114 h 536421"/>
                <a:gd name="connsiteX5" fmla="*/ 278246 w 11843066"/>
                <a:gd name="connsiteY5" fmla="*/ 116114 h 536421"/>
                <a:gd name="connsiteX6" fmla="*/ 99837 w 11843066"/>
                <a:gd name="connsiteY6" fmla="*/ 536421 h 536421"/>
                <a:gd name="connsiteX7" fmla="*/ 0 w 11843066"/>
                <a:gd name="connsiteY7" fmla="*/ 474451 h 53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3066" h="536421">
                  <a:moveTo>
                    <a:pt x="201392" y="0"/>
                  </a:moveTo>
                  <a:lnTo>
                    <a:pt x="205399" y="3024"/>
                  </a:lnTo>
                  <a:lnTo>
                    <a:pt x="206155" y="0"/>
                  </a:lnTo>
                  <a:lnTo>
                    <a:pt x="11843066" y="0"/>
                  </a:lnTo>
                  <a:lnTo>
                    <a:pt x="11843066" y="116114"/>
                  </a:lnTo>
                  <a:lnTo>
                    <a:pt x="278246" y="116114"/>
                  </a:lnTo>
                  <a:lnTo>
                    <a:pt x="99837" y="536421"/>
                  </a:lnTo>
                  <a:lnTo>
                    <a:pt x="0" y="47445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0" name="Freeform 15">
              <a:extLst>
                <a:ext uri="{FF2B5EF4-FFF2-40B4-BE49-F238E27FC236}">
                  <a16:creationId xmlns:a16="http://schemas.microsoft.com/office/drawing/2014/main" id="{675E6922-883A-4531-A7B3-48549D4EB8A9}"/>
                </a:ext>
              </a:extLst>
            </p:cNvPr>
            <p:cNvSpPr/>
            <p:nvPr/>
          </p:nvSpPr>
          <p:spPr>
            <a:xfrm rot="6780000">
              <a:off x="-62883" y="267266"/>
              <a:ext cx="759016" cy="116114"/>
            </a:xfrm>
            <a:custGeom>
              <a:avLst/>
              <a:gdLst>
                <a:gd name="connsiteX0" fmla="*/ 49287 w 759016"/>
                <a:gd name="connsiteY0" fmla="*/ 116114 h 116114"/>
                <a:gd name="connsiteX1" fmla="*/ 0 w 759016"/>
                <a:gd name="connsiteY1" fmla="*/ 0 h 116114"/>
                <a:gd name="connsiteX2" fmla="*/ 753389 w 759016"/>
                <a:gd name="connsiteY2" fmla="*/ 0 h 116114"/>
                <a:gd name="connsiteX3" fmla="*/ 759016 w 759016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16" h="116114">
                  <a:moveTo>
                    <a:pt x="49287" y="116114"/>
                  </a:moveTo>
                  <a:lnTo>
                    <a:pt x="0" y="0"/>
                  </a:lnTo>
                  <a:lnTo>
                    <a:pt x="753389" y="0"/>
                  </a:lnTo>
                  <a:lnTo>
                    <a:pt x="759016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11" name="Freeform 16">
              <a:extLst>
                <a:ext uri="{FF2B5EF4-FFF2-40B4-BE49-F238E27FC236}">
                  <a16:creationId xmlns:a16="http://schemas.microsoft.com/office/drawing/2014/main" id="{B9A5DFCF-02E2-4FA4-AF10-A6957CD1308B}"/>
                </a:ext>
              </a:extLst>
            </p:cNvPr>
            <p:cNvSpPr/>
            <p:nvPr/>
          </p:nvSpPr>
          <p:spPr>
            <a:xfrm rot="6780000">
              <a:off x="20614" y="109116"/>
              <a:ext cx="415402" cy="116114"/>
            </a:xfrm>
            <a:custGeom>
              <a:avLst/>
              <a:gdLst>
                <a:gd name="connsiteX0" fmla="*/ 49287 w 415402"/>
                <a:gd name="connsiteY0" fmla="*/ 116114 h 116114"/>
                <a:gd name="connsiteX1" fmla="*/ 0 w 415402"/>
                <a:gd name="connsiteY1" fmla="*/ 0 h 116114"/>
                <a:gd name="connsiteX2" fmla="*/ 415402 w 415402"/>
                <a:gd name="connsiteY2" fmla="*/ 0 h 116114"/>
                <a:gd name="connsiteX3" fmla="*/ 397368 w 415402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402" h="116114">
                  <a:moveTo>
                    <a:pt x="49287" y="116114"/>
                  </a:moveTo>
                  <a:lnTo>
                    <a:pt x="0" y="0"/>
                  </a:lnTo>
                  <a:lnTo>
                    <a:pt x="415402" y="0"/>
                  </a:lnTo>
                  <a:lnTo>
                    <a:pt x="397368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sp>
        <p:nvSpPr>
          <p:cNvPr id="12" name="Rectangle 11"/>
          <p:cNvSpPr/>
          <p:nvPr/>
        </p:nvSpPr>
        <p:spPr>
          <a:xfrm>
            <a:off x="0" y="6545263"/>
            <a:ext cx="12192000" cy="312737"/>
          </a:xfrm>
          <a:prstGeom prst="rect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pic>
        <p:nvPicPr>
          <p:cNvPr id="18441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04" b="-4883"/>
          <a:stretch>
            <a:fillRect/>
          </a:stretch>
        </p:blipFill>
        <p:spPr bwMode="auto">
          <a:xfrm>
            <a:off x="11147425" y="195263"/>
            <a:ext cx="69215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42" name="Title 2"/>
          <p:cNvSpPr>
            <a:spLocks noGrp="1"/>
          </p:cNvSpPr>
          <p:nvPr>
            <p:ph type="title"/>
          </p:nvPr>
        </p:nvSpPr>
        <p:spPr>
          <a:xfrm>
            <a:off x="1038225" y="112713"/>
            <a:ext cx="5991225" cy="996950"/>
          </a:xfrm>
        </p:spPr>
        <p:txBody>
          <a:bodyPr/>
          <a:lstStyle/>
          <a:p>
            <a:pPr algn="ctr"/>
            <a:r>
              <a:rPr lang="en-US" altLang="en-US" sz="2400" b="1" smtClean="0">
                <a:solidFill>
                  <a:schemeClr val="tx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Domestic Economy</a:t>
            </a:r>
          </a:p>
        </p:txBody>
      </p:sp>
      <p:sp>
        <p:nvSpPr>
          <p:cNvPr id="20" name="Arc 19">
            <a:extLst>
              <a:ext uri="{FF2B5EF4-FFF2-40B4-BE49-F238E27FC236}">
                <a16:creationId xmlns:a16="http://schemas.microsoft.com/office/drawing/2014/main" id="{C5A3826C-1458-4DF8-96A2-05D6E1FFE1CB}"/>
              </a:ext>
            </a:extLst>
          </p:cNvPr>
          <p:cNvSpPr/>
          <p:nvPr/>
        </p:nvSpPr>
        <p:spPr>
          <a:xfrm flipH="1">
            <a:off x="538163" y="3924300"/>
            <a:ext cx="1914525" cy="1914525"/>
          </a:xfrm>
          <a:prstGeom prst="arc">
            <a:avLst>
              <a:gd name="adj1" fmla="val 16200000"/>
              <a:gd name="adj2" fmla="val 5202665"/>
            </a:avLst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1" name="Oval 2068">
            <a:extLst>
              <a:ext uri="{FF2B5EF4-FFF2-40B4-BE49-F238E27FC236}">
                <a16:creationId xmlns:a16="http://schemas.microsoft.com/office/drawing/2014/main" id="{A5C51EC4-EB33-432A-8BA3-48C49EFE2A33}"/>
              </a:ext>
            </a:extLst>
          </p:cNvPr>
          <p:cNvSpPr/>
          <p:nvPr/>
        </p:nvSpPr>
        <p:spPr bwMode="auto">
          <a:xfrm flipV="1">
            <a:off x="1782763" y="1708150"/>
            <a:ext cx="681037" cy="681038"/>
          </a:xfrm>
          <a:prstGeom prst="ellipse">
            <a:avLst/>
          </a:prstGeom>
          <a:solidFill>
            <a:schemeClr val="bg1"/>
          </a:solidFill>
          <a:ln w="25400" cap="flat" cmpd="sng" algn="ctr">
            <a:noFill/>
            <a:prstDash val="solid"/>
          </a:ln>
          <a:effectLst/>
        </p:spPr>
        <p:txBody>
          <a:bodyPr anchor="ctr"/>
          <a:lstStyle/>
          <a:p>
            <a:pPr algn="ctr" eaLnBrk="1" hangingPunct="1">
              <a:defRPr/>
            </a:pPr>
            <a:endParaRPr lang="id-ID" kern="0">
              <a:latin typeface="Segoe UI Light"/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>
            <a:off x="1028700" y="817563"/>
            <a:ext cx="1018381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Footer Placeholder 1">
            <a:extLst>
              <a:ext uri="{FF2B5EF4-FFF2-40B4-BE49-F238E27FC236}">
                <a16:creationId xmlns:a16="http://schemas.microsoft.com/office/drawing/2014/main" id="{4B944B97-2A38-461D-846A-623513EDA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684588" y="6484938"/>
            <a:ext cx="4822825" cy="365125"/>
          </a:xfrm>
        </p:spPr>
        <p:txBody>
          <a:bodyPr/>
          <a:lstStyle/>
          <a:p>
            <a:pPr defTabSz="457200">
              <a:defRPr/>
            </a:pPr>
            <a:r>
              <a:rPr lang="en-GB" sz="900" cap="all" dirty="0">
                <a:solidFill>
                  <a:srgbClr val="FFFFFF"/>
                </a:solidFill>
              </a:rPr>
              <a:t>SECURITIES AND EXCHANGE COMMISSION, NIGERIA</a:t>
            </a:r>
            <a:endParaRPr lang="en-US" sz="900" cap="all" dirty="0">
              <a:solidFill>
                <a:srgbClr val="FFFFFF"/>
              </a:solidFill>
            </a:endParaRPr>
          </a:p>
        </p:txBody>
      </p:sp>
      <p:sp>
        <p:nvSpPr>
          <p:cNvPr id="18451" name="TextBox 83"/>
          <p:cNvSpPr txBox="1">
            <a:spLocks noChangeArrowheads="1"/>
          </p:cNvSpPr>
          <p:nvPr/>
        </p:nvSpPr>
        <p:spPr bwMode="auto">
          <a:xfrm>
            <a:off x="363538" y="6218238"/>
            <a:ext cx="1514475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/>
              <a:t>Data Source: NBS, IMF</a:t>
            </a:r>
          </a:p>
        </p:txBody>
      </p:sp>
      <p:sp>
        <p:nvSpPr>
          <p:cNvPr id="18453" name="TextBox 85"/>
          <p:cNvSpPr txBox="1">
            <a:spLocks noChangeArrowheads="1"/>
          </p:cNvSpPr>
          <p:nvPr/>
        </p:nvSpPr>
        <p:spPr bwMode="auto">
          <a:xfrm>
            <a:off x="6992938" y="6232525"/>
            <a:ext cx="1514475" cy="263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/>
              <a:t>Source: CBN</a:t>
            </a:r>
          </a:p>
        </p:txBody>
      </p:sp>
      <p:pic>
        <p:nvPicPr>
          <p:cNvPr id="10242" name="Picture 2" descr="Nigeria Map and Satellite Image"/>
          <p:cNvPicPr>
            <a:picLocks noChangeAspect="1" noChangeArrowheads="1"/>
          </p:cNvPicPr>
          <p:nvPr/>
        </p:nvPicPr>
        <p:blipFill>
          <a:blip r:embed="rId4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9814" y="1055420"/>
            <a:ext cx="3818943" cy="20367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455" name="Picture 2" descr="Barrel, industry, oil, price, profit icon - Download on Iconfind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038" y="716790"/>
            <a:ext cx="914400" cy="914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456" name="TextBox 43"/>
          <p:cNvSpPr txBox="1">
            <a:spLocks noChangeArrowheads="1"/>
          </p:cNvSpPr>
          <p:nvPr/>
        </p:nvSpPr>
        <p:spPr bwMode="auto">
          <a:xfrm>
            <a:off x="3601604" y="1688840"/>
            <a:ext cx="1404631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lnSpc>
                <a:spcPct val="90000"/>
              </a:lnSpc>
              <a:spcBef>
                <a:spcPts val="500"/>
              </a:spcBef>
              <a:spcAft>
                <a:spcPct val="0"/>
              </a:spcAft>
              <a:buFont typeface="Arial" panose="020B0604020202020204" pitchFamily="34" charset="0"/>
              <a:buChar char="•"/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FontTx/>
              <a:buNone/>
            </a:pPr>
            <a:r>
              <a:rPr lang="en-US" altLang="en-US" sz="2400" dirty="0" smtClean="0">
                <a:solidFill>
                  <a:srgbClr val="4BACC6"/>
                </a:solidFill>
                <a:latin typeface="Britannic Bold" pitchFamily="34" charset="0"/>
                <a:ea typeface="MS PGothic" panose="020B0600070205080204" pitchFamily="34" charset="-128"/>
              </a:rPr>
              <a:t>$110.13</a:t>
            </a:r>
            <a:endParaRPr lang="en-US" altLang="en-US" sz="2400" dirty="0">
              <a:solidFill>
                <a:srgbClr val="4BACC6"/>
              </a:solidFill>
              <a:latin typeface="Britannic Bold" pitchFamily="34" charset="0"/>
              <a:ea typeface="MS PGothic" panose="020B0600070205080204" pitchFamily="34" charset="-128"/>
            </a:endParaRPr>
          </a:p>
        </p:txBody>
      </p:sp>
      <p:pic>
        <p:nvPicPr>
          <p:cNvPr id="11268" name="Picture 4" descr="Nigeria Icon of Glyph style - Available in SVG, PNG, EPS, AI &amp; Icon fonts"/>
          <p:cNvPicPr>
            <a:picLocks noChangeAspect="1" noChangeArrowheads="1"/>
          </p:cNvPicPr>
          <p:nvPr/>
        </p:nvPicPr>
        <p:blipFill>
          <a:blip r:embed="rId6" cstate="print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6081" y="1084475"/>
            <a:ext cx="742901" cy="7429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58" name="TextBox 44"/>
          <p:cNvSpPr txBox="1">
            <a:spLocks noChangeArrowheads="1"/>
          </p:cNvSpPr>
          <p:nvPr/>
        </p:nvSpPr>
        <p:spPr bwMode="auto">
          <a:xfrm>
            <a:off x="9417163" y="1078009"/>
            <a:ext cx="1701800" cy="461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eaLnBrk="1" hangingPunct="1"/>
            <a:r>
              <a:rPr lang="en-US" altLang="en-US" sz="2400" dirty="0" smtClean="0">
                <a:solidFill>
                  <a:srgbClr val="4472C4"/>
                </a:solidFill>
                <a:latin typeface="Britannic Bold" pitchFamily="34" charset="0"/>
                <a:cs typeface="Britannic Bold" pitchFamily="34" charset="0"/>
              </a:rPr>
              <a:t>N416.22</a:t>
            </a:r>
            <a:endParaRPr lang="en-US" altLang="en-US" sz="2400" dirty="0">
              <a:solidFill>
                <a:srgbClr val="4472C4"/>
              </a:solidFill>
              <a:latin typeface="Britannic Bold" pitchFamily="34" charset="0"/>
              <a:cs typeface="Britannic Bold" pitchFamily="34" charset="0"/>
            </a:endParaRPr>
          </a:p>
        </p:txBody>
      </p:sp>
      <p:sp>
        <p:nvSpPr>
          <p:cNvPr id="18465" name="TextBox 51"/>
          <p:cNvSpPr txBox="1">
            <a:spLocks noChangeArrowheads="1"/>
          </p:cNvSpPr>
          <p:nvPr/>
        </p:nvSpPr>
        <p:spPr bwMode="auto">
          <a:xfrm>
            <a:off x="9712587" y="1600297"/>
            <a:ext cx="1514475" cy="265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 dirty="0"/>
              <a:t>As at </a:t>
            </a:r>
            <a:r>
              <a:rPr lang="en-GB" altLang="en-US" sz="1100" dirty="0" smtClean="0"/>
              <a:t>April 1, 2022</a:t>
            </a:r>
            <a:endParaRPr lang="en-GB" altLang="en-US" sz="1100" dirty="0"/>
          </a:p>
        </p:txBody>
      </p:sp>
      <p:sp>
        <p:nvSpPr>
          <p:cNvPr id="18466" name="TextBox 52"/>
          <p:cNvSpPr txBox="1">
            <a:spLocks noChangeArrowheads="1"/>
          </p:cNvSpPr>
          <p:nvPr/>
        </p:nvSpPr>
        <p:spPr bwMode="auto">
          <a:xfrm>
            <a:off x="3491760" y="2150408"/>
            <a:ext cx="1514475" cy="265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 dirty="0"/>
              <a:t>As at </a:t>
            </a:r>
            <a:r>
              <a:rPr lang="en-GB" altLang="en-US" sz="1100" dirty="0" smtClean="0"/>
              <a:t>April  1, 2022</a:t>
            </a:r>
            <a:endParaRPr lang="en-GB" altLang="en-US" sz="1100" dirty="0"/>
          </a:p>
        </p:txBody>
      </p:sp>
      <p:sp>
        <p:nvSpPr>
          <p:cNvPr id="18471" name="AutoShape 12" descr="Stop insecurity find truth increase safety no shame or fear overcome shy  ashamed feeling final result. | CanStock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18472" name="AutoShape 14" descr="Stop insecurity find truth increase safety no shame or fear overcome shy  ashamed feeling final result. | CanStock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60997" y="1207727"/>
            <a:ext cx="1451866" cy="1466801"/>
          </a:xfrm>
          <a:prstGeom prst="rect">
            <a:avLst/>
          </a:prstGeom>
        </p:spPr>
      </p:pic>
      <p:sp>
        <p:nvSpPr>
          <p:cNvPr id="5" name="Rectangle 4"/>
          <p:cNvSpPr/>
          <p:nvPr/>
        </p:nvSpPr>
        <p:spPr>
          <a:xfrm>
            <a:off x="6211039" y="957331"/>
            <a:ext cx="2611437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AU" sz="1100" b="1" dirty="0" smtClean="0">
                <a:solidFill>
                  <a:srgbClr val="0070C0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1.25 million barrels per day (BPD</a:t>
            </a:r>
            <a:r>
              <a:rPr lang="en-AU" sz="1100" b="1" dirty="0" smtClean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US" sz="1100" b="1" dirty="0" smtClean="0">
              <a:solidFill>
                <a:srgbClr val="0070C0"/>
              </a:solidFill>
            </a:endParaRPr>
          </a:p>
          <a:p>
            <a:r>
              <a:rPr lang="en-US" sz="1100" b="1" dirty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100" b="1" dirty="0" smtClean="0">
                <a:solidFill>
                  <a:srgbClr val="0070C0"/>
                </a:solidFill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 </a:t>
            </a:r>
            <a:r>
              <a:rPr lang="en-US" sz="1100" b="1" dirty="0" smtClean="0"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s at Feb, 2022</a:t>
            </a:r>
            <a:endParaRPr lang="en-AU" sz="1100" b="1" dirty="0" smtClean="0">
              <a:latin typeface="Century Gothic" panose="020B0502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46" name="Chart 4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1197944"/>
              </p:ext>
            </p:extLst>
          </p:nvPr>
        </p:nvGraphicFramePr>
        <p:xfrm>
          <a:off x="171450" y="3330046"/>
          <a:ext cx="6479721" cy="3002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aphicFrame>
        <p:nvGraphicFramePr>
          <p:cNvPr id="52" name="Chart 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78208695"/>
              </p:ext>
            </p:extLst>
          </p:nvPr>
        </p:nvGraphicFramePr>
        <p:xfrm>
          <a:off x="6992938" y="3427307"/>
          <a:ext cx="5035776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pic>
        <p:nvPicPr>
          <p:cNvPr id="6" name="Picture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913264" y="2358826"/>
            <a:ext cx="2556560" cy="65859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4610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875999" y="4068987"/>
            <a:ext cx="3233153" cy="1917614"/>
          </a:xfrm>
          <a:prstGeom prst="rect">
            <a:avLst/>
          </a:prstGeom>
          <a:solidFill>
            <a:schemeClr val="bg1">
              <a:lumMod val="95000"/>
            </a:schemeClr>
          </a:solidFill>
          <a:ln w="571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rgbClr val="0070C0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4B944B97-2A38-461D-846A-623513EDA12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142019" y="6485599"/>
            <a:ext cx="4822804" cy="365125"/>
          </a:xfrm>
        </p:spPr>
        <p:txBody>
          <a:bodyPr/>
          <a:lstStyle/>
          <a:p>
            <a:r>
              <a:rPr lang="en-GB" dirty="0"/>
              <a:t>SECURITIES AND EXCHANGE COMMISSION, NIGERIA</a:t>
            </a:r>
            <a:endParaRPr lang="en-US" dirty="0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CC8F62F7-99CF-4F8B-ADB0-00897D570FAD}"/>
              </a:ext>
            </a:extLst>
          </p:cNvPr>
          <p:cNvSpPr txBox="1">
            <a:spLocks/>
          </p:cNvSpPr>
          <p:nvPr/>
        </p:nvSpPr>
        <p:spPr>
          <a:xfrm>
            <a:off x="0" y="16465"/>
            <a:ext cx="12192000" cy="764932"/>
          </a:xfrm>
          <a:prstGeom prst="rect">
            <a:avLst/>
          </a:prstGeom>
          <a:solidFill>
            <a:schemeClr val="accent1"/>
          </a:solidFill>
        </p:spPr>
        <p:txBody>
          <a:bodyPr>
            <a:normAutofit/>
          </a:bodyPr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kern="1200" spc="-5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en-US" b="1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59FFC302-61BF-4CAF-BF47-12A1E1B18F6F}"/>
              </a:ext>
            </a:extLst>
          </p:cNvPr>
          <p:cNvSpPr txBox="1">
            <a:spLocks/>
          </p:cNvSpPr>
          <p:nvPr/>
        </p:nvSpPr>
        <p:spPr>
          <a:xfrm>
            <a:off x="990348" y="4193499"/>
            <a:ext cx="3200400" cy="1818142"/>
          </a:xfrm>
          <a:prstGeom prst="rect">
            <a:avLst/>
          </a:prstGeom>
          <a:noFill/>
        </p:spPr>
        <p:txBody>
          <a:bodyPr>
            <a:noAutofit/>
          </a:bodyPr>
          <a:lstStyle>
            <a:lvl1pPr marL="91440" indent="-91440" algn="l" defTabSz="914400" rtl="0" eaLnBrk="1" latinLnBrk="0" hangingPunct="1">
              <a:lnSpc>
                <a:spcPct val="90000"/>
              </a:lnSpc>
              <a:spcBef>
                <a:spcPts val="1200"/>
              </a:spcBef>
              <a:spcAft>
                <a:spcPts val="200"/>
              </a:spcAft>
              <a:buClr>
                <a:schemeClr val="accent1"/>
              </a:buClr>
              <a:buSzPct val="100000"/>
              <a:buFont typeface="Calibri" panose="020F0502020204030204" pitchFamily="34" charset="0"/>
              <a:buChar char=" "/>
              <a:defRPr sz="20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8404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8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56692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74980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932688" indent="-18288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11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13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15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1700000" indent="-228600" algn="l" defTabSz="914400" rtl="0" eaLnBrk="1" latinLnBrk="0" hangingPunct="1">
              <a:lnSpc>
                <a:spcPct val="90000"/>
              </a:lnSpc>
              <a:spcBef>
                <a:spcPts val="200"/>
              </a:spcBef>
              <a:spcAft>
                <a:spcPts val="400"/>
              </a:spcAft>
              <a:buClr>
                <a:schemeClr val="accent1"/>
              </a:buClr>
              <a:buFont typeface="Calibri" pitchFamily="34" charset="0"/>
              <a:buChar char="◦"/>
              <a:defRPr sz="1400" kern="12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4625" lvl="1" indent="-166688"/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During the year 2021, total new securities issuances amounted to N594.92billion of which N476.11billion were debt and N118.81billion were equities. </a:t>
            </a:r>
          </a:p>
          <a:p>
            <a:pPr marL="174625" lvl="1" indent="-166688"/>
            <a:r>
              <a:rPr lang="en-US" sz="14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refore, 80.03% of issuances in the period were debt while 19.97% were equities.</a:t>
            </a:r>
          </a:p>
        </p:txBody>
      </p:sp>
      <p:sp>
        <p:nvSpPr>
          <p:cNvPr id="11" name="Rectangle 10"/>
          <p:cNvSpPr/>
          <p:nvPr/>
        </p:nvSpPr>
        <p:spPr>
          <a:xfrm>
            <a:off x="3383610" y="214265"/>
            <a:ext cx="4641014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n-US" sz="2400" b="1" dirty="0" smtClean="0">
                <a:solidFill>
                  <a:schemeClr val="tx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Capital Market Performance</a:t>
            </a:r>
            <a:endParaRPr lang="en-US" sz="2400" b="1" dirty="0">
              <a:solidFill>
                <a:schemeClr val="tx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65780184"/>
              </p:ext>
            </p:extLst>
          </p:nvPr>
        </p:nvGraphicFramePr>
        <p:xfrm>
          <a:off x="541919" y="1142007"/>
          <a:ext cx="4831594" cy="2135804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819051">
                  <a:extLst>
                    <a:ext uri="{9D8B030D-6E8A-4147-A177-3AD203B41FA5}">
                      <a16:colId xmlns:a16="http://schemas.microsoft.com/office/drawing/2014/main" val="4263079157"/>
                    </a:ext>
                  </a:extLst>
                </a:gridCol>
                <a:gridCol w="3012543">
                  <a:extLst>
                    <a:ext uri="{9D8B030D-6E8A-4147-A177-3AD203B41FA5}">
                      <a16:colId xmlns:a16="http://schemas.microsoft.com/office/drawing/2014/main" val="575352979"/>
                    </a:ext>
                  </a:extLst>
                </a:gridCol>
              </a:tblGrid>
              <a:tr h="53395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ssuance Type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u="none" strike="no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strike="sngStrike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N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010189588"/>
                  </a:ext>
                </a:extLst>
              </a:tr>
              <a:tr h="53395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Equity Issuances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8,805,220,000.0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296536223"/>
                  </a:ext>
                </a:extLst>
              </a:tr>
              <a:tr h="53395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Debt Issuances</a:t>
                      </a:r>
                      <a:endParaRPr lang="en-US" sz="160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76,113,000,000.0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057677321"/>
                  </a:ext>
                </a:extLst>
              </a:tr>
              <a:tr h="533951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Total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 </a:t>
                      </a:r>
                    </a:p>
                    <a:p>
                      <a:pPr marL="0" marR="0" algn="ctr">
                        <a:lnSpc>
                          <a:spcPct val="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600" dirty="0">
                          <a:effectLst/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94,918,220,000.00</a:t>
                      </a:r>
                      <a:endParaRPr lang="en-US" sz="1600" dirty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25821673"/>
                  </a:ext>
                </a:extLst>
              </a:tr>
            </a:tbl>
          </a:graphicData>
        </a:graphic>
      </p:graphicFrame>
      <p:sp>
        <p:nvSpPr>
          <p:cNvPr id="8" name="Rectangle 2"/>
          <p:cNvSpPr>
            <a:spLocks noChangeArrowheads="1"/>
          </p:cNvSpPr>
          <p:nvPr/>
        </p:nvSpPr>
        <p:spPr bwMode="auto">
          <a:xfrm>
            <a:off x="217714" y="862372"/>
            <a:ext cx="658585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just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sz="9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kumimoji="0" lang="en-US" altLang="en-US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Century Gothic" panose="020B0502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anuary to December 2021 Primary Issuance</a:t>
            </a:r>
            <a:endParaRPr kumimoji="0" lang="en-US" altLang="en-US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</a:endParaRPr>
          </a:p>
        </p:txBody>
      </p:sp>
      <p:graphicFrame>
        <p:nvGraphicFramePr>
          <p:cNvPr id="18" name="Table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17365741"/>
              </p:ext>
            </p:extLst>
          </p:nvPr>
        </p:nvGraphicFramePr>
        <p:xfrm>
          <a:off x="6464661" y="1312679"/>
          <a:ext cx="4965339" cy="5022329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32803">
                  <a:extLst>
                    <a:ext uri="{9D8B030D-6E8A-4147-A177-3AD203B41FA5}">
                      <a16:colId xmlns:a16="http://schemas.microsoft.com/office/drawing/2014/main" val="4085318884"/>
                    </a:ext>
                  </a:extLst>
                </a:gridCol>
                <a:gridCol w="2038629">
                  <a:extLst>
                    <a:ext uri="{9D8B030D-6E8A-4147-A177-3AD203B41FA5}">
                      <a16:colId xmlns:a16="http://schemas.microsoft.com/office/drawing/2014/main" val="3632712553"/>
                    </a:ext>
                  </a:extLst>
                </a:gridCol>
                <a:gridCol w="2293907">
                  <a:extLst>
                    <a:ext uri="{9D8B030D-6E8A-4147-A177-3AD203B41FA5}">
                      <a16:colId xmlns:a16="http://schemas.microsoft.com/office/drawing/2014/main" val="4178344136"/>
                    </a:ext>
                  </a:extLst>
                </a:gridCol>
              </a:tblGrid>
              <a:tr h="764894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</a:rPr>
                        <a:t>S/N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Classes of Fund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</a:rPr>
                        <a:t>Net Asset Value as at 31st December, 2021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586286660"/>
                  </a:ext>
                </a:extLst>
              </a:tr>
              <a:tr h="2950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1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Equity Fund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        15,756,130,822.72 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090094650"/>
                  </a:ext>
                </a:extLst>
              </a:tr>
              <a:tr h="5580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2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Money Market Fund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548,260,058,593.72 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460112629"/>
                  </a:ext>
                </a:extLst>
              </a:tr>
              <a:tr h="624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3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500">
                          <a:effectLst/>
                        </a:rPr>
                        <a:t>Bond/Fixed Income Fund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</a:rPr>
                        <a:t>378,162,574,509.53 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40325224"/>
                  </a:ext>
                </a:extLst>
              </a:tr>
              <a:tr h="55805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4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500">
                          <a:effectLst/>
                        </a:rPr>
                        <a:t>Dollar Fund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259,543,414,296.98 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23819811"/>
                  </a:ext>
                </a:extLst>
              </a:tr>
              <a:tr h="2950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5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500">
                          <a:effectLst/>
                        </a:rPr>
                        <a:t>REIT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50,192,148,740.47 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60570661"/>
                  </a:ext>
                </a:extLst>
              </a:tr>
              <a:tr h="2950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6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GB" sz="1500">
                          <a:effectLst/>
                        </a:rPr>
                        <a:t>Mixed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29,348,405,683.02 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41506945"/>
                  </a:ext>
                </a:extLst>
              </a:tr>
              <a:tr h="295069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7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Ethical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2,529,376,421.83 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256126230"/>
                  </a:ext>
                </a:extLst>
              </a:tr>
              <a:tr h="624143"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8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Shari'ah Compliant Funds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17,925,971,690.90 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1653908710"/>
                  </a:ext>
                </a:extLst>
              </a:tr>
              <a:tr h="398129">
                <a:tc>
                  <a:txBody>
                    <a:bodyPr/>
                    <a:lstStyle/>
                    <a:p>
                      <a:pPr marL="0" marR="0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>
                          <a:effectLst/>
                        </a:rPr>
                        <a:t> </a:t>
                      </a:r>
                      <a:endParaRPr lang="en-US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dirty="0" smtClean="0">
                          <a:effectLst/>
                        </a:rPr>
                        <a:t>Aggregate </a:t>
                      </a:r>
                      <a:r>
                        <a:rPr lang="en-GB" sz="1500" dirty="0">
                          <a:effectLst/>
                        </a:rPr>
                        <a:t>NAV (</a:t>
                      </a:r>
                      <a:r>
                        <a:rPr lang="en-GB" sz="1500" strike="dblStrike" dirty="0">
                          <a:effectLst/>
                        </a:rPr>
                        <a:t>N</a:t>
                      </a:r>
                      <a:r>
                        <a:rPr lang="en-GB" sz="1500" dirty="0">
                          <a:effectLst/>
                        </a:rPr>
                        <a:t>)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algn="r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GB" sz="1500" dirty="0">
                          <a:effectLst/>
                        </a:rPr>
                        <a:t>1,301,718,080,759.17</a:t>
                      </a:r>
                      <a:endParaRPr lang="en-US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4196533468"/>
                  </a:ext>
                </a:extLst>
              </a:tr>
            </a:tbl>
          </a:graphicData>
        </a:graphic>
      </p:graphicFrame>
      <p:sp>
        <p:nvSpPr>
          <p:cNvPr id="20" name="Rectangle 19"/>
          <p:cNvSpPr/>
          <p:nvPr/>
        </p:nvSpPr>
        <p:spPr>
          <a:xfrm>
            <a:off x="7358477" y="837880"/>
            <a:ext cx="2580179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GB" b="1" dirty="0"/>
              <a:t>Net Asset Value </a:t>
            </a:r>
            <a:endParaRPr lang="en-US" b="1" dirty="0"/>
          </a:p>
        </p:txBody>
      </p:sp>
    </p:spTree>
    <p:extLst>
      <p:ext uri="{BB962C8B-B14F-4D97-AF65-F5344CB8AC3E}">
        <p14:creationId xmlns:p14="http://schemas.microsoft.com/office/powerpoint/2010/main" val="175561009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9" name="Rectangle 88"/>
          <p:cNvSpPr/>
          <p:nvPr/>
        </p:nvSpPr>
        <p:spPr>
          <a:xfrm>
            <a:off x="-3175" y="6497638"/>
            <a:ext cx="12192000" cy="207962"/>
          </a:xfrm>
          <a:prstGeom prst="rect">
            <a:avLst/>
          </a:prstGeom>
          <a:solidFill>
            <a:srgbClr val="4197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/>
          </a:p>
        </p:txBody>
      </p:sp>
      <p:graphicFrame>
        <p:nvGraphicFramePr>
          <p:cNvPr id="25604" name="Object 68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711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0" name="Object 68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1" name="Rectangle 70" hidden="1">
            <a:extLst>
              <a:ext uri="{FF2B5EF4-FFF2-40B4-BE49-F238E27FC236}">
                <a16:creationId xmlns:a16="http://schemas.microsoft.com/office/drawing/2014/main" id="{0323BFB7-0011-4A5A-B318-562D15BF816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4400" b="1" dirty="0">
              <a:latin typeface="Segoe UI" panose="020B0502040204020203" pitchFamily="34" charset="0"/>
              <a:ea typeface="+mj-ea"/>
              <a:cs typeface="Segoe UI" panose="020B0502040204020203" pitchFamily="34" charset="0"/>
              <a:sym typeface="Segoe UI" panose="020B0502040204020203" pitchFamily="34" charset="0"/>
            </a:endParaRPr>
          </a:p>
        </p:txBody>
      </p:sp>
      <p:grpSp>
        <p:nvGrpSpPr>
          <p:cNvPr id="25606" name="Group 184"/>
          <p:cNvGrpSpPr>
            <a:grpSpLocks/>
          </p:cNvGrpSpPr>
          <p:nvPr/>
        </p:nvGrpSpPr>
        <p:grpSpPr bwMode="auto">
          <a:xfrm>
            <a:off x="5065713" y="3038475"/>
            <a:ext cx="379412" cy="381000"/>
            <a:chOff x="4841875" y="2895601"/>
            <a:chExt cx="344488" cy="346075"/>
          </a:xfrm>
        </p:grpSpPr>
        <p:sp>
          <p:nvSpPr>
            <p:cNvPr id="25679" name="Freeform 258"/>
            <p:cNvSpPr>
              <a:spLocks/>
            </p:cNvSpPr>
            <p:nvPr/>
          </p:nvSpPr>
          <p:spPr bwMode="auto">
            <a:xfrm>
              <a:off x="4916488" y="2895601"/>
              <a:ext cx="195263" cy="195263"/>
            </a:xfrm>
            <a:custGeom>
              <a:avLst/>
              <a:gdLst>
                <a:gd name="T0" fmla="*/ 195263 w 52"/>
                <a:gd name="T1" fmla="*/ 97632 h 52"/>
                <a:gd name="T2" fmla="*/ 97632 w 52"/>
                <a:gd name="T3" fmla="*/ 195263 h 52"/>
                <a:gd name="T4" fmla="*/ 0 w 52"/>
                <a:gd name="T5" fmla="*/ 93876 h 52"/>
                <a:gd name="T6" fmla="*/ 93876 w 52"/>
                <a:gd name="T7" fmla="*/ 0 h 52"/>
                <a:gd name="T8" fmla="*/ 97632 w 52"/>
                <a:gd name="T9" fmla="*/ 0 h 52"/>
                <a:gd name="T10" fmla="*/ 195263 w 52"/>
                <a:gd name="T11" fmla="*/ 97632 h 52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52" h="52">
                  <a:moveTo>
                    <a:pt x="52" y="26"/>
                  </a:moveTo>
                  <a:cubicBezTo>
                    <a:pt x="52" y="40"/>
                    <a:pt x="40" y="52"/>
                    <a:pt x="26" y="52"/>
                  </a:cubicBezTo>
                  <a:cubicBezTo>
                    <a:pt x="12" y="52"/>
                    <a:pt x="0" y="40"/>
                    <a:pt x="0" y="25"/>
                  </a:cubicBezTo>
                  <a:cubicBezTo>
                    <a:pt x="0" y="11"/>
                    <a:pt x="11" y="1"/>
                    <a:pt x="25" y="0"/>
                  </a:cubicBezTo>
                  <a:cubicBezTo>
                    <a:pt x="25" y="0"/>
                    <a:pt x="26" y="0"/>
                    <a:pt x="26" y="0"/>
                  </a:cubicBezTo>
                  <a:cubicBezTo>
                    <a:pt x="40" y="0"/>
                    <a:pt x="52" y="11"/>
                    <a:pt x="52" y="26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80" name="Freeform 259"/>
            <p:cNvSpPr>
              <a:spLocks/>
            </p:cNvSpPr>
            <p:nvPr/>
          </p:nvSpPr>
          <p:spPr bwMode="auto">
            <a:xfrm>
              <a:off x="4957763" y="2895601"/>
              <a:ext cx="52388" cy="195263"/>
            </a:xfrm>
            <a:custGeom>
              <a:avLst/>
              <a:gdLst>
                <a:gd name="T0" fmla="*/ 52388 w 14"/>
                <a:gd name="T1" fmla="*/ 0 h 52"/>
                <a:gd name="T2" fmla="*/ 52388 w 14"/>
                <a:gd name="T3" fmla="*/ 195263 h 5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4" h="52">
                  <a:moveTo>
                    <a:pt x="14" y="0"/>
                  </a:moveTo>
                  <a:cubicBezTo>
                    <a:pt x="0" y="15"/>
                    <a:pt x="0" y="34"/>
                    <a:pt x="14" y="5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81" name="Freeform 260"/>
            <p:cNvSpPr>
              <a:spLocks/>
            </p:cNvSpPr>
            <p:nvPr/>
          </p:nvSpPr>
          <p:spPr bwMode="auto">
            <a:xfrm>
              <a:off x="5018088" y="2895601"/>
              <a:ext cx="52388" cy="195263"/>
            </a:xfrm>
            <a:custGeom>
              <a:avLst/>
              <a:gdLst>
                <a:gd name="T0" fmla="*/ 0 w 14"/>
                <a:gd name="T1" fmla="*/ 0 h 52"/>
                <a:gd name="T2" fmla="*/ 0 w 14"/>
                <a:gd name="T3" fmla="*/ 195263 h 5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4" h="52">
                  <a:moveTo>
                    <a:pt x="0" y="0"/>
                  </a:moveTo>
                  <a:cubicBezTo>
                    <a:pt x="14" y="15"/>
                    <a:pt x="14" y="34"/>
                    <a:pt x="0" y="5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82" name="Line 261"/>
            <p:cNvSpPr>
              <a:spLocks noChangeShapeType="1"/>
            </p:cNvSpPr>
            <p:nvPr/>
          </p:nvSpPr>
          <p:spPr bwMode="auto">
            <a:xfrm>
              <a:off x="4932363" y="3044826"/>
              <a:ext cx="1651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83" name="Line 262"/>
            <p:cNvSpPr>
              <a:spLocks noChangeShapeType="1"/>
            </p:cNvSpPr>
            <p:nvPr/>
          </p:nvSpPr>
          <p:spPr bwMode="auto">
            <a:xfrm>
              <a:off x="4932363" y="2940051"/>
              <a:ext cx="165100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84" name="Line 263"/>
            <p:cNvSpPr>
              <a:spLocks noChangeShapeType="1"/>
            </p:cNvSpPr>
            <p:nvPr/>
          </p:nvSpPr>
          <p:spPr bwMode="auto">
            <a:xfrm>
              <a:off x="4916488" y="2992438"/>
              <a:ext cx="195263" cy="0"/>
            </a:xfrm>
            <a:prstGeom prst="lin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85" name="Oval 264"/>
            <p:cNvSpPr>
              <a:spLocks noChangeArrowheads="1"/>
            </p:cNvSpPr>
            <p:nvPr/>
          </p:nvSpPr>
          <p:spPr bwMode="auto">
            <a:xfrm>
              <a:off x="4864100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86" name="Oval 265"/>
            <p:cNvSpPr>
              <a:spLocks noChangeArrowheads="1"/>
            </p:cNvSpPr>
            <p:nvPr/>
          </p:nvSpPr>
          <p:spPr bwMode="auto">
            <a:xfrm>
              <a:off x="4976813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87" name="Oval 266"/>
            <p:cNvSpPr>
              <a:spLocks noChangeArrowheads="1"/>
            </p:cNvSpPr>
            <p:nvPr/>
          </p:nvSpPr>
          <p:spPr bwMode="auto">
            <a:xfrm>
              <a:off x="5089525" y="3105151"/>
              <a:ext cx="74613" cy="76200"/>
            </a:xfrm>
            <a:prstGeom prst="ellips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88" name="Freeform 267"/>
            <p:cNvSpPr>
              <a:spLocks/>
            </p:cNvSpPr>
            <p:nvPr/>
          </p:nvSpPr>
          <p:spPr bwMode="auto">
            <a:xfrm>
              <a:off x="4841875" y="3181351"/>
              <a:ext cx="344488" cy="60325"/>
            </a:xfrm>
            <a:custGeom>
              <a:avLst/>
              <a:gdLst>
                <a:gd name="T0" fmla="*/ 284577 w 92"/>
                <a:gd name="T1" fmla="*/ 0 h 16"/>
                <a:gd name="T2" fmla="*/ 228411 w 92"/>
                <a:gd name="T3" fmla="*/ 41473 h 16"/>
                <a:gd name="T4" fmla="*/ 172244 w 92"/>
                <a:gd name="T5" fmla="*/ 0 h 16"/>
                <a:gd name="T6" fmla="*/ 116077 w 92"/>
                <a:gd name="T7" fmla="*/ 41473 h 16"/>
                <a:gd name="T8" fmla="*/ 59911 w 92"/>
                <a:gd name="T9" fmla="*/ 0 h 16"/>
                <a:gd name="T10" fmla="*/ 0 w 92"/>
                <a:gd name="T11" fmla="*/ 60325 h 16"/>
                <a:gd name="T12" fmla="*/ 344488 w 92"/>
                <a:gd name="T13" fmla="*/ 60325 h 16"/>
                <a:gd name="T14" fmla="*/ 284577 w 92"/>
                <a:gd name="T15" fmla="*/ 0 h 1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92" h="16">
                  <a:moveTo>
                    <a:pt x="76" y="0"/>
                  </a:moveTo>
                  <a:cubicBezTo>
                    <a:pt x="69" y="0"/>
                    <a:pt x="63" y="4"/>
                    <a:pt x="61" y="11"/>
                  </a:cubicBezTo>
                  <a:cubicBezTo>
                    <a:pt x="59" y="4"/>
                    <a:pt x="53" y="0"/>
                    <a:pt x="46" y="0"/>
                  </a:cubicBezTo>
                  <a:cubicBezTo>
                    <a:pt x="39" y="0"/>
                    <a:pt x="33" y="4"/>
                    <a:pt x="31" y="11"/>
                  </a:cubicBezTo>
                  <a:cubicBezTo>
                    <a:pt x="29" y="4"/>
                    <a:pt x="23" y="0"/>
                    <a:pt x="16" y="0"/>
                  </a:cubicBezTo>
                  <a:cubicBezTo>
                    <a:pt x="7" y="0"/>
                    <a:pt x="0" y="8"/>
                    <a:pt x="0" y="16"/>
                  </a:cubicBezTo>
                  <a:cubicBezTo>
                    <a:pt x="92" y="16"/>
                    <a:pt x="92" y="16"/>
                    <a:pt x="92" y="16"/>
                  </a:cubicBezTo>
                  <a:cubicBezTo>
                    <a:pt x="92" y="8"/>
                    <a:pt x="85" y="0"/>
                    <a:pt x="76" y="0"/>
                  </a:cubicBez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5607" name="Group 195"/>
          <p:cNvGrpSpPr>
            <a:grpSpLocks/>
          </p:cNvGrpSpPr>
          <p:nvPr/>
        </p:nvGrpSpPr>
        <p:grpSpPr bwMode="auto">
          <a:xfrm>
            <a:off x="5145088" y="4483100"/>
            <a:ext cx="371475" cy="379413"/>
            <a:chOff x="2681288" y="4338638"/>
            <a:chExt cx="338137" cy="346075"/>
          </a:xfrm>
        </p:grpSpPr>
        <p:sp>
          <p:nvSpPr>
            <p:cNvPr id="25674" name="Oval 334"/>
            <p:cNvSpPr>
              <a:spLocks noChangeArrowheads="1"/>
            </p:cNvSpPr>
            <p:nvPr/>
          </p:nvSpPr>
          <p:spPr bwMode="auto">
            <a:xfrm>
              <a:off x="2711450" y="4338638"/>
              <a:ext cx="104775" cy="106363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75" name="Freeform 335"/>
            <p:cNvSpPr>
              <a:spLocks/>
            </p:cNvSpPr>
            <p:nvPr/>
          </p:nvSpPr>
          <p:spPr bwMode="auto">
            <a:xfrm>
              <a:off x="2681288" y="4475163"/>
              <a:ext cx="165100" cy="209550"/>
            </a:xfrm>
            <a:custGeom>
              <a:avLst/>
              <a:gdLst>
                <a:gd name="T0" fmla="*/ 165100 w 44"/>
                <a:gd name="T1" fmla="*/ 0 h 56"/>
                <a:gd name="T2" fmla="*/ 0 w 44"/>
                <a:gd name="T3" fmla="*/ 0 h 56"/>
                <a:gd name="T4" fmla="*/ 52532 w 44"/>
                <a:gd name="T5" fmla="*/ 112259 h 56"/>
                <a:gd name="T6" fmla="*/ 52532 w 44"/>
                <a:gd name="T7" fmla="*/ 209550 h 56"/>
                <a:gd name="T8" fmla="*/ 112568 w 44"/>
                <a:gd name="T9" fmla="*/ 209550 h 56"/>
                <a:gd name="T10" fmla="*/ 112568 w 44"/>
                <a:gd name="T11" fmla="*/ 112259 h 56"/>
                <a:gd name="T12" fmla="*/ 165100 w 44"/>
                <a:gd name="T13" fmla="*/ 0 h 5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4" h="56">
                  <a:moveTo>
                    <a:pt x="44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6"/>
                    <a:pt x="7" y="26"/>
                    <a:pt x="14" y="30"/>
                  </a:cubicBezTo>
                  <a:cubicBezTo>
                    <a:pt x="14" y="56"/>
                    <a:pt x="14" y="56"/>
                    <a:pt x="14" y="56"/>
                  </a:cubicBezTo>
                  <a:cubicBezTo>
                    <a:pt x="30" y="56"/>
                    <a:pt x="30" y="56"/>
                    <a:pt x="30" y="56"/>
                  </a:cubicBezTo>
                  <a:cubicBezTo>
                    <a:pt x="30" y="30"/>
                    <a:pt x="30" y="30"/>
                    <a:pt x="30" y="30"/>
                  </a:cubicBezTo>
                  <a:cubicBezTo>
                    <a:pt x="37" y="26"/>
                    <a:pt x="44" y="16"/>
                    <a:pt x="44" y="0"/>
                  </a:cubicBez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76" name="Freeform 336"/>
            <p:cNvSpPr>
              <a:spLocks/>
            </p:cNvSpPr>
            <p:nvPr/>
          </p:nvSpPr>
          <p:spPr bwMode="auto">
            <a:xfrm>
              <a:off x="2749550" y="4475163"/>
              <a:ext cx="30163" cy="104775"/>
            </a:xfrm>
            <a:custGeom>
              <a:avLst/>
              <a:gdLst>
                <a:gd name="T0" fmla="*/ 22225 w 19"/>
                <a:gd name="T1" fmla="*/ 0 h 66"/>
                <a:gd name="T2" fmla="*/ 6350 w 19"/>
                <a:gd name="T3" fmla="*/ 0 h 66"/>
                <a:gd name="T4" fmla="*/ 0 w 19"/>
                <a:gd name="T5" fmla="*/ 90488 h 66"/>
                <a:gd name="T6" fmla="*/ 14288 w 19"/>
                <a:gd name="T7" fmla="*/ 104775 h 66"/>
                <a:gd name="T8" fmla="*/ 30163 w 19"/>
                <a:gd name="T9" fmla="*/ 90488 h 66"/>
                <a:gd name="T10" fmla="*/ 22225 w 19"/>
                <a:gd name="T11" fmla="*/ 0 h 66"/>
                <a:gd name="T12" fmla="*/ 22225 w 19"/>
                <a:gd name="T13" fmla="*/ 0 h 6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66">
                  <a:moveTo>
                    <a:pt x="14" y="0"/>
                  </a:moveTo>
                  <a:lnTo>
                    <a:pt x="4" y="0"/>
                  </a:lnTo>
                  <a:lnTo>
                    <a:pt x="0" y="57"/>
                  </a:lnTo>
                  <a:lnTo>
                    <a:pt x="9" y="66"/>
                  </a:lnTo>
                  <a:lnTo>
                    <a:pt x="19" y="57"/>
                  </a:lnTo>
                  <a:lnTo>
                    <a:pt x="14" y="0"/>
                  </a:lnTo>
                  <a:close/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77" name="Freeform 337"/>
            <p:cNvSpPr>
              <a:spLocks/>
            </p:cNvSpPr>
            <p:nvPr/>
          </p:nvSpPr>
          <p:spPr bwMode="auto">
            <a:xfrm>
              <a:off x="2854325" y="4354513"/>
              <a:ext cx="150813" cy="180975"/>
            </a:xfrm>
            <a:custGeom>
              <a:avLst/>
              <a:gdLst>
                <a:gd name="T0" fmla="*/ 0 w 40"/>
                <a:gd name="T1" fmla="*/ 22622 h 48"/>
                <a:gd name="T2" fmla="*/ 60325 w 40"/>
                <a:gd name="T3" fmla="*/ 0 h 48"/>
                <a:gd name="T4" fmla="*/ 150813 w 40"/>
                <a:gd name="T5" fmla="*/ 90488 h 48"/>
                <a:gd name="T6" fmla="*/ 60325 w 40"/>
                <a:gd name="T7" fmla="*/ 180975 h 48"/>
                <a:gd name="T8" fmla="*/ 26392 w 40"/>
                <a:gd name="T9" fmla="*/ 173434 h 4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0" h="48">
                  <a:moveTo>
                    <a:pt x="0" y="6"/>
                  </a:moveTo>
                  <a:cubicBezTo>
                    <a:pt x="5" y="2"/>
                    <a:pt x="10" y="0"/>
                    <a:pt x="16" y="0"/>
                  </a:cubicBezTo>
                  <a:cubicBezTo>
                    <a:pt x="29" y="0"/>
                    <a:pt x="40" y="11"/>
                    <a:pt x="40" y="24"/>
                  </a:cubicBezTo>
                  <a:cubicBezTo>
                    <a:pt x="40" y="37"/>
                    <a:pt x="29" y="48"/>
                    <a:pt x="16" y="48"/>
                  </a:cubicBezTo>
                  <a:cubicBezTo>
                    <a:pt x="13" y="48"/>
                    <a:pt x="9" y="47"/>
                    <a:pt x="7" y="46"/>
                  </a:cubicBez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78" name="Freeform 338"/>
            <p:cNvSpPr>
              <a:spLocks/>
            </p:cNvSpPr>
            <p:nvPr/>
          </p:nvSpPr>
          <p:spPr bwMode="auto">
            <a:xfrm>
              <a:off x="2876550" y="4338638"/>
              <a:ext cx="142875" cy="139700"/>
            </a:xfrm>
            <a:custGeom>
              <a:avLst/>
              <a:gdLst>
                <a:gd name="T0" fmla="*/ 142875 w 90"/>
                <a:gd name="T1" fmla="*/ 0 h 88"/>
                <a:gd name="T2" fmla="*/ 38100 w 90"/>
                <a:gd name="T3" fmla="*/ 139700 h 88"/>
                <a:gd name="T4" fmla="*/ 0 w 90"/>
                <a:gd name="T5" fmla="*/ 98425 h 88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90" h="88">
                  <a:moveTo>
                    <a:pt x="90" y="0"/>
                  </a:moveTo>
                  <a:lnTo>
                    <a:pt x="24" y="88"/>
                  </a:lnTo>
                  <a:lnTo>
                    <a:pt x="0" y="62"/>
                  </a:lnTo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25608" name="Group 201"/>
          <p:cNvGrpSpPr>
            <a:grpSpLocks/>
          </p:cNvGrpSpPr>
          <p:nvPr/>
        </p:nvGrpSpPr>
        <p:grpSpPr bwMode="auto">
          <a:xfrm>
            <a:off x="6751638" y="4494213"/>
            <a:ext cx="381000" cy="381000"/>
            <a:chOff x="3398838" y="1811338"/>
            <a:chExt cx="346076" cy="346075"/>
          </a:xfrm>
        </p:grpSpPr>
        <p:sp>
          <p:nvSpPr>
            <p:cNvPr id="25649" name="Oval 5"/>
            <p:cNvSpPr>
              <a:spLocks noChangeArrowheads="1"/>
            </p:cNvSpPr>
            <p:nvPr/>
          </p:nvSpPr>
          <p:spPr bwMode="auto">
            <a:xfrm>
              <a:off x="3398838" y="1811338"/>
              <a:ext cx="346075" cy="346075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50" name="Freeform 6"/>
            <p:cNvSpPr>
              <a:spLocks/>
            </p:cNvSpPr>
            <p:nvPr/>
          </p:nvSpPr>
          <p:spPr bwMode="auto">
            <a:xfrm>
              <a:off x="3519488" y="1819276"/>
              <a:ext cx="7938" cy="33338"/>
            </a:xfrm>
            <a:custGeom>
              <a:avLst/>
              <a:gdLst>
                <a:gd name="T0" fmla="*/ 7938 w 2"/>
                <a:gd name="T1" fmla="*/ 33338 h 9"/>
                <a:gd name="T2" fmla="*/ 0 w 2"/>
                <a:gd name="T3" fmla="*/ 0 h 9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" h="9">
                  <a:moveTo>
                    <a:pt x="2" y="9"/>
                  </a:moveTo>
                  <a:cubicBezTo>
                    <a:pt x="1" y="6"/>
                    <a:pt x="0" y="3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1" name="Freeform 7"/>
            <p:cNvSpPr>
              <a:spLocks/>
            </p:cNvSpPr>
            <p:nvPr/>
          </p:nvSpPr>
          <p:spPr bwMode="auto">
            <a:xfrm>
              <a:off x="3552826" y="1905001"/>
              <a:ext cx="104775" cy="68263"/>
            </a:xfrm>
            <a:custGeom>
              <a:avLst/>
              <a:gdLst>
                <a:gd name="T0" fmla="*/ 104775 w 28"/>
                <a:gd name="T1" fmla="*/ 68263 h 18"/>
                <a:gd name="T2" fmla="*/ 0 w 28"/>
                <a:gd name="T3" fmla="*/ 0 h 18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8" h="18">
                  <a:moveTo>
                    <a:pt x="28" y="18"/>
                  </a:moveTo>
                  <a:cubicBezTo>
                    <a:pt x="16" y="16"/>
                    <a:pt x="6" y="9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2" name="Freeform 8"/>
            <p:cNvSpPr>
              <a:spLocks/>
            </p:cNvSpPr>
            <p:nvPr/>
          </p:nvSpPr>
          <p:spPr bwMode="auto">
            <a:xfrm>
              <a:off x="3717926" y="1968501"/>
              <a:ext cx="26988" cy="4763"/>
            </a:xfrm>
            <a:custGeom>
              <a:avLst/>
              <a:gdLst>
                <a:gd name="T0" fmla="*/ 26988 w 7"/>
                <a:gd name="T1" fmla="*/ 0 h 1"/>
                <a:gd name="T2" fmla="*/ 0 w 7"/>
                <a:gd name="T3" fmla="*/ 4763 h 1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7" h="1">
                  <a:moveTo>
                    <a:pt x="7" y="0"/>
                  </a:moveTo>
                  <a:cubicBezTo>
                    <a:pt x="5" y="1"/>
                    <a:pt x="2" y="1"/>
                    <a:pt x="0" y="1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3" name="Freeform 9"/>
            <p:cNvSpPr>
              <a:spLocks/>
            </p:cNvSpPr>
            <p:nvPr/>
          </p:nvSpPr>
          <p:spPr bwMode="auto">
            <a:xfrm>
              <a:off x="3530601" y="2078038"/>
              <a:ext cx="93663" cy="74613"/>
            </a:xfrm>
            <a:custGeom>
              <a:avLst/>
              <a:gdLst>
                <a:gd name="T0" fmla="*/ 93663 w 25"/>
                <a:gd name="T1" fmla="*/ 0 h 20"/>
                <a:gd name="T2" fmla="*/ 0 w 25"/>
                <a:gd name="T3" fmla="*/ 74613 h 2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5" h="20">
                  <a:moveTo>
                    <a:pt x="25" y="0"/>
                  </a:moveTo>
                  <a:cubicBezTo>
                    <a:pt x="18" y="8"/>
                    <a:pt x="9" y="15"/>
                    <a:pt x="0" y="2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4" name="Freeform 10"/>
            <p:cNvSpPr>
              <a:spLocks/>
            </p:cNvSpPr>
            <p:nvPr/>
          </p:nvSpPr>
          <p:spPr bwMode="auto">
            <a:xfrm>
              <a:off x="3651251" y="2003426"/>
              <a:ext cx="22225" cy="36513"/>
            </a:xfrm>
            <a:custGeom>
              <a:avLst/>
              <a:gdLst>
                <a:gd name="T0" fmla="*/ 22225 w 6"/>
                <a:gd name="T1" fmla="*/ 0 h 10"/>
                <a:gd name="T2" fmla="*/ 0 w 6"/>
                <a:gd name="T3" fmla="*/ 36513 h 10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6" h="10">
                  <a:moveTo>
                    <a:pt x="6" y="0"/>
                  </a:moveTo>
                  <a:cubicBezTo>
                    <a:pt x="4" y="3"/>
                    <a:pt x="2" y="7"/>
                    <a:pt x="0" y="1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5" name="Freeform 11"/>
            <p:cNvSpPr>
              <a:spLocks/>
            </p:cNvSpPr>
            <p:nvPr/>
          </p:nvSpPr>
          <p:spPr bwMode="auto">
            <a:xfrm>
              <a:off x="3695701" y="1882776"/>
              <a:ext cx="15875" cy="63500"/>
            </a:xfrm>
            <a:custGeom>
              <a:avLst/>
              <a:gdLst>
                <a:gd name="T0" fmla="*/ 15875 w 4"/>
                <a:gd name="T1" fmla="*/ 0 h 17"/>
                <a:gd name="T2" fmla="*/ 0 w 4"/>
                <a:gd name="T3" fmla="*/ 63500 h 17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4" h="17">
                  <a:moveTo>
                    <a:pt x="4" y="0"/>
                  </a:moveTo>
                  <a:cubicBezTo>
                    <a:pt x="3" y="6"/>
                    <a:pt x="2" y="11"/>
                    <a:pt x="0" y="17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6" name="Freeform 12"/>
            <p:cNvSpPr>
              <a:spLocks/>
            </p:cNvSpPr>
            <p:nvPr/>
          </p:nvSpPr>
          <p:spPr bwMode="auto">
            <a:xfrm>
              <a:off x="3409951" y="2044701"/>
              <a:ext cx="38100" cy="6350"/>
            </a:xfrm>
            <a:custGeom>
              <a:avLst/>
              <a:gdLst>
                <a:gd name="T0" fmla="*/ 38100 w 10"/>
                <a:gd name="T1" fmla="*/ 6350 h 2"/>
                <a:gd name="T2" fmla="*/ 0 w 10"/>
                <a:gd name="T3" fmla="*/ 0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" h="2">
                  <a:moveTo>
                    <a:pt x="10" y="2"/>
                  </a:moveTo>
                  <a:cubicBezTo>
                    <a:pt x="7" y="2"/>
                    <a:pt x="3" y="1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7" name="Freeform 13"/>
            <p:cNvSpPr>
              <a:spLocks/>
            </p:cNvSpPr>
            <p:nvPr/>
          </p:nvSpPr>
          <p:spPr bwMode="auto">
            <a:xfrm>
              <a:off x="3478213" y="2058988"/>
              <a:ext cx="71438" cy="7938"/>
            </a:xfrm>
            <a:custGeom>
              <a:avLst/>
              <a:gdLst>
                <a:gd name="T0" fmla="*/ 71438 w 19"/>
                <a:gd name="T1" fmla="*/ 7938 h 2"/>
                <a:gd name="T2" fmla="*/ 0 w 19"/>
                <a:gd name="T3" fmla="*/ 0 h 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9" h="2">
                  <a:moveTo>
                    <a:pt x="19" y="2"/>
                  </a:moveTo>
                  <a:cubicBezTo>
                    <a:pt x="12" y="2"/>
                    <a:pt x="6" y="1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8" name="Freeform 14"/>
            <p:cNvSpPr>
              <a:spLocks/>
            </p:cNvSpPr>
            <p:nvPr/>
          </p:nvSpPr>
          <p:spPr bwMode="auto">
            <a:xfrm>
              <a:off x="3594101" y="2066926"/>
              <a:ext cx="22225" cy="0"/>
            </a:xfrm>
            <a:custGeom>
              <a:avLst/>
              <a:gdLst>
                <a:gd name="T0" fmla="*/ 22225 w 6"/>
                <a:gd name="T1" fmla="*/ 0 w 6"/>
                <a:gd name="T2" fmla="*/ 0 60000 65536"/>
                <a:gd name="T3" fmla="*/ 0 60000 65536"/>
              </a:gdLst>
              <a:ahLst/>
              <a:cxnLst>
                <a:cxn ang="T2">
                  <a:pos x="T0" y="0"/>
                </a:cxn>
                <a:cxn ang="T3">
                  <a:pos x="T1" y="0"/>
                </a:cxn>
              </a:cxnLst>
              <a:rect l="0" t="0" r="r" b="b"/>
              <a:pathLst>
                <a:path w="6">
                  <a:moveTo>
                    <a:pt x="6" y="0"/>
                  </a:moveTo>
                  <a:cubicBezTo>
                    <a:pt x="4" y="0"/>
                    <a:pt x="2" y="0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59" name="Freeform 15"/>
            <p:cNvSpPr>
              <a:spLocks/>
            </p:cNvSpPr>
            <p:nvPr/>
          </p:nvSpPr>
          <p:spPr bwMode="auto">
            <a:xfrm>
              <a:off x="3662363" y="2047876"/>
              <a:ext cx="66675" cy="15875"/>
            </a:xfrm>
            <a:custGeom>
              <a:avLst/>
              <a:gdLst>
                <a:gd name="T0" fmla="*/ 66675 w 18"/>
                <a:gd name="T1" fmla="*/ 0 h 4"/>
                <a:gd name="T2" fmla="*/ 0 w 18"/>
                <a:gd name="T3" fmla="*/ 15875 h 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8" h="4">
                  <a:moveTo>
                    <a:pt x="18" y="0"/>
                  </a:moveTo>
                  <a:cubicBezTo>
                    <a:pt x="12" y="1"/>
                    <a:pt x="6" y="3"/>
                    <a:pt x="0" y="4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0" name="Freeform 16"/>
            <p:cNvSpPr>
              <a:spLocks/>
            </p:cNvSpPr>
            <p:nvPr/>
          </p:nvSpPr>
          <p:spPr bwMode="auto">
            <a:xfrm>
              <a:off x="3455988" y="1855788"/>
              <a:ext cx="52388" cy="19050"/>
            </a:xfrm>
            <a:custGeom>
              <a:avLst/>
              <a:gdLst>
                <a:gd name="T0" fmla="*/ 52388 w 14"/>
                <a:gd name="T1" fmla="*/ 19050 h 5"/>
                <a:gd name="T2" fmla="*/ 44904 w 14"/>
                <a:gd name="T3" fmla="*/ 19050 h 5"/>
                <a:gd name="T4" fmla="*/ 0 w 14"/>
                <a:gd name="T5" fmla="*/ 0 h 5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4" h="5">
                  <a:moveTo>
                    <a:pt x="14" y="5"/>
                  </a:moveTo>
                  <a:cubicBezTo>
                    <a:pt x="13" y="5"/>
                    <a:pt x="13" y="5"/>
                    <a:pt x="12" y="5"/>
                  </a:cubicBezTo>
                  <a:cubicBezTo>
                    <a:pt x="8" y="4"/>
                    <a:pt x="4" y="2"/>
                    <a:pt x="0" y="0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1" name="Freeform 17"/>
            <p:cNvSpPr>
              <a:spLocks/>
            </p:cNvSpPr>
            <p:nvPr/>
          </p:nvSpPr>
          <p:spPr bwMode="auto">
            <a:xfrm>
              <a:off x="3568701" y="1836738"/>
              <a:ext cx="93663" cy="41275"/>
            </a:xfrm>
            <a:custGeom>
              <a:avLst/>
              <a:gdLst>
                <a:gd name="T0" fmla="*/ 93663 w 25"/>
                <a:gd name="T1" fmla="*/ 0 h 11"/>
                <a:gd name="T2" fmla="*/ 0 w 25"/>
                <a:gd name="T3" fmla="*/ 41275 h 11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5" h="11">
                  <a:moveTo>
                    <a:pt x="25" y="0"/>
                  </a:moveTo>
                  <a:cubicBezTo>
                    <a:pt x="18" y="6"/>
                    <a:pt x="9" y="10"/>
                    <a:pt x="0" y="11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2" name="Freeform 18"/>
            <p:cNvSpPr>
              <a:spLocks/>
            </p:cNvSpPr>
            <p:nvPr/>
          </p:nvSpPr>
          <p:spPr bwMode="auto">
            <a:xfrm>
              <a:off x="3582988" y="2085976"/>
              <a:ext cx="38100" cy="63500"/>
            </a:xfrm>
            <a:custGeom>
              <a:avLst/>
              <a:gdLst>
                <a:gd name="T0" fmla="*/ 0 w 10"/>
                <a:gd name="T1" fmla="*/ 0 h 17"/>
                <a:gd name="T2" fmla="*/ 38100 w 10"/>
                <a:gd name="T3" fmla="*/ 63500 h 17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" h="17">
                  <a:moveTo>
                    <a:pt x="0" y="0"/>
                  </a:moveTo>
                  <a:cubicBezTo>
                    <a:pt x="4" y="5"/>
                    <a:pt x="8" y="11"/>
                    <a:pt x="10" y="17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3" name="Freeform 19"/>
            <p:cNvSpPr>
              <a:spLocks/>
            </p:cNvSpPr>
            <p:nvPr/>
          </p:nvSpPr>
          <p:spPr bwMode="auto">
            <a:xfrm>
              <a:off x="3503613" y="2003426"/>
              <a:ext cx="53975" cy="44450"/>
            </a:xfrm>
            <a:custGeom>
              <a:avLst/>
              <a:gdLst>
                <a:gd name="T0" fmla="*/ 0 w 14"/>
                <a:gd name="T1" fmla="*/ 0 h 12"/>
                <a:gd name="T2" fmla="*/ 53975 w 14"/>
                <a:gd name="T3" fmla="*/ 44450 h 12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4" h="12">
                  <a:moveTo>
                    <a:pt x="0" y="0"/>
                  </a:moveTo>
                  <a:cubicBezTo>
                    <a:pt x="5" y="3"/>
                    <a:pt x="10" y="8"/>
                    <a:pt x="14" y="12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4" name="Freeform 20"/>
            <p:cNvSpPr>
              <a:spLocks/>
            </p:cNvSpPr>
            <p:nvPr/>
          </p:nvSpPr>
          <p:spPr bwMode="auto">
            <a:xfrm>
              <a:off x="3398838" y="1965326"/>
              <a:ext cx="49213" cy="14288"/>
            </a:xfrm>
            <a:custGeom>
              <a:avLst/>
              <a:gdLst>
                <a:gd name="T0" fmla="*/ 0 w 13"/>
                <a:gd name="T1" fmla="*/ 0 h 4"/>
                <a:gd name="T2" fmla="*/ 49213 w 13"/>
                <a:gd name="T3" fmla="*/ 14288 h 4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3" h="4">
                  <a:moveTo>
                    <a:pt x="0" y="0"/>
                  </a:moveTo>
                  <a:cubicBezTo>
                    <a:pt x="5" y="1"/>
                    <a:pt x="9" y="2"/>
                    <a:pt x="13" y="4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5" name="Freeform 21"/>
            <p:cNvSpPr>
              <a:spLocks/>
            </p:cNvSpPr>
            <p:nvPr/>
          </p:nvSpPr>
          <p:spPr bwMode="auto">
            <a:xfrm>
              <a:off x="3440113" y="2074863"/>
              <a:ext cx="15875" cy="22225"/>
            </a:xfrm>
            <a:custGeom>
              <a:avLst/>
              <a:gdLst>
                <a:gd name="T0" fmla="*/ 15875 w 4"/>
                <a:gd name="T1" fmla="*/ 0 h 6"/>
                <a:gd name="T2" fmla="*/ 0 w 4"/>
                <a:gd name="T3" fmla="*/ 22225 h 6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4" h="6">
                  <a:moveTo>
                    <a:pt x="4" y="0"/>
                  </a:moveTo>
                  <a:cubicBezTo>
                    <a:pt x="3" y="2"/>
                    <a:pt x="2" y="4"/>
                    <a:pt x="0" y="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6" name="Freeform 22"/>
            <p:cNvSpPr>
              <a:spLocks/>
            </p:cNvSpPr>
            <p:nvPr/>
          </p:nvSpPr>
          <p:spPr bwMode="auto">
            <a:xfrm>
              <a:off x="3467101" y="2022476"/>
              <a:ext cx="6350" cy="22225"/>
            </a:xfrm>
            <a:custGeom>
              <a:avLst/>
              <a:gdLst>
                <a:gd name="T0" fmla="*/ 6350 w 2"/>
                <a:gd name="T1" fmla="*/ 0 h 6"/>
                <a:gd name="T2" fmla="*/ 0 w 2"/>
                <a:gd name="T3" fmla="*/ 22225 h 6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2" h="6">
                  <a:moveTo>
                    <a:pt x="2" y="0"/>
                  </a:moveTo>
                  <a:cubicBezTo>
                    <a:pt x="2" y="2"/>
                    <a:pt x="1" y="4"/>
                    <a:pt x="0" y="6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7" name="Freeform 23"/>
            <p:cNvSpPr>
              <a:spLocks/>
            </p:cNvSpPr>
            <p:nvPr/>
          </p:nvSpPr>
          <p:spPr bwMode="auto">
            <a:xfrm>
              <a:off x="3436938" y="1874838"/>
              <a:ext cx="36513" cy="87313"/>
            </a:xfrm>
            <a:custGeom>
              <a:avLst/>
              <a:gdLst>
                <a:gd name="T0" fmla="*/ 0 w 10"/>
                <a:gd name="T1" fmla="*/ 0 h 23"/>
                <a:gd name="T2" fmla="*/ 36513 w 10"/>
                <a:gd name="T3" fmla="*/ 87313 h 23"/>
                <a:gd name="T4" fmla="*/ 0 60000 65536"/>
                <a:gd name="T5" fmla="*/ 0 60000 65536"/>
              </a:gdLst>
              <a:ahLst/>
              <a:cxnLst>
                <a:cxn ang="T4">
                  <a:pos x="T0" y="T1"/>
                </a:cxn>
                <a:cxn ang="T5">
                  <a:pos x="T2" y="T3"/>
                </a:cxn>
              </a:cxnLst>
              <a:rect l="0" t="0" r="r" b="b"/>
              <a:pathLst>
                <a:path w="10" h="23">
                  <a:moveTo>
                    <a:pt x="0" y="0"/>
                  </a:moveTo>
                  <a:cubicBezTo>
                    <a:pt x="5" y="7"/>
                    <a:pt x="9" y="14"/>
                    <a:pt x="10" y="23"/>
                  </a:cubicBezTo>
                </a:path>
              </a:pathLst>
            </a:custGeom>
            <a:noFill/>
            <a:ln w="12700" cap="flat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68" name="Oval 24"/>
            <p:cNvSpPr>
              <a:spLocks noChangeArrowheads="1"/>
            </p:cNvSpPr>
            <p:nvPr/>
          </p:nvSpPr>
          <p:spPr bwMode="auto">
            <a:xfrm>
              <a:off x="3508376" y="1852613"/>
              <a:ext cx="60325" cy="60325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69" name="Oval 25"/>
            <p:cNvSpPr>
              <a:spLocks noChangeArrowheads="1"/>
            </p:cNvSpPr>
            <p:nvPr/>
          </p:nvSpPr>
          <p:spPr bwMode="auto">
            <a:xfrm>
              <a:off x="3448051" y="1962151"/>
              <a:ext cx="60325" cy="60325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70" name="Oval 26"/>
            <p:cNvSpPr>
              <a:spLocks noChangeArrowheads="1"/>
            </p:cNvSpPr>
            <p:nvPr/>
          </p:nvSpPr>
          <p:spPr bwMode="auto">
            <a:xfrm>
              <a:off x="3448051" y="2044701"/>
              <a:ext cx="30163" cy="30163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71" name="Oval 27"/>
            <p:cNvSpPr>
              <a:spLocks noChangeArrowheads="1"/>
            </p:cNvSpPr>
            <p:nvPr/>
          </p:nvSpPr>
          <p:spPr bwMode="auto">
            <a:xfrm>
              <a:off x="3549651" y="2044701"/>
              <a:ext cx="44450" cy="44450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72" name="Oval 28"/>
            <p:cNvSpPr>
              <a:spLocks noChangeArrowheads="1"/>
            </p:cNvSpPr>
            <p:nvPr/>
          </p:nvSpPr>
          <p:spPr bwMode="auto">
            <a:xfrm>
              <a:off x="3616326" y="2036763"/>
              <a:ext cx="46038" cy="44450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73" name="Oval 29"/>
            <p:cNvSpPr>
              <a:spLocks noChangeArrowheads="1"/>
            </p:cNvSpPr>
            <p:nvPr/>
          </p:nvSpPr>
          <p:spPr bwMode="auto">
            <a:xfrm>
              <a:off x="3657601" y="1946276"/>
              <a:ext cx="60325" cy="60325"/>
            </a:xfrm>
            <a:prstGeom prst="ellipse">
              <a:avLst/>
            </a:prstGeom>
            <a:noFill/>
            <a:ln w="12700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</p:grpSp>
      <p:grpSp>
        <p:nvGrpSpPr>
          <p:cNvPr id="25609" name="Group 227"/>
          <p:cNvGrpSpPr>
            <a:grpSpLocks/>
          </p:cNvGrpSpPr>
          <p:nvPr/>
        </p:nvGrpSpPr>
        <p:grpSpPr bwMode="auto">
          <a:xfrm>
            <a:off x="6754813" y="2990850"/>
            <a:ext cx="296862" cy="381000"/>
            <a:chOff x="3429001" y="2533651"/>
            <a:chExt cx="269875" cy="346075"/>
          </a:xfrm>
        </p:grpSpPr>
        <p:sp>
          <p:nvSpPr>
            <p:cNvPr id="25639" name="Rectangle 17"/>
            <p:cNvSpPr>
              <a:spLocks noChangeArrowheads="1"/>
            </p:cNvSpPr>
            <p:nvPr/>
          </p:nvSpPr>
          <p:spPr bwMode="auto">
            <a:xfrm>
              <a:off x="3429001" y="2654301"/>
              <a:ext cx="150813" cy="225425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40" name="Freeform 18"/>
            <p:cNvSpPr>
              <a:spLocks/>
            </p:cNvSpPr>
            <p:nvPr/>
          </p:nvSpPr>
          <p:spPr bwMode="auto">
            <a:xfrm>
              <a:off x="3549651" y="2533651"/>
              <a:ext cx="149225" cy="346075"/>
            </a:xfrm>
            <a:custGeom>
              <a:avLst/>
              <a:gdLst>
                <a:gd name="T0" fmla="*/ 149225 w 94"/>
                <a:gd name="T1" fmla="*/ 346075 h 218"/>
                <a:gd name="T2" fmla="*/ 30163 w 94"/>
                <a:gd name="T3" fmla="*/ 346075 h 218"/>
                <a:gd name="T4" fmla="*/ 30163 w 94"/>
                <a:gd name="T5" fmla="*/ 120650 h 218"/>
                <a:gd name="T6" fmla="*/ 0 w 94"/>
                <a:gd name="T7" fmla="*/ 120650 h 218"/>
                <a:gd name="T8" fmla="*/ 0 w 94"/>
                <a:gd name="T9" fmla="*/ 0 h 218"/>
                <a:gd name="T10" fmla="*/ 149225 w 94"/>
                <a:gd name="T11" fmla="*/ 0 h 218"/>
                <a:gd name="T12" fmla="*/ 149225 w 94"/>
                <a:gd name="T13" fmla="*/ 346075 h 21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94" h="218">
                  <a:moveTo>
                    <a:pt x="94" y="218"/>
                  </a:moveTo>
                  <a:lnTo>
                    <a:pt x="19" y="218"/>
                  </a:lnTo>
                  <a:lnTo>
                    <a:pt x="19" y="76"/>
                  </a:lnTo>
                  <a:lnTo>
                    <a:pt x="0" y="76"/>
                  </a:lnTo>
                  <a:lnTo>
                    <a:pt x="0" y="0"/>
                  </a:lnTo>
                  <a:lnTo>
                    <a:pt x="94" y="0"/>
                  </a:lnTo>
                  <a:lnTo>
                    <a:pt x="94" y="218"/>
                  </a:lnTo>
                  <a:close/>
                </a:path>
              </a:pathLst>
            </a:custGeom>
            <a:noFill/>
            <a:ln w="12700" cap="rnd">
              <a:solidFill>
                <a:schemeClr val="bg1"/>
              </a:solidFill>
              <a:prstDash val="solid"/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1" name="Rectangle 19"/>
            <p:cNvSpPr>
              <a:spLocks noChangeArrowheads="1"/>
            </p:cNvSpPr>
            <p:nvPr/>
          </p:nvSpPr>
          <p:spPr bwMode="auto">
            <a:xfrm>
              <a:off x="3624263" y="2835276"/>
              <a:ext cx="44450" cy="4445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42" name="Rectangle 20"/>
            <p:cNvSpPr>
              <a:spLocks noChangeArrowheads="1"/>
            </p:cNvSpPr>
            <p:nvPr/>
          </p:nvSpPr>
          <p:spPr bwMode="auto">
            <a:xfrm>
              <a:off x="3459163" y="2835276"/>
              <a:ext cx="44450" cy="44450"/>
            </a:xfrm>
            <a:prstGeom prst="rect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eaLnBrk="1" hangingPunct="1"/>
              <a:endParaRPr lang="id-ID" altLang="en-US"/>
            </a:p>
          </p:txBody>
        </p:sp>
        <p:sp>
          <p:nvSpPr>
            <p:cNvPr id="25643" name="Line 21"/>
            <p:cNvSpPr>
              <a:spLocks noChangeShapeType="1"/>
            </p:cNvSpPr>
            <p:nvPr/>
          </p:nvSpPr>
          <p:spPr bwMode="auto">
            <a:xfrm>
              <a:off x="3429001" y="2684463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4" name="Line 22"/>
            <p:cNvSpPr>
              <a:spLocks noChangeShapeType="1"/>
            </p:cNvSpPr>
            <p:nvPr/>
          </p:nvSpPr>
          <p:spPr bwMode="auto">
            <a:xfrm>
              <a:off x="3429001" y="2714626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5" name="Line 23"/>
            <p:cNvSpPr>
              <a:spLocks noChangeShapeType="1"/>
            </p:cNvSpPr>
            <p:nvPr/>
          </p:nvSpPr>
          <p:spPr bwMode="auto">
            <a:xfrm>
              <a:off x="3549651" y="2593976"/>
              <a:ext cx="60325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6" name="Line 24"/>
            <p:cNvSpPr>
              <a:spLocks noChangeShapeType="1"/>
            </p:cNvSpPr>
            <p:nvPr/>
          </p:nvSpPr>
          <p:spPr bwMode="auto">
            <a:xfrm>
              <a:off x="3549651" y="2563813"/>
              <a:ext cx="90488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7" name="Line 25"/>
            <p:cNvSpPr>
              <a:spLocks noChangeShapeType="1"/>
            </p:cNvSpPr>
            <p:nvPr/>
          </p:nvSpPr>
          <p:spPr bwMode="auto">
            <a:xfrm>
              <a:off x="3549651" y="2624138"/>
              <a:ext cx="44450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  <p:sp>
          <p:nvSpPr>
            <p:cNvPr id="25648" name="Line 26"/>
            <p:cNvSpPr>
              <a:spLocks noChangeShapeType="1"/>
            </p:cNvSpPr>
            <p:nvPr/>
          </p:nvSpPr>
          <p:spPr bwMode="auto">
            <a:xfrm>
              <a:off x="3429001" y="2744788"/>
              <a:ext cx="30163" cy="0"/>
            </a:xfrm>
            <a:prstGeom prst="line">
              <a:avLst/>
            </a:prstGeom>
            <a:noFill/>
            <a:ln w="12700" cap="rnd">
              <a:solidFill>
                <a:schemeClr val="bg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/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CFA3416-26F0-41EE-A3CD-9EC31267776C}"/>
              </a:ext>
            </a:extLst>
          </p:cNvPr>
          <p:cNvGrpSpPr/>
          <p:nvPr/>
        </p:nvGrpSpPr>
        <p:grpSpPr>
          <a:xfrm>
            <a:off x="170258" y="-66770"/>
            <a:ext cx="12021742" cy="759016"/>
            <a:chOff x="170258" y="-54185"/>
            <a:chExt cx="12021742" cy="759016"/>
          </a:xfrm>
          <a:solidFill>
            <a:srgbClr val="4197E6"/>
          </a:solidFill>
        </p:grpSpPr>
        <p:sp>
          <p:nvSpPr>
            <p:cNvPr id="82" name="Freeform 18">
              <a:extLst>
                <a:ext uri="{FF2B5EF4-FFF2-40B4-BE49-F238E27FC236}">
                  <a16:creationId xmlns:a16="http://schemas.microsoft.com/office/drawing/2014/main" id="{438A2AE4-EC51-48B4-91AF-F50BD2F61370}"/>
                </a:ext>
              </a:extLst>
            </p:cNvPr>
            <p:cNvSpPr/>
            <p:nvPr/>
          </p:nvSpPr>
          <p:spPr>
            <a:xfrm>
              <a:off x="348934" y="-1331"/>
              <a:ext cx="11843066" cy="536421"/>
            </a:xfrm>
            <a:custGeom>
              <a:avLst/>
              <a:gdLst>
                <a:gd name="connsiteX0" fmla="*/ 201392 w 11843066"/>
                <a:gd name="connsiteY0" fmla="*/ 0 h 536421"/>
                <a:gd name="connsiteX1" fmla="*/ 205399 w 11843066"/>
                <a:gd name="connsiteY1" fmla="*/ 3024 h 536421"/>
                <a:gd name="connsiteX2" fmla="*/ 206155 w 11843066"/>
                <a:gd name="connsiteY2" fmla="*/ 0 h 536421"/>
                <a:gd name="connsiteX3" fmla="*/ 11843066 w 11843066"/>
                <a:gd name="connsiteY3" fmla="*/ 0 h 536421"/>
                <a:gd name="connsiteX4" fmla="*/ 11843066 w 11843066"/>
                <a:gd name="connsiteY4" fmla="*/ 116114 h 536421"/>
                <a:gd name="connsiteX5" fmla="*/ 278246 w 11843066"/>
                <a:gd name="connsiteY5" fmla="*/ 116114 h 536421"/>
                <a:gd name="connsiteX6" fmla="*/ 99837 w 11843066"/>
                <a:gd name="connsiteY6" fmla="*/ 536421 h 536421"/>
                <a:gd name="connsiteX7" fmla="*/ 0 w 11843066"/>
                <a:gd name="connsiteY7" fmla="*/ 474451 h 536421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1843066" h="536421">
                  <a:moveTo>
                    <a:pt x="201392" y="0"/>
                  </a:moveTo>
                  <a:lnTo>
                    <a:pt x="205399" y="3024"/>
                  </a:lnTo>
                  <a:lnTo>
                    <a:pt x="206155" y="0"/>
                  </a:lnTo>
                  <a:lnTo>
                    <a:pt x="11843066" y="0"/>
                  </a:lnTo>
                  <a:lnTo>
                    <a:pt x="11843066" y="116114"/>
                  </a:lnTo>
                  <a:lnTo>
                    <a:pt x="278246" y="116114"/>
                  </a:lnTo>
                  <a:lnTo>
                    <a:pt x="99837" y="536421"/>
                  </a:lnTo>
                  <a:lnTo>
                    <a:pt x="0" y="474451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3" name="Freeform 15">
              <a:extLst>
                <a:ext uri="{FF2B5EF4-FFF2-40B4-BE49-F238E27FC236}">
                  <a16:creationId xmlns:a16="http://schemas.microsoft.com/office/drawing/2014/main" id="{675E6922-883A-4531-A7B3-48549D4EB8A9}"/>
                </a:ext>
              </a:extLst>
            </p:cNvPr>
            <p:cNvSpPr/>
            <p:nvPr/>
          </p:nvSpPr>
          <p:spPr>
            <a:xfrm rot="6780000">
              <a:off x="-62883" y="267266"/>
              <a:ext cx="759016" cy="116114"/>
            </a:xfrm>
            <a:custGeom>
              <a:avLst/>
              <a:gdLst>
                <a:gd name="connsiteX0" fmla="*/ 49287 w 759016"/>
                <a:gd name="connsiteY0" fmla="*/ 116114 h 116114"/>
                <a:gd name="connsiteX1" fmla="*/ 0 w 759016"/>
                <a:gd name="connsiteY1" fmla="*/ 0 h 116114"/>
                <a:gd name="connsiteX2" fmla="*/ 753389 w 759016"/>
                <a:gd name="connsiteY2" fmla="*/ 0 h 116114"/>
                <a:gd name="connsiteX3" fmla="*/ 759016 w 759016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9016" h="116114">
                  <a:moveTo>
                    <a:pt x="49287" y="116114"/>
                  </a:moveTo>
                  <a:lnTo>
                    <a:pt x="0" y="0"/>
                  </a:lnTo>
                  <a:lnTo>
                    <a:pt x="753389" y="0"/>
                  </a:lnTo>
                  <a:lnTo>
                    <a:pt x="759016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  <p:sp>
          <p:nvSpPr>
            <p:cNvPr id="84" name="Freeform 16">
              <a:extLst>
                <a:ext uri="{FF2B5EF4-FFF2-40B4-BE49-F238E27FC236}">
                  <a16:creationId xmlns:a16="http://schemas.microsoft.com/office/drawing/2014/main" id="{B9A5DFCF-02E2-4FA4-AF10-A6957CD1308B}"/>
                </a:ext>
              </a:extLst>
            </p:cNvPr>
            <p:cNvSpPr/>
            <p:nvPr/>
          </p:nvSpPr>
          <p:spPr>
            <a:xfrm rot="6780000">
              <a:off x="20614" y="109116"/>
              <a:ext cx="415402" cy="116114"/>
            </a:xfrm>
            <a:custGeom>
              <a:avLst/>
              <a:gdLst>
                <a:gd name="connsiteX0" fmla="*/ 49287 w 415402"/>
                <a:gd name="connsiteY0" fmla="*/ 116114 h 116114"/>
                <a:gd name="connsiteX1" fmla="*/ 0 w 415402"/>
                <a:gd name="connsiteY1" fmla="*/ 0 h 116114"/>
                <a:gd name="connsiteX2" fmla="*/ 415402 w 415402"/>
                <a:gd name="connsiteY2" fmla="*/ 0 h 116114"/>
                <a:gd name="connsiteX3" fmla="*/ 397368 w 415402"/>
                <a:gd name="connsiteY3" fmla="*/ 116114 h 11611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415402" h="116114">
                  <a:moveTo>
                    <a:pt x="49287" y="116114"/>
                  </a:moveTo>
                  <a:lnTo>
                    <a:pt x="0" y="0"/>
                  </a:lnTo>
                  <a:lnTo>
                    <a:pt x="415402" y="0"/>
                  </a:lnTo>
                  <a:lnTo>
                    <a:pt x="397368" y="116114"/>
                  </a:lnTo>
                  <a:close/>
                </a:path>
              </a:pathLst>
            </a:cu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prstClr val="white"/>
                </a:solidFill>
              </a:endParaRPr>
            </a:p>
          </p:txBody>
        </p:sp>
      </p:grpSp>
      <p:pic>
        <p:nvPicPr>
          <p:cNvPr id="25611" name="Picture 84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8404" b="-4883"/>
          <a:stretch>
            <a:fillRect/>
          </a:stretch>
        </p:blipFill>
        <p:spPr bwMode="auto">
          <a:xfrm>
            <a:off x="11147425" y="195263"/>
            <a:ext cx="692150" cy="679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6" name="Straight Connector 85"/>
          <p:cNvCxnSpPr/>
          <p:nvPr/>
        </p:nvCxnSpPr>
        <p:spPr>
          <a:xfrm>
            <a:off x="615950" y="931863"/>
            <a:ext cx="1073785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613" name="Title 2"/>
          <p:cNvSpPr txBox="1">
            <a:spLocks/>
          </p:cNvSpPr>
          <p:nvPr/>
        </p:nvSpPr>
        <p:spPr bwMode="auto">
          <a:xfrm>
            <a:off x="2145506" y="394704"/>
            <a:ext cx="7894638" cy="996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>
              <a:lnSpc>
                <a:spcPct val="90000"/>
              </a:lnSpc>
            </a:pPr>
            <a:r>
              <a:rPr lang="en-US" altLang="en-US" sz="2400" b="1" smtClean="0">
                <a:solidFill>
                  <a:schemeClr val="tx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Nigerian Capital Market </a:t>
            </a:r>
            <a:r>
              <a:rPr lang="en-US" altLang="en-US" sz="2400" b="1">
                <a:solidFill>
                  <a:schemeClr val="tx2"/>
                </a:solidFill>
                <a:latin typeface="Tahoma" panose="020B0604030504040204" pitchFamily="34" charset="0"/>
                <a:cs typeface="Tahoma" panose="020B0604030504040204" pitchFamily="34" charset="0"/>
              </a:rPr>
              <a:t>Performance </a:t>
            </a:r>
          </a:p>
        </p:txBody>
      </p:sp>
      <p:sp>
        <p:nvSpPr>
          <p:cNvPr id="88" name="Rectangle 87"/>
          <p:cNvSpPr/>
          <p:nvPr/>
        </p:nvSpPr>
        <p:spPr>
          <a:xfrm>
            <a:off x="0" y="6584950"/>
            <a:ext cx="12192000" cy="3143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GB">
              <a:solidFill>
                <a:prstClr val="white"/>
              </a:solidFill>
            </a:endParaRPr>
          </a:p>
        </p:txBody>
      </p:sp>
      <p:sp>
        <p:nvSpPr>
          <p:cNvPr id="25616" name="TextBox 89"/>
          <p:cNvSpPr txBox="1">
            <a:spLocks noChangeArrowheads="1"/>
          </p:cNvSpPr>
          <p:nvPr/>
        </p:nvSpPr>
        <p:spPr bwMode="auto">
          <a:xfrm>
            <a:off x="346075" y="6223000"/>
            <a:ext cx="2525713" cy="2619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r>
              <a:rPr lang="en-GB" altLang="en-US" sz="1100"/>
              <a:t>Data Source: Nigerian Stock Exchange</a:t>
            </a:r>
          </a:p>
        </p:txBody>
      </p:sp>
      <p:sp>
        <p:nvSpPr>
          <p:cNvPr id="25617" name="AutoShape 5" descr="Brazil - Wikipedia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25618" name="AutoShape 7" descr="Brazil - Wikipedia"/>
          <p:cNvSpPr>
            <a:spLocks noChangeAspect="1" noChangeArrowheads="1"/>
          </p:cNvSpPr>
          <p:nvPr/>
        </p:nvSpPr>
        <p:spPr bwMode="auto">
          <a:xfrm>
            <a:off x="307975" y="79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25620" name="AutoShape 9" descr="S&amp;P Global 1200 - Wikiwand"/>
          <p:cNvSpPr>
            <a:spLocks noChangeAspect="1" noChangeArrowheads="1"/>
          </p:cNvSpPr>
          <p:nvPr/>
        </p:nvSpPr>
        <p:spPr bwMode="auto">
          <a:xfrm>
            <a:off x="460375" y="160338"/>
            <a:ext cx="304800" cy="30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eaLnBrk="1" hangingPunct="1"/>
            <a:endParaRPr lang="en-GB" altLang="en-US"/>
          </a:p>
        </p:txBody>
      </p:sp>
      <p:sp>
        <p:nvSpPr>
          <p:cNvPr id="99" name="Footer Placeholder 1">
            <a:extLst>
              <a:ext uri="{FF2B5EF4-FFF2-40B4-BE49-F238E27FC236}">
                <a16:creationId xmlns:a16="http://schemas.microsoft.com/office/drawing/2014/main" id="{4B944B97-2A38-461D-846A-623513EDA120}"/>
              </a:ext>
            </a:extLst>
          </p:cNvPr>
          <p:cNvSpPr txBox="1">
            <a:spLocks/>
          </p:cNvSpPr>
          <p:nvPr/>
        </p:nvSpPr>
        <p:spPr>
          <a:xfrm>
            <a:off x="3668713" y="6642100"/>
            <a:ext cx="4822825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GB" sz="900" cap="all" smtClean="0">
                <a:solidFill>
                  <a:srgbClr val="FFFFFF"/>
                </a:solidFill>
              </a:rPr>
              <a:t>SECURITIES AND EXCHANGE COMMISSION, NIGERIA</a:t>
            </a:r>
            <a:endParaRPr lang="en-US" sz="900" cap="all" dirty="0">
              <a:solidFill>
                <a:srgbClr val="FFFFFF"/>
              </a:solidFill>
            </a:endParaRPr>
          </a:p>
        </p:txBody>
      </p:sp>
      <p:pic>
        <p:nvPicPr>
          <p:cNvPr id="92" name="Picture 91"/>
          <p:cNvPicPr/>
          <p:nvPr/>
        </p:nvPicPr>
        <p:blipFill>
          <a:blip r:embed="rId9"/>
          <a:stretch>
            <a:fillRect/>
          </a:stretch>
        </p:blipFill>
        <p:spPr>
          <a:xfrm>
            <a:off x="5823585" y="1281899"/>
            <a:ext cx="5629275" cy="1888966"/>
          </a:xfrm>
          <a:prstGeom prst="rect">
            <a:avLst/>
          </a:prstGeom>
        </p:spPr>
      </p:pic>
      <p:pic>
        <p:nvPicPr>
          <p:cNvPr id="93" name="Picture 92"/>
          <p:cNvPicPr/>
          <p:nvPr/>
        </p:nvPicPr>
        <p:blipFill>
          <a:blip r:embed="rId10"/>
          <a:stretch>
            <a:fillRect/>
          </a:stretch>
        </p:blipFill>
        <p:spPr>
          <a:xfrm>
            <a:off x="5922892" y="3586272"/>
            <a:ext cx="5583712" cy="1757887"/>
          </a:xfrm>
          <a:prstGeom prst="rect">
            <a:avLst/>
          </a:prstGeom>
        </p:spPr>
      </p:pic>
      <p:pic>
        <p:nvPicPr>
          <p:cNvPr id="94" name="Picture 93"/>
          <p:cNvPicPr/>
          <p:nvPr/>
        </p:nvPicPr>
        <p:blipFill>
          <a:blip r:embed="rId11"/>
          <a:stretch>
            <a:fillRect/>
          </a:stretch>
        </p:blipFill>
        <p:spPr>
          <a:xfrm>
            <a:off x="160669" y="3586272"/>
            <a:ext cx="5695950" cy="1957483"/>
          </a:xfrm>
          <a:prstGeom prst="rect">
            <a:avLst/>
          </a:prstGeom>
        </p:spPr>
      </p:pic>
      <p:pic>
        <p:nvPicPr>
          <p:cNvPr id="95" name="Picture 94"/>
          <p:cNvPicPr/>
          <p:nvPr/>
        </p:nvPicPr>
        <p:blipFill>
          <a:blip r:embed="rId12"/>
          <a:stretch>
            <a:fillRect/>
          </a:stretch>
        </p:blipFill>
        <p:spPr>
          <a:xfrm>
            <a:off x="93718" y="1266620"/>
            <a:ext cx="5686425" cy="1859861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96FC11B-B4E7-C54D-B30C-FC50FA96EA5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813700" y="1092981"/>
            <a:ext cx="5923376" cy="5198641"/>
          </a:xfrm>
        </p:spPr>
        <p:txBody>
          <a:bodyPr>
            <a:noAutofit/>
          </a:bodyPr>
          <a:lstStyle/>
          <a:p>
            <a:pPr marL="0" lvl="0" indent="0">
              <a:buNone/>
            </a:pPr>
            <a:r>
              <a:rPr lang="en-GB" sz="3200" b="1" dirty="0" smtClean="0"/>
              <a:t>Domestic</a:t>
            </a:r>
            <a:endParaRPr lang="en-GB" sz="1800" b="1" dirty="0" smtClean="0"/>
          </a:p>
          <a:p>
            <a:pPr lvl="0"/>
            <a:r>
              <a:rPr lang="en-US" sz="2400" dirty="0" smtClean="0"/>
              <a:t>Heightened </a:t>
            </a:r>
            <a:r>
              <a:rPr lang="en-US" sz="2400" dirty="0"/>
              <a:t>geopolitical </a:t>
            </a:r>
            <a:r>
              <a:rPr lang="en-US" sz="2400" dirty="0" smtClean="0"/>
              <a:t>tensions</a:t>
            </a:r>
          </a:p>
          <a:p>
            <a:pPr lvl="0"/>
            <a:r>
              <a:rPr lang="en-US" sz="2400" dirty="0" smtClean="0"/>
              <a:t>Persisting </a:t>
            </a:r>
            <a:r>
              <a:rPr lang="en-US" sz="2400" dirty="0"/>
              <a:t>macroeconomic </a:t>
            </a:r>
            <a:r>
              <a:rPr lang="en-US" sz="2400" dirty="0" smtClean="0"/>
              <a:t>uncertainties</a:t>
            </a:r>
          </a:p>
          <a:p>
            <a:pPr lvl="0"/>
            <a:r>
              <a:rPr lang="en-US" sz="2400" dirty="0" smtClean="0"/>
              <a:t>Inflation</a:t>
            </a:r>
          </a:p>
          <a:p>
            <a:pPr lvl="0"/>
            <a:r>
              <a:rPr lang="en-US" sz="2400" dirty="0" smtClean="0"/>
              <a:t>Subdued growth</a:t>
            </a:r>
          </a:p>
          <a:p>
            <a:pPr lvl="0"/>
            <a:r>
              <a:rPr lang="en-GB" sz="2400" dirty="0" smtClean="0"/>
              <a:t>Increase </a:t>
            </a:r>
            <a:r>
              <a:rPr lang="en-GB" sz="2400" dirty="0"/>
              <a:t>in crude oil price oil subsidy</a:t>
            </a:r>
            <a:endParaRPr lang="en-US" sz="2400" dirty="0"/>
          </a:p>
          <a:p>
            <a:pPr lvl="0"/>
            <a:r>
              <a:rPr lang="en-GB" sz="2400" dirty="0" smtClean="0"/>
              <a:t>Presidential </a:t>
            </a:r>
            <a:r>
              <a:rPr lang="en-GB" sz="2400" dirty="0" smtClean="0"/>
              <a:t>race</a:t>
            </a:r>
          </a:p>
          <a:p>
            <a:pPr lvl="0"/>
            <a:r>
              <a:rPr lang="en-GB" sz="2400" dirty="0" smtClean="0"/>
              <a:t>Diminishing pandemic impacts</a:t>
            </a:r>
            <a:endParaRPr lang="en-GB" sz="2400" dirty="0" smtClean="0"/>
          </a:p>
          <a:p>
            <a:pPr lvl="0"/>
            <a:endParaRPr lang="en-GB" sz="2400" dirty="0" smtClean="0"/>
          </a:p>
          <a:p>
            <a:pPr marL="0" lvl="0" indent="0">
              <a:buNone/>
            </a:pPr>
            <a:endParaRPr lang="en-US"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B1412122-C162-AC42-82C0-490A22B5E1B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22154" y="3009333"/>
            <a:ext cx="5086826" cy="2763670"/>
          </a:xfrm>
        </p:spPr>
        <p:txBody>
          <a:bodyPr>
            <a:noAutofit/>
          </a:bodyPr>
          <a:lstStyle/>
          <a:p>
            <a:pPr marL="0" lvl="0" indent="0">
              <a:spcBef>
                <a:spcPts val="300"/>
              </a:spcBef>
              <a:buNone/>
            </a:pPr>
            <a:r>
              <a:rPr lang="en-GB" sz="3200" b="1" dirty="0" smtClean="0"/>
              <a:t>Global</a:t>
            </a:r>
            <a:endParaRPr lang="en-GB" b="1" dirty="0"/>
          </a:p>
          <a:p>
            <a:pPr lvl="0"/>
            <a:r>
              <a:rPr lang="en-GB" dirty="0"/>
              <a:t>Covid-19 still around</a:t>
            </a:r>
            <a:endParaRPr lang="en-US" dirty="0"/>
          </a:p>
          <a:p>
            <a:pPr lvl="0"/>
            <a:r>
              <a:rPr lang="en-GB" dirty="0"/>
              <a:t>Technology and </a:t>
            </a:r>
            <a:r>
              <a:rPr lang="en-GB" dirty="0" err="1"/>
              <a:t>fintech</a:t>
            </a:r>
            <a:endParaRPr lang="en-US" dirty="0"/>
          </a:p>
          <a:p>
            <a:pPr lvl="0"/>
            <a:r>
              <a:rPr lang="en-GB" dirty="0" err="1" smtClean="0"/>
              <a:t>ESG</a:t>
            </a:r>
            <a:endParaRPr lang="en-US" dirty="0"/>
          </a:p>
        </p:txBody>
      </p:sp>
      <p:sp>
        <p:nvSpPr>
          <p:cNvPr id="5" name="Title 1">
            <a:extLst>
              <a:ext uri="{FF2B5EF4-FFF2-40B4-BE49-F238E27FC236}">
                <a16:creationId xmlns:a16="http://schemas.microsoft.com/office/drawing/2014/main" id="{93E58B9D-A78F-834C-AF9A-87000B167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3316"/>
            <a:ext cx="12192000" cy="668198"/>
          </a:xfrm>
          <a:solidFill>
            <a:schemeClr val="tx2"/>
          </a:solidFill>
        </p:spPr>
        <p:txBody>
          <a:bodyPr>
            <a:normAutofit/>
          </a:bodyPr>
          <a:lstStyle/>
          <a:p>
            <a:pPr algn="ctr"/>
            <a:r>
              <a:rPr lang="en-US" sz="3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Outlook</a:t>
            </a:r>
          </a:p>
        </p:txBody>
      </p:sp>
      <p:pic>
        <p:nvPicPr>
          <p:cNvPr id="7" name="Picture 6" descr="https://images.techhive.com/images/article/2016/08/lens-1209823_1280-100675509-large.jpg"/>
          <p:cNvPicPr/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71514"/>
            <a:ext cx="3088175" cy="2064464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5492609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aCdBHdVtLMTeNq6qS.BQ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Retrospect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EC NIGERIA STANDARD PRESENTATION1" id="{DAB1E2B0-5814-8C4D-9711-ECC96E60FF92}" vid="{1016EC75-987F-2047-9E18-5F5E1A908071}"/>
    </a:ext>
  </a:extLst>
</a:theme>
</file>

<file path=ppt/theme/theme3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Retrospect">
  <a:themeElements>
    <a:clrScheme name="Retrospect">
      <a:dk1>
        <a:sysClr val="windowText" lastClr="000000"/>
      </a:dk1>
      <a:lt1>
        <a:sysClr val="window" lastClr="FFFFFF"/>
      </a:lt1>
      <a:dk2>
        <a:srgbClr val="344068"/>
      </a:dk2>
      <a:lt2>
        <a:srgbClr val="D9E0E6"/>
      </a:lt2>
      <a:accent1>
        <a:srgbClr val="1CADE4"/>
      </a:accent1>
      <a:accent2>
        <a:srgbClr val="2683C6"/>
      </a:accent2>
      <a:accent3>
        <a:srgbClr val="28C4CC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Retrospect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Retrospect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shade val="92000"/>
                <a:satMod val="130000"/>
              </a:schemeClr>
            </a:gs>
            <a:gs pos="45000">
              <a:schemeClr val="phClr">
                <a:tint val="60000"/>
                <a:shade val="99000"/>
                <a:satMod val="120000"/>
              </a:schemeClr>
            </a:gs>
            <a:gs pos="100000">
              <a:schemeClr val="phClr">
                <a:tint val="55000"/>
                <a:satMod val="14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  <a:satMod val="130000"/>
              </a:schemeClr>
            </a:gs>
            <a:gs pos="34000">
              <a:schemeClr val="phClr">
                <a:shade val="87000"/>
                <a:satMod val="125000"/>
              </a:schemeClr>
            </a:gs>
            <a:gs pos="70000">
              <a:schemeClr val="phClr">
                <a:tint val="100000"/>
                <a:shade val="90000"/>
                <a:satMod val="130000"/>
              </a:schemeClr>
            </a:gs>
            <a:gs pos="100000">
              <a:schemeClr val="phClr">
                <a:tint val="100000"/>
                <a:shade val="100000"/>
                <a:satMod val="11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12700" cap="flat" cmpd="sng" algn="ctr">
          <a:solidFill>
            <a:schemeClr val="phClr"/>
          </a:solidFill>
          <a:prstDash val="solid"/>
        </a:ln>
        <a:ln w="15875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4445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9800000"/>
            </a:lightRig>
          </a:scene3d>
          <a:sp3d prstMaterial="flat">
            <a:bevelT w="25400" h="31750"/>
          </a:sp3d>
        </a:effectStyle>
      </a:effectStyleLst>
      <a:bgFillStyleLst>
        <a:solidFill>
          <a:schemeClr val="phClr"/>
        </a:solidFill>
        <a:solidFill>
          <a:schemeClr val="phClr">
            <a:tint val="90000"/>
            <a:shade val="97000"/>
            <a:satMod val="130000"/>
          </a:schemeClr>
        </a:solidFill>
        <a:gradFill rotWithShape="1">
          <a:gsLst>
            <a:gs pos="0">
              <a:schemeClr val="phClr">
                <a:tint val="96000"/>
                <a:shade val="99000"/>
                <a:satMod val="140000"/>
              </a:schemeClr>
            </a:gs>
            <a:gs pos="65000">
              <a:schemeClr val="phClr">
                <a:tint val="100000"/>
                <a:shade val="80000"/>
                <a:satMod val="130000"/>
              </a:schemeClr>
            </a:gs>
            <a:gs pos="100000">
              <a:schemeClr val="phClr">
                <a:tint val="100000"/>
                <a:shade val="48000"/>
                <a:satMod val="120000"/>
              </a:schemeClr>
            </a:gs>
          </a:gsLst>
          <a:lin ang="162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3AFE013A-99D5-4A4C-80B5-E7905E06603B}" vid="{47B76F02-A54B-4EA8-8874-72A86D3661F0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8443</TotalTime>
  <Words>575</Words>
  <Application>Microsoft Office PowerPoint</Application>
  <PresentationFormat>Widescreen</PresentationFormat>
  <Paragraphs>226</Paragraphs>
  <Slides>10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0</vt:i4>
      </vt:variant>
    </vt:vector>
  </HeadingPairs>
  <TitlesOfParts>
    <vt:vector size="26" baseType="lpstr">
      <vt:lpstr>MS PGothic</vt:lpstr>
      <vt:lpstr>Arial</vt:lpstr>
      <vt:lpstr>Britannic Bold</vt:lpstr>
      <vt:lpstr>Calibri</vt:lpstr>
      <vt:lpstr>Calibri Light</vt:lpstr>
      <vt:lpstr>Century Gothic</vt:lpstr>
      <vt:lpstr>Segoe UI</vt:lpstr>
      <vt:lpstr>Segoe UI Light</vt:lpstr>
      <vt:lpstr>Tahoma</vt:lpstr>
      <vt:lpstr>Times New Roman</vt:lpstr>
      <vt:lpstr>Wingdings</vt:lpstr>
      <vt:lpstr>Office Theme</vt:lpstr>
      <vt:lpstr>1_Retrospect</vt:lpstr>
      <vt:lpstr>1_Office Theme</vt:lpstr>
      <vt:lpstr>Retrospect</vt:lpstr>
      <vt:lpstr>think-cell Slide</vt:lpstr>
      <vt:lpstr>PowerPoint Presentation</vt:lpstr>
      <vt:lpstr>PowerPoint Presentation</vt:lpstr>
      <vt:lpstr>The Global Economy (IMF, WEO-JAN 2022)</vt:lpstr>
      <vt:lpstr>The Global Economy </vt:lpstr>
      <vt:lpstr>Domestic Economy</vt:lpstr>
      <vt:lpstr>Domestic Economy</vt:lpstr>
      <vt:lpstr>PowerPoint Presentation</vt:lpstr>
      <vt:lpstr>PowerPoint Presentation</vt:lpstr>
      <vt:lpstr>Outlook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egbemisola T. Adekola;Oluwayemisi  S. Okuneye</dc:creator>
  <cp:lastModifiedBy>H</cp:lastModifiedBy>
  <cp:revision>256</cp:revision>
  <dcterms:created xsi:type="dcterms:W3CDTF">2018-07-27T04:36:06Z</dcterms:created>
  <dcterms:modified xsi:type="dcterms:W3CDTF">2022-04-06T08:27:36Z</dcterms:modified>
</cp:coreProperties>
</file>